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3.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4.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5.xml" ContentType="application/vnd.openxmlformats-officedocument.theme+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theme/theme6.xml" ContentType="application/vnd.openxmlformats-officedocument.theme+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theme/theme7.xml" ContentType="application/vnd.openxmlformats-officedocument.theme+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theme/theme8.xml" ContentType="application/vnd.openxmlformats-officedocument.theme+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theme/theme9.xml" ContentType="application/vnd.openxmlformats-officedocument.theme+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theme/theme10.xml" ContentType="application/vnd.openxmlformats-officedocument.theme+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theme/theme11.xml" ContentType="application/vnd.openxmlformats-officedocument.theme+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theme/theme12.xml" ContentType="application/vnd.openxmlformats-officedocument.theme+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theme/theme1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theme/theme14.xml" ContentType="application/vnd.openxmlformats-officedocument.theme+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theme/theme15.xml" ContentType="application/vnd.openxmlformats-officedocument.theme+xml"/>
  <Override PartName="/ppt/theme/theme16.xml" ContentType="application/vnd.openxmlformats-officedocument.theme+xml"/>
  <Override PartName="/ppt/theme/theme1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671" r:id="rId4"/>
    <p:sldMasterId id="2147484731" r:id="rId5"/>
    <p:sldMasterId id="2147484753" r:id="rId6"/>
    <p:sldMasterId id="2147484785" r:id="rId7"/>
    <p:sldMasterId id="2147484805" r:id="rId8"/>
    <p:sldMasterId id="2147484833" r:id="rId9"/>
    <p:sldMasterId id="2147484854" r:id="rId10"/>
    <p:sldMasterId id="2147484878" r:id="rId11"/>
    <p:sldMasterId id="2147484899" r:id="rId12"/>
    <p:sldMasterId id="2147484923" r:id="rId13"/>
    <p:sldMasterId id="2147484945" r:id="rId14"/>
    <p:sldMasterId id="2147484983" r:id="rId15"/>
    <p:sldMasterId id="2147485021" r:id="rId16"/>
    <p:sldMasterId id="2147485068" r:id="rId17"/>
    <p:sldMasterId id="2147485095" r:id="rId18"/>
  </p:sldMasterIdLst>
  <p:notesMasterIdLst>
    <p:notesMasterId r:id="rId72"/>
  </p:notesMasterIdLst>
  <p:handoutMasterIdLst>
    <p:handoutMasterId r:id="rId73"/>
  </p:handoutMasterIdLst>
  <p:sldIdLst>
    <p:sldId id="3953" r:id="rId19"/>
    <p:sldId id="2076136083" r:id="rId20"/>
    <p:sldId id="2076136108" r:id="rId21"/>
    <p:sldId id="2076136087" r:id="rId22"/>
    <p:sldId id="2076136088" r:id="rId23"/>
    <p:sldId id="2076136096" r:id="rId24"/>
    <p:sldId id="8671" r:id="rId25"/>
    <p:sldId id="8650" r:id="rId26"/>
    <p:sldId id="2076136097" r:id="rId27"/>
    <p:sldId id="2076136115" r:id="rId28"/>
    <p:sldId id="2076136098" r:id="rId29"/>
    <p:sldId id="8654" r:id="rId30"/>
    <p:sldId id="2076136111" r:id="rId31"/>
    <p:sldId id="2076136089" r:id="rId32"/>
    <p:sldId id="2076136090" r:id="rId33"/>
    <p:sldId id="2076136091" r:id="rId34"/>
    <p:sldId id="2076137194" r:id="rId35"/>
    <p:sldId id="2076136092" r:id="rId36"/>
    <p:sldId id="8682" r:id="rId37"/>
    <p:sldId id="8681" r:id="rId38"/>
    <p:sldId id="8683" r:id="rId39"/>
    <p:sldId id="2076136093" r:id="rId40"/>
    <p:sldId id="2076136094" r:id="rId41"/>
    <p:sldId id="2076136095" r:id="rId42"/>
    <p:sldId id="2076137192" r:id="rId43"/>
    <p:sldId id="2076137204" r:id="rId44"/>
    <p:sldId id="2076137203" r:id="rId45"/>
    <p:sldId id="2076136102" r:id="rId46"/>
    <p:sldId id="2076137210" r:id="rId47"/>
    <p:sldId id="2076136104" r:id="rId48"/>
    <p:sldId id="2076137207" r:id="rId49"/>
    <p:sldId id="2076137208" r:id="rId50"/>
    <p:sldId id="2076136101" r:id="rId51"/>
    <p:sldId id="2076136116" r:id="rId52"/>
    <p:sldId id="2076136072" r:id="rId53"/>
    <p:sldId id="2076136117" r:id="rId54"/>
    <p:sldId id="2076136074" r:id="rId55"/>
    <p:sldId id="2076136075" r:id="rId56"/>
    <p:sldId id="2076136103" r:id="rId57"/>
    <p:sldId id="8655" r:id="rId58"/>
    <p:sldId id="2076136118" r:id="rId59"/>
    <p:sldId id="2076136119" r:id="rId60"/>
    <p:sldId id="2076136123" r:id="rId61"/>
    <p:sldId id="2076136121" r:id="rId62"/>
    <p:sldId id="2076136120" r:id="rId63"/>
    <p:sldId id="2076137190" r:id="rId64"/>
    <p:sldId id="2076136110" r:id="rId65"/>
    <p:sldId id="2076137193" r:id="rId66"/>
    <p:sldId id="2076136124" r:id="rId67"/>
    <p:sldId id="2076136105" r:id="rId68"/>
    <p:sldId id="8641" r:id="rId69"/>
    <p:sldId id="2076137232" r:id="rId70"/>
    <p:sldId id="8643" r:id="rId71"/>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249"/>
    <a:srgbClr val="FFB900"/>
    <a:srgbClr val="D83B01"/>
    <a:srgbClr val="FFFF00"/>
    <a:srgbClr val="BDBDBD"/>
    <a:srgbClr val="46F828"/>
    <a:srgbClr val="E6E6E6"/>
    <a:srgbClr val="D2D2D2"/>
    <a:srgbClr val="303030"/>
    <a:srgbClr val="73737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149" autoAdjust="0"/>
    <p:restoredTop sz="95563" autoAdjust="0"/>
  </p:normalViewPr>
  <p:slideViewPr>
    <p:cSldViewPr snapToGrid="0">
      <p:cViewPr varScale="1">
        <p:scale>
          <a:sx n="106" d="100"/>
          <a:sy n="106" d="100"/>
        </p:scale>
        <p:origin x="894" y="102"/>
      </p:cViewPr>
      <p:guideLst/>
    </p:cSldViewPr>
  </p:slideViewPr>
  <p:outlineViewPr>
    <p:cViewPr>
      <p:scale>
        <a:sx n="33" d="100"/>
        <a:sy n="33" d="100"/>
      </p:scale>
      <p:origin x="0" y="-6516"/>
    </p:cViewPr>
  </p:outlineViewPr>
  <p:notesTextViewPr>
    <p:cViewPr>
      <p:scale>
        <a:sx n="3" d="2"/>
        <a:sy n="3" d="2"/>
      </p:scale>
      <p:origin x="0" y="0"/>
    </p:cViewPr>
  </p:notesTextViewPr>
  <p:sorterViewPr>
    <p:cViewPr varScale="1">
      <p:scale>
        <a:sx n="1" d="1"/>
        <a:sy n="1" d="1"/>
      </p:scale>
      <p:origin x="0" y="-10500"/>
    </p:cViewPr>
  </p:sorterViewPr>
  <p:notesViewPr>
    <p:cSldViewPr snapToGrid="0" showGuides="1">
      <p:cViewPr varScale="1">
        <p:scale>
          <a:sx n="75" d="100"/>
          <a:sy n="75" d="100"/>
        </p:scale>
        <p:origin x="2766" y="3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8.xml"/><Relationship Id="rId21" Type="http://schemas.openxmlformats.org/officeDocument/2006/relationships/slide" Target="slides/slide3.xml"/><Relationship Id="rId42" Type="http://schemas.openxmlformats.org/officeDocument/2006/relationships/slide" Target="slides/slide24.xml"/><Relationship Id="rId47" Type="http://schemas.openxmlformats.org/officeDocument/2006/relationships/slide" Target="slides/slide29.xml"/><Relationship Id="rId63" Type="http://schemas.openxmlformats.org/officeDocument/2006/relationships/slide" Target="slides/slide45.xml"/><Relationship Id="rId68" Type="http://schemas.openxmlformats.org/officeDocument/2006/relationships/slide" Target="slides/slide50.xml"/><Relationship Id="rId16" Type="http://schemas.openxmlformats.org/officeDocument/2006/relationships/slideMaster" Target="slideMasters/slideMaster13.xml"/><Relationship Id="rId11" Type="http://schemas.openxmlformats.org/officeDocument/2006/relationships/slideMaster" Target="slideMasters/slideMaster8.xml"/><Relationship Id="rId24" Type="http://schemas.openxmlformats.org/officeDocument/2006/relationships/slide" Target="slides/slide6.xml"/><Relationship Id="rId32" Type="http://schemas.openxmlformats.org/officeDocument/2006/relationships/slide" Target="slides/slide14.xml"/><Relationship Id="rId37" Type="http://schemas.openxmlformats.org/officeDocument/2006/relationships/slide" Target="slides/slide19.xml"/><Relationship Id="rId40" Type="http://schemas.openxmlformats.org/officeDocument/2006/relationships/slide" Target="slides/slide22.xml"/><Relationship Id="rId45" Type="http://schemas.openxmlformats.org/officeDocument/2006/relationships/slide" Target="slides/slide27.xml"/><Relationship Id="rId53" Type="http://schemas.openxmlformats.org/officeDocument/2006/relationships/slide" Target="slides/slide35.xml"/><Relationship Id="rId58" Type="http://schemas.openxmlformats.org/officeDocument/2006/relationships/slide" Target="slides/slide40.xml"/><Relationship Id="rId66" Type="http://schemas.openxmlformats.org/officeDocument/2006/relationships/slide" Target="slides/slide48.xml"/><Relationship Id="rId74" Type="http://schemas.openxmlformats.org/officeDocument/2006/relationships/commentAuthors" Target="commentAuthors.xml"/><Relationship Id="rId5" Type="http://schemas.openxmlformats.org/officeDocument/2006/relationships/slideMaster" Target="slideMasters/slideMaster2.xml"/><Relationship Id="rId61" Type="http://schemas.openxmlformats.org/officeDocument/2006/relationships/slide" Target="slides/slide43.xml"/><Relationship Id="rId19" Type="http://schemas.openxmlformats.org/officeDocument/2006/relationships/slide" Target="slides/slide1.xml"/><Relationship Id="rId14" Type="http://schemas.openxmlformats.org/officeDocument/2006/relationships/slideMaster" Target="slideMasters/slideMaster11.xml"/><Relationship Id="rId22" Type="http://schemas.openxmlformats.org/officeDocument/2006/relationships/slide" Target="slides/slide4.xml"/><Relationship Id="rId27" Type="http://schemas.openxmlformats.org/officeDocument/2006/relationships/slide" Target="slides/slide9.xml"/><Relationship Id="rId30" Type="http://schemas.openxmlformats.org/officeDocument/2006/relationships/slide" Target="slides/slide12.xml"/><Relationship Id="rId35" Type="http://schemas.openxmlformats.org/officeDocument/2006/relationships/slide" Target="slides/slide17.xml"/><Relationship Id="rId43" Type="http://schemas.openxmlformats.org/officeDocument/2006/relationships/slide" Target="slides/slide25.xml"/><Relationship Id="rId48" Type="http://schemas.openxmlformats.org/officeDocument/2006/relationships/slide" Target="slides/slide30.xml"/><Relationship Id="rId56" Type="http://schemas.openxmlformats.org/officeDocument/2006/relationships/slide" Target="slides/slide38.xml"/><Relationship Id="rId64" Type="http://schemas.openxmlformats.org/officeDocument/2006/relationships/slide" Target="slides/slide46.xml"/><Relationship Id="rId69" Type="http://schemas.openxmlformats.org/officeDocument/2006/relationships/slide" Target="slides/slide51.xml"/><Relationship Id="rId77"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slide" Target="slides/slide33.xml"/><Relationship Id="rId72"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7.xml"/><Relationship Id="rId33" Type="http://schemas.openxmlformats.org/officeDocument/2006/relationships/slide" Target="slides/slide15.xml"/><Relationship Id="rId38" Type="http://schemas.openxmlformats.org/officeDocument/2006/relationships/slide" Target="slides/slide20.xml"/><Relationship Id="rId46" Type="http://schemas.openxmlformats.org/officeDocument/2006/relationships/slide" Target="slides/slide28.xml"/><Relationship Id="rId59" Type="http://schemas.openxmlformats.org/officeDocument/2006/relationships/slide" Target="slides/slide41.xml"/><Relationship Id="rId67" Type="http://schemas.openxmlformats.org/officeDocument/2006/relationships/slide" Target="slides/slide49.xml"/><Relationship Id="rId20" Type="http://schemas.openxmlformats.org/officeDocument/2006/relationships/slide" Target="slides/slide2.xml"/><Relationship Id="rId41" Type="http://schemas.openxmlformats.org/officeDocument/2006/relationships/slide" Target="slides/slide23.xml"/><Relationship Id="rId54" Type="http://schemas.openxmlformats.org/officeDocument/2006/relationships/slide" Target="slides/slide36.xml"/><Relationship Id="rId62" Type="http://schemas.openxmlformats.org/officeDocument/2006/relationships/slide" Target="slides/slide44.xml"/><Relationship Id="rId70" Type="http://schemas.openxmlformats.org/officeDocument/2006/relationships/slide" Target="slides/slide52.xml"/><Relationship Id="rId75"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slide" Target="slides/slide18.xml"/><Relationship Id="rId49" Type="http://schemas.openxmlformats.org/officeDocument/2006/relationships/slide" Target="slides/slide31.xml"/><Relationship Id="rId57" Type="http://schemas.openxmlformats.org/officeDocument/2006/relationships/slide" Target="slides/slide39.xml"/><Relationship Id="rId10" Type="http://schemas.openxmlformats.org/officeDocument/2006/relationships/slideMaster" Target="slideMasters/slideMaster7.xml"/><Relationship Id="rId31" Type="http://schemas.openxmlformats.org/officeDocument/2006/relationships/slide" Target="slides/slide13.xml"/><Relationship Id="rId44" Type="http://schemas.openxmlformats.org/officeDocument/2006/relationships/slide" Target="slides/slide26.xml"/><Relationship Id="rId52" Type="http://schemas.openxmlformats.org/officeDocument/2006/relationships/slide" Target="slides/slide34.xml"/><Relationship Id="rId60" Type="http://schemas.openxmlformats.org/officeDocument/2006/relationships/slide" Target="slides/slide42.xml"/><Relationship Id="rId65" Type="http://schemas.openxmlformats.org/officeDocument/2006/relationships/slide" Target="slides/slide47.xml"/><Relationship Id="rId73" Type="http://schemas.openxmlformats.org/officeDocument/2006/relationships/handoutMaster" Target="handoutMasters/handoutMaster1.xml"/><Relationship Id="rId78"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21.xml"/><Relationship Id="rId34" Type="http://schemas.openxmlformats.org/officeDocument/2006/relationships/slide" Target="slides/slide16.xml"/><Relationship Id="rId50" Type="http://schemas.openxmlformats.org/officeDocument/2006/relationships/slide" Target="slides/slide32.xml"/><Relationship Id="rId55" Type="http://schemas.openxmlformats.org/officeDocument/2006/relationships/slide" Target="slides/slide37.xml"/><Relationship Id="rId76" Type="http://schemas.openxmlformats.org/officeDocument/2006/relationships/viewProps" Target="viewProps.xml"/><Relationship Id="rId7" Type="http://schemas.openxmlformats.org/officeDocument/2006/relationships/slideMaster" Target="slideMasters/slideMaster4.xml"/><Relationship Id="rId71" Type="http://schemas.openxmlformats.org/officeDocument/2006/relationships/slide" Target="slides/slide53.xml"/><Relationship Id="rId2" Type="http://schemas.openxmlformats.org/officeDocument/2006/relationships/customXml" Target="../customXml/item2.xml"/><Relationship Id="rId29" Type="http://schemas.openxmlformats.org/officeDocument/2006/relationships/slide" Target="slides/slide1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5/11/2020 7:41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5/11/2020 7:41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Light"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CAB9C8E-DCC8-456A-9BF7-7F668FFE441B}"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1/2020 7:4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950692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2077258-70D4-4992-A2EC-F1B865547BE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1/2020 7:4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155198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1/2020 7:4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512687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592BAB5C-9CDE-47A0-89B0-1BD39C8B7942}"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1/20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HEADER]]</a:t>
            </a:r>
          </a:p>
        </p:txBody>
      </p:sp>
    </p:spTree>
    <p:extLst>
      <p:ext uri="{BB962C8B-B14F-4D97-AF65-F5344CB8AC3E}">
        <p14:creationId xmlns:p14="http://schemas.microsoft.com/office/powerpoint/2010/main" val="236898997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6.xml"/><Relationship Id="rId5" Type="http://schemas.openxmlformats.org/officeDocument/2006/relationships/image" Target="../media/image5.png"/><Relationship Id="rId4" Type="http://schemas.openxmlformats.org/officeDocument/2006/relationships/image" Target="../media/image4.svg"/></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6.xml"/><Relationship Id="rId5" Type="http://schemas.openxmlformats.org/officeDocument/2006/relationships/image" Target="../media/image2.emf"/><Relationship Id="rId4" Type="http://schemas.openxmlformats.org/officeDocument/2006/relationships/image" Target="../media/image8.png"/></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12.png"/></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6.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6.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6.xml"/><Relationship Id="rId4" Type="http://schemas.openxmlformats.org/officeDocument/2006/relationships/image" Target="../media/image12.png"/></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6.xml"/><Relationship Id="rId4" Type="http://schemas.openxmlformats.org/officeDocument/2006/relationships/image" Target="../media/image12.pn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6.xml"/><Relationship Id="rId4" Type="http://schemas.openxmlformats.org/officeDocument/2006/relationships/image" Target="../media/image12.png"/></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12.png"/></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emf"/><Relationship Id="rId1" Type="http://schemas.openxmlformats.org/officeDocument/2006/relationships/slideMaster" Target="../slideMasters/slideMaster7.xml"/><Relationship Id="rId4" Type="http://schemas.openxmlformats.org/officeDocument/2006/relationships/image" Target="../media/image4.svg"/></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12.png"/></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31.jpeg"/><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0.emf"/><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7.jpeg"/><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Master" Target="../slideMasters/slideMaster9.xml"/><Relationship Id="rId4" Type="http://schemas.openxmlformats.org/officeDocument/2006/relationships/image" Target="../media/image25.jpeg"/></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image" Target="../media/image39.jpeg"/><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41.jpeg"/><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Master" Target="../slideMasters/slideMaster10.xml"/><Relationship Id="rId4" Type="http://schemas.openxmlformats.org/officeDocument/2006/relationships/image" Target="../media/image25.jpe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2.emf"/><Relationship Id="rId4" Type="http://schemas.openxmlformats.org/officeDocument/2006/relationships/image" Target="../media/image8.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0.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42.wmf"/><Relationship Id="rId2" Type="http://schemas.openxmlformats.org/officeDocument/2006/relationships/image" Target="../media/image30.emf"/><Relationship Id="rId1" Type="http://schemas.openxmlformats.org/officeDocument/2006/relationships/slideMaster" Target="../slideMasters/slideMaster11.xml"/><Relationship Id="rId4" Type="http://schemas.openxmlformats.org/officeDocument/2006/relationships/image" Target="../media/image43.wmf"/></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42.wmf"/><Relationship Id="rId2" Type="http://schemas.openxmlformats.org/officeDocument/2006/relationships/image" Target="../media/image30.emf"/><Relationship Id="rId1" Type="http://schemas.openxmlformats.org/officeDocument/2006/relationships/slideMaster" Target="../slideMasters/slideMaster11.xml"/><Relationship Id="rId4" Type="http://schemas.openxmlformats.org/officeDocument/2006/relationships/image" Target="../media/image43.wmf"/></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30.emf"/><Relationship Id="rId1" Type="http://schemas.openxmlformats.org/officeDocument/2006/relationships/slideMaster" Target="../slideMasters/slideMaster11.xml"/><Relationship Id="rId5" Type="http://schemas.openxmlformats.org/officeDocument/2006/relationships/image" Target="../media/image43.wmf"/><Relationship Id="rId4" Type="http://schemas.openxmlformats.org/officeDocument/2006/relationships/image" Target="../media/image42.wmf"/></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2.emf"/><Relationship Id="rId1" Type="http://schemas.openxmlformats.org/officeDocument/2006/relationships/slideMaster" Target="../slideMasters/slideMaster11.xml"/><Relationship Id="rId5" Type="http://schemas.openxmlformats.org/officeDocument/2006/relationships/image" Target="../media/image42.wmf"/><Relationship Id="rId4" Type="http://schemas.openxmlformats.org/officeDocument/2006/relationships/image" Target="../media/image43.wmf"/></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11.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1.xml"/><Relationship Id="rId5" Type="http://schemas.openxmlformats.org/officeDocument/2006/relationships/image" Target="../media/image2.emf"/><Relationship Id="rId4" Type="http://schemas.openxmlformats.org/officeDocument/2006/relationships/image" Target="../media/image8.png"/></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Master" Target="../slideMasters/slideMaster12.xml"/><Relationship Id="rId5" Type="http://schemas.openxmlformats.org/officeDocument/2006/relationships/image" Target="../media/image48.png"/><Relationship Id="rId4" Type="http://schemas.openxmlformats.org/officeDocument/2006/relationships/image" Target="../media/image47.png"/></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Master" Target="../slideMasters/slideMaster12.xml"/><Relationship Id="rId5" Type="http://schemas.openxmlformats.org/officeDocument/2006/relationships/image" Target="../media/image48.png"/><Relationship Id="rId4" Type="http://schemas.openxmlformats.org/officeDocument/2006/relationships/image" Target="../media/image47.png"/></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Master" Target="../slideMasters/slideMaster12.xml"/><Relationship Id="rId4" Type="http://schemas.openxmlformats.org/officeDocument/2006/relationships/image" Target="../media/image48.png"/></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Master" Target="../slideMasters/slideMaster12.xml"/><Relationship Id="rId4" Type="http://schemas.openxmlformats.org/officeDocument/2006/relationships/image" Target="../media/image48.png"/></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Master" Target="../slideMasters/slideMaster12.xml"/><Relationship Id="rId4" Type="http://schemas.openxmlformats.org/officeDocument/2006/relationships/image" Target="../media/image48.png"/></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Master" Target="../slideMasters/slideMaster12.xml"/><Relationship Id="rId4" Type="http://schemas.openxmlformats.org/officeDocument/2006/relationships/image" Target="../media/image48.png"/></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33.jpeg"/><Relationship Id="rId1" Type="http://schemas.openxmlformats.org/officeDocument/2006/relationships/slideMaster" Target="../slideMasters/slideMaster12.xml"/></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Master" Target="../slideMasters/slideMaster12.xml"/><Relationship Id="rId4" Type="http://schemas.openxmlformats.org/officeDocument/2006/relationships/image" Target="../media/image48.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45.emf"/><Relationship Id="rId1" Type="http://schemas.openxmlformats.org/officeDocument/2006/relationships/slideMaster" Target="../slideMasters/slideMaster12.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2.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3.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3.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13.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54.emf"/><Relationship Id="rId4" Type="http://schemas.openxmlformats.org/officeDocument/2006/relationships/oleObject" Target="../embeddings/oleObject1.bin"/></Relationships>
</file>

<file path=ppt/slideLayouts/_rels/slideLayout27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54.emf"/><Relationship Id="rId4" Type="http://schemas.openxmlformats.org/officeDocument/2006/relationships/oleObject" Target="../embeddings/oleObject2.bin"/></Relationships>
</file>

<file path=ppt/slideLayouts/_rels/slideLayout27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54.emf"/><Relationship Id="rId4" Type="http://schemas.openxmlformats.org/officeDocument/2006/relationships/oleObject" Target="../embeddings/oleObject3.bin"/></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54.emf"/><Relationship Id="rId4" Type="http://schemas.openxmlformats.org/officeDocument/2006/relationships/oleObject" Target="../embeddings/oleObject4.bin"/></Relationships>
</file>

<file path=ppt/slideLayouts/_rels/slideLayout28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54.emf"/><Relationship Id="rId4" Type="http://schemas.openxmlformats.org/officeDocument/2006/relationships/oleObject" Target="../embeddings/oleObject5.bin"/></Relationships>
</file>

<file path=ppt/slideLayouts/_rels/slideLayout28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54.emf"/><Relationship Id="rId4" Type="http://schemas.openxmlformats.org/officeDocument/2006/relationships/oleObject" Target="../embeddings/oleObject6.bin"/></Relationships>
</file>

<file path=ppt/slideLayouts/_rels/slideLayout28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54.emf"/><Relationship Id="rId4" Type="http://schemas.openxmlformats.org/officeDocument/2006/relationships/oleObject" Target="../embeddings/oleObject7.bin"/></Relationships>
</file>

<file path=ppt/slideLayouts/_rels/slideLayout28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54.emf"/><Relationship Id="rId4" Type="http://schemas.openxmlformats.org/officeDocument/2006/relationships/oleObject" Target="../embeddings/oleObject8.bin"/></Relationships>
</file>

<file path=ppt/slideLayouts/_rels/slideLayout28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54.emf"/><Relationship Id="rId4" Type="http://schemas.openxmlformats.org/officeDocument/2006/relationships/oleObject" Target="../embeddings/oleObject9.bin"/></Relationships>
</file>

<file path=ppt/slideLayouts/_rels/slideLayout28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54.emf"/><Relationship Id="rId4" Type="http://schemas.openxmlformats.org/officeDocument/2006/relationships/oleObject" Target="../embeddings/oleObject10.bin"/></Relationships>
</file>

<file path=ppt/slideLayouts/_rels/slideLayout28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54.emf"/><Relationship Id="rId4" Type="http://schemas.openxmlformats.org/officeDocument/2006/relationships/oleObject" Target="../embeddings/oleObject11.bin"/></Relationships>
</file>

<file path=ppt/slideLayouts/_rels/slideLayout28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2.xml"/><Relationship Id="rId1" Type="http://schemas.openxmlformats.org/officeDocument/2006/relationships/vmlDrawing" Target="../drawings/vmlDrawing12.vml"/><Relationship Id="rId6" Type="http://schemas.openxmlformats.org/officeDocument/2006/relationships/image" Target="../media/image55.png"/><Relationship Id="rId5" Type="http://schemas.openxmlformats.org/officeDocument/2006/relationships/image" Target="../media/image54.emf"/><Relationship Id="rId4" Type="http://schemas.openxmlformats.org/officeDocument/2006/relationships/oleObject" Target="../embeddings/oleObject12.bin"/></Relationships>
</file>

<file path=ppt/slideLayouts/_rels/slideLayout28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54.emf"/><Relationship Id="rId4" Type="http://schemas.openxmlformats.org/officeDocument/2006/relationships/oleObject" Target="../embeddings/oleObject13.bin"/></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54.emf"/><Relationship Id="rId4" Type="http://schemas.openxmlformats.org/officeDocument/2006/relationships/oleObject" Target="../embeddings/oleObject14.bin"/></Relationships>
</file>

<file path=ppt/slideLayouts/_rels/slideLayout29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54.emf"/><Relationship Id="rId4" Type="http://schemas.openxmlformats.org/officeDocument/2006/relationships/oleObject" Target="../embeddings/oleObject15.bin"/></Relationships>
</file>

<file path=ppt/slideLayouts/_rels/slideLayout29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54.emf"/><Relationship Id="rId4" Type="http://schemas.openxmlformats.org/officeDocument/2006/relationships/oleObject" Target="../embeddings/oleObject16.bin"/></Relationships>
</file>

<file path=ppt/slideLayouts/_rels/slideLayout29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54.emf"/><Relationship Id="rId4" Type="http://schemas.openxmlformats.org/officeDocument/2006/relationships/oleObject" Target="../embeddings/oleObject17.bin"/></Relationships>
</file>

<file path=ppt/slideLayouts/_rels/slideLayout29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54.emf"/><Relationship Id="rId4" Type="http://schemas.openxmlformats.org/officeDocument/2006/relationships/oleObject" Target="../embeddings/oleObject18.bin"/></Relationships>
</file>

<file path=ppt/slideLayouts/_rels/slideLayout29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9.xml"/><Relationship Id="rId1" Type="http://schemas.openxmlformats.org/officeDocument/2006/relationships/vmlDrawing" Target="../drawings/vmlDrawing19.vml"/><Relationship Id="rId6" Type="http://schemas.openxmlformats.org/officeDocument/2006/relationships/image" Target="../media/image56.png"/><Relationship Id="rId5" Type="http://schemas.openxmlformats.org/officeDocument/2006/relationships/image" Target="../media/image54.emf"/><Relationship Id="rId4" Type="http://schemas.openxmlformats.org/officeDocument/2006/relationships/oleObject" Target="../embeddings/oleObject19.bin"/></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3" Type="http://schemas.openxmlformats.org/officeDocument/2006/relationships/image" Target="../media/image58.emf"/><Relationship Id="rId2" Type="http://schemas.openxmlformats.org/officeDocument/2006/relationships/image" Target="../media/image57.emf"/><Relationship Id="rId1" Type="http://schemas.openxmlformats.org/officeDocument/2006/relationships/slideMaster" Target="../slideMasters/slideMaster13.xml"/></Relationships>
</file>

<file path=ppt/slideLayouts/_rels/slideLayout30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0.png"/><Relationship Id="rId1" Type="http://schemas.openxmlformats.org/officeDocument/2006/relationships/slideMaster" Target="../slideMasters/slideMaster14.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61.jpg"/><Relationship Id="rId1" Type="http://schemas.openxmlformats.org/officeDocument/2006/relationships/slideMaster" Target="../slideMasters/slideMaster14.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61.jpg"/><Relationship Id="rId1" Type="http://schemas.openxmlformats.org/officeDocument/2006/relationships/slideMaster" Target="../slideMasters/slideMaster14.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7.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emf"/><Relationship Id="rId1" Type="http://schemas.openxmlformats.org/officeDocument/2006/relationships/slideMaster" Target="../slideMasters/slideMaster14.xml"/></Relationships>
</file>

<file path=ppt/slideLayouts/_rels/slideLayout318.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jpg"/><Relationship Id="rId1" Type="http://schemas.openxmlformats.org/officeDocument/2006/relationships/slideMaster" Target="../slideMasters/slideMaster14.xml"/><Relationship Id="rId4" Type="http://schemas.openxmlformats.org/officeDocument/2006/relationships/image" Target="../media/image62.emf"/></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6.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2.emf"/><Relationship Id="rId1" Type="http://schemas.openxmlformats.org/officeDocument/2006/relationships/slideMaster" Target="../slideMasters/slideMaster15.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62.emf"/><Relationship Id="rId1" Type="http://schemas.openxmlformats.org/officeDocument/2006/relationships/slideMaster" Target="../slideMasters/slideMaster15.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62.emf"/><Relationship Id="rId1" Type="http://schemas.openxmlformats.org/officeDocument/2006/relationships/slideMaster" Target="../slideMasters/slideMaster15.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67.emf"/><Relationship Id="rId1" Type="http://schemas.openxmlformats.org/officeDocument/2006/relationships/slideMaster" Target="../slideMasters/slideMaster1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68.emf"/><Relationship Id="rId1" Type="http://schemas.openxmlformats.org/officeDocument/2006/relationships/slideMaster" Target="../slideMasters/slideMaster15.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15.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62.emf"/><Relationship Id="rId1" Type="http://schemas.openxmlformats.org/officeDocument/2006/relationships/slideMaster" Target="../slideMasters/slideMaster15.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3.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Master" Target="../slideMasters/slideMaster15.xml"/></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15.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9.xml.rels><?xml version="1.0" encoding="UTF-8" standalone="yes"?>
<Relationships xmlns="http://schemas.openxmlformats.org/package/2006/relationships"><Relationship Id="rId3" Type="http://schemas.openxmlformats.org/officeDocument/2006/relationships/image" Target="../media/image62.emf"/><Relationship Id="rId2" Type="http://schemas.openxmlformats.org/officeDocument/2006/relationships/image" Target="../media/image73.emf"/><Relationship Id="rId1" Type="http://schemas.openxmlformats.org/officeDocument/2006/relationships/slideMaster" Target="../slideMasters/slideMaster15.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jpe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Master" Target="../slideMasters/slideMaster4.xml"/><Relationship Id="rId4" Type="http://schemas.openxmlformats.org/officeDocument/2006/relationships/image" Target="../media/image25.jpeg"/></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6C20C272-8E66-429C-A9F7-1C4E612DB65F}"/>
              </a:ext>
            </a:extLst>
          </p:cNvPr>
          <p:cNvCxnSpPr>
            <a:cxnSpLocks/>
          </p:cNvCxnSpPr>
          <p:nvPr userDrawn="1"/>
        </p:nvCxnSpPr>
        <p:spPr>
          <a:xfrm>
            <a:off x="11895763" y="1817370"/>
            <a:ext cx="0" cy="710565"/>
          </a:xfrm>
          <a:prstGeom prst="line">
            <a:avLst/>
          </a:prstGeom>
          <a:ln>
            <a:solidFill>
              <a:srgbClr val="D83B0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pic>
        <p:nvPicPr>
          <p:cNvPr id="31" name="Picture 30">
            <a:extLst>
              <a:ext uri="{FF2B5EF4-FFF2-40B4-BE49-F238E27FC236}">
                <a16:creationId xmlns:a16="http://schemas.microsoft.com/office/drawing/2014/main" id="{786210CF-A0F8-409C-A4D3-027E8C0B2F2F}"/>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8717519" y="1816159"/>
            <a:ext cx="3474481" cy="4149241"/>
          </a:xfrm>
          <a:prstGeom prst="rect">
            <a:avLst/>
          </a:prstGeom>
        </p:spPr>
      </p:pic>
    </p:spTree>
    <p:extLst>
      <p:ext uri="{BB962C8B-B14F-4D97-AF65-F5344CB8AC3E}">
        <p14:creationId xmlns:p14="http://schemas.microsoft.com/office/powerpoint/2010/main" val="30734689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07265-7E47-481D-9C2B-6C8BF221FAA5}"/>
              </a:ext>
            </a:extLst>
          </p:cNvPr>
          <p:cNvGrpSpPr/>
          <p:nvPr userDrawn="1"/>
        </p:nvGrpSpPr>
        <p:grpSpPr>
          <a:xfrm>
            <a:off x="6194603" y="-1"/>
            <a:ext cx="5997398" cy="6858001"/>
            <a:chOff x="6194603" y="-1"/>
            <a:chExt cx="5997398" cy="6858001"/>
          </a:xfrm>
        </p:grpSpPr>
        <p:pic>
          <p:nvPicPr>
            <p:cNvPr id="32" name="Picture 31">
              <a:extLst>
                <a:ext uri="{FF2B5EF4-FFF2-40B4-BE49-F238E27FC236}">
                  <a16:creationId xmlns:a16="http://schemas.microsoft.com/office/drawing/2014/main" id="{A5AE405F-E300-4B3D-9110-B06B7584150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2819" y="1461694"/>
              <a:ext cx="3689182" cy="5396306"/>
            </a:xfrm>
            <a:prstGeom prst="rect">
              <a:avLst/>
            </a:prstGeom>
          </p:spPr>
        </p:pic>
        <p:pic>
          <p:nvPicPr>
            <p:cNvPr id="33" name="Picture 32">
              <a:extLst>
                <a:ext uri="{FF2B5EF4-FFF2-40B4-BE49-F238E27FC236}">
                  <a16:creationId xmlns:a16="http://schemas.microsoft.com/office/drawing/2014/main" id="{38D0436A-7978-419B-9760-5EFC6747DD72}"/>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1"/>
              <a:ext cx="1182753" cy="1076699"/>
            </a:xfrm>
            <a:prstGeom prst="rect">
              <a:avLst/>
            </a:prstGeom>
          </p:spPr>
        </p:pic>
        <p:pic>
          <p:nvPicPr>
            <p:cNvPr id="34" name="Picture 33">
              <a:extLst>
                <a:ext uri="{FF2B5EF4-FFF2-40B4-BE49-F238E27FC236}">
                  <a16:creationId xmlns:a16="http://schemas.microsoft.com/office/drawing/2014/main" id="{77C68831-B0BD-42C1-AB2F-BEAC8CFD1FD5}"/>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6894"/>
              <a:ext cx="1182753" cy="961106"/>
            </a:xfrm>
            <a:prstGeom prst="rect">
              <a:avLst/>
            </a:prstGeom>
          </p:spPr>
        </p:pic>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5" cstate="email">
              <a:extLst>
                <a:ext uri="{28A0092B-C50C-407E-A947-70E740481C1C}">
                  <a14:useLocalDpi xmlns:a14="http://schemas.microsoft.com/office/drawing/2010/main"/>
                </a:ext>
              </a:extLst>
            </a:blip>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710960028"/>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1296475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6151364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997728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0742927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75309677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125446057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129268" y="291068"/>
            <a:ext cx="6769045" cy="553998"/>
          </a:xfrm>
        </p:spPr>
        <p:txBody>
          <a:bodyPr/>
          <a:lstStyle>
            <a:lvl1pPr>
              <a:defRPr sz="3600"/>
            </a:lvl1pPr>
          </a:lstStyle>
          <a:p>
            <a:r>
              <a:rPr lang="en-US"/>
              <a:t>Click to edit Master title style</a:t>
            </a:r>
          </a:p>
        </p:txBody>
      </p:sp>
      <p:sp>
        <p:nvSpPr>
          <p:cNvPr id="4" name="Text Placeholder 3"/>
          <p:cNvSpPr>
            <a:spLocks noGrp="1"/>
          </p:cNvSpPr>
          <p:nvPr>
            <p:ph type="body" sz="quarter" idx="10"/>
          </p:nvPr>
        </p:nvSpPr>
        <p:spPr>
          <a:xfrm>
            <a:off x="5129267" y="4773828"/>
            <a:ext cx="6769045" cy="1793104"/>
          </a:xfrm>
        </p:spPr>
        <p:txBody>
          <a:bodyPr wrap="square">
            <a:noAutofit/>
          </a:bodyPr>
          <a:lstStyle>
            <a:lvl1pPr marL="0" indent="0">
              <a:spcBef>
                <a:spcPts val="1765"/>
              </a:spcBef>
              <a:buNone/>
              <a:defRPr sz="2000">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4828867" cy="6858623"/>
          </a:xfrm>
          <a:prstGeom prst="rect">
            <a:avLst/>
          </a:prstGeom>
        </p:spPr>
      </p:pic>
    </p:spTree>
    <p:extLst>
      <p:ext uri="{BB962C8B-B14F-4D97-AF65-F5344CB8AC3E}">
        <p14:creationId xmlns:p14="http://schemas.microsoft.com/office/powerpoint/2010/main" val="1430543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8BB1AE5-10B0-4C55-B4E3-62EE131A8C7F}" type="datetimeFigureOut">
              <a:rPr lang="en-US" smtClean="0"/>
              <a:t>5/11/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F96D0CA-DDEB-44A3-AD04-2D8A41967439}" type="slidenum">
              <a:rPr lang="en-US" smtClean="0"/>
              <a:t>‹#›</a:t>
            </a:fld>
            <a:endParaRPr lang="en-US"/>
          </a:p>
        </p:txBody>
      </p:sp>
    </p:spTree>
    <p:extLst>
      <p:ext uri="{BB962C8B-B14F-4D97-AF65-F5344CB8AC3E}">
        <p14:creationId xmlns:p14="http://schemas.microsoft.com/office/powerpoint/2010/main" val="247058469"/>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69239" y="1189176"/>
            <a:ext cx="11653523" cy="5343825"/>
          </a:xfrm>
        </p:spPr>
        <p:txBody>
          <a:bodyPr>
            <a:normAutofit/>
          </a:bodyPr>
          <a:lstStyle>
            <a:lvl1pPr>
              <a:spcBef>
                <a:spcPts val="1200"/>
              </a:spcBef>
              <a:defRPr sz="3921"/>
            </a:lvl1pPr>
            <a:lvl2pPr>
              <a:spcBef>
                <a:spcPts val="1200"/>
              </a:spcBef>
              <a:defRPr/>
            </a:lvl2pPr>
            <a:lvl3pPr>
              <a:spcBef>
                <a:spcPts val="1200"/>
              </a:spcBef>
              <a:defRPr/>
            </a:lvl3pPr>
            <a:lvl4pPr>
              <a:spcBef>
                <a:spcPts val="1200"/>
              </a:spcBef>
              <a:defRPr/>
            </a:lvl4pPr>
            <a:lvl5pPr>
              <a:spcBef>
                <a:spcPts val="12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84490857"/>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One Column White">
    <p:bg>
      <p:bgPr>
        <a:solidFill>
          <a:schemeClr val="bg1"/>
        </a:solidFill>
        <a:effectLst/>
      </p:bgPr>
    </p:bg>
    <p:spTree>
      <p:nvGrpSpPr>
        <p:cNvPr id="1" name=""/>
        <p:cNvGrpSpPr/>
        <p:nvPr/>
      </p:nvGrpSpPr>
      <p:grpSpPr>
        <a:xfrm>
          <a:off x="0" y="0"/>
          <a:ext cx="0" cy="0"/>
          <a:chOff x="0" y="0"/>
          <a:chExt cx="0" cy="0"/>
        </a:xfrm>
      </p:grpSpPr>
      <p:sp>
        <p:nvSpPr>
          <p:cNvPr id="7" name="Title 1"/>
          <p:cNvSpPr>
            <a:spLocks noGrp="1" noChangeAspect="1"/>
          </p:cNvSpPr>
          <p:nvPr>
            <p:ph type="title"/>
          </p:nvPr>
        </p:nvSpPr>
        <p:spPr>
          <a:xfrm>
            <a:off x="304800" y="358227"/>
            <a:ext cx="11582400" cy="889000"/>
          </a:xfrm>
          <a:prstGeom prst="rect">
            <a:avLst/>
          </a:prstGeom>
        </p:spPr>
        <p:txBody>
          <a:bodyPr lIns="0" tIns="0" rIns="0" bIns="0" anchor="ctr"/>
          <a:lstStyle>
            <a:lvl1pPr algn="l">
              <a:defRPr sz="5867">
                <a:solidFill>
                  <a:schemeClr val="tx2"/>
                </a:solidFill>
                <a:latin typeface="Segoe UI Light"/>
                <a:cs typeface="Segoe UI Light"/>
              </a:defRPr>
            </a:lvl1pPr>
          </a:lstStyle>
          <a:p>
            <a:r>
              <a:rPr lang="en-US"/>
              <a:t>Click to edit Master title style</a:t>
            </a:r>
          </a:p>
        </p:txBody>
      </p:sp>
      <p:sp>
        <p:nvSpPr>
          <p:cNvPr id="8" name="Content Placeholder 2"/>
          <p:cNvSpPr>
            <a:spLocks noGrp="1"/>
          </p:cNvSpPr>
          <p:nvPr>
            <p:ph idx="1" hasCustomPrompt="1"/>
          </p:nvPr>
        </p:nvSpPr>
        <p:spPr>
          <a:xfrm>
            <a:off x="304800" y="1304261"/>
            <a:ext cx="11582400" cy="4768519"/>
          </a:xfrm>
          <a:prstGeom prst="rect">
            <a:avLst/>
          </a:prstGeom>
        </p:spPr>
        <p:txBody>
          <a:bodyPr lIns="0" tIns="0" rIns="0" bIns="0"/>
          <a:lstStyle>
            <a:lvl1pPr marL="243834" indent="-243834">
              <a:lnSpc>
                <a:spcPct val="100000"/>
              </a:lnSpc>
              <a:spcBef>
                <a:spcPts val="667"/>
              </a:spcBef>
              <a:buFont typeface="Arial" charset="0"/>
              <a:buChar char="•"/>
              <a:defRPr sz="3200" baseline="0">
                <a:solidFill>
                  <a:schemeClr val="tx1"/>
                </a:solidFill>
                <a:latin typeface="Segoe UI Light"/>
                <a:cs typeface="Segoe UI Light"/>
              </a:defRPr>
            </a:lvl1pPr>
            <a:lvl2pPr marL="609585" indent="-243834">
              <a:lnSpc>
                <a:spcPct val="100000"/>
              </a:lnSpc>
              <a:spcBef>
                <a:spcPts val="667"/>
              </a:spcBef>
              <a:buFont typeface="Arial" panose="020B0604020202020204" pitchFamily="34" charset="0"/>
              <a:buChar char="•"/>
              <a:defRPr sz="2933">
                <a:solidFill>
                  <a:schemeClr val="tx1"/>
                </a:solidFill>
                <a:latin typeface="Segoe UI Light"/>
                <a:cs typeface="Segoe UI Light"/>
              </a:defRPr>
            </a:lvl2pPr>
            <a:lvl3pPr marL="914377" indent="-243834">
              <a:lnSpc>
                <a:spcPct val="100000"/>
              </a:lnSpc>
              <a:spcBef>
                <a:spcPts val="667"/>
              </a:spcBef>
              <a:buFont typeface="Arial"/>
              <a:buChar char="•"/>
              <a:defRPr sz="2667">
                <a:solidFill>
                  <a:schemeClr val="tx1"/>
                </a:solidFill>
                <a:latin typeface="Segoe UI Light"/>
                <a:cs typeface="Segoe UI Light"/>
              </a:defRPr>
            </a:lvl3pPr>
            <a:lvl4pPr marL="1219170" marR="0" indent="-243834" algn="l" defTabSz="1219170" rtl="0" eaLnBrk="1" fontAlgn="auto" latinLnBrk="0" hangingPunct="1">
              <a:lnSpc>
                <a:spcPct val="100000"/>
              </a:lnSpc>
              <a:spcBef>
                <a:spcPts val="667"/>
              </a:spcBef>
              <a:spcAft>
                <a:spcPts val="0"/>
              </a:spcAft>
              <a:buClrTx/>
              <a:buSzTx/>
              <a:buFont typeface="Arial"/>
              <a:buChar char="•"/>
              <a:tabLst/>
              <a:defRPr sz="2400" baseline="0">
                <a:solidFill>
                  <a:schemeClr val="tx1"/>
                </a:solidFill>
                <a:latin typeface="Segoe UI Light"/>
                <a:cs typeface="Segoe UI Light"/>
              </a:defRPr>
            </a:lvl4pPr>
            <a:lvl5pPr marL="2072588" indent="243834">
              <a:spcBef>
                <a:spcPts val="1333"/>
              </a:spcBef>
              <a:buFont typeface="Arial"/>
              <a:buChar char="•"/>
              <a:tabLst>
                <a:tab pos="2135664" algn="l"/>
              </a:tabLst>
              <a:defRPr sz="2667" baseline="0">
                <a:solidFill>
                  <a:schemeClr val="bg1"/>
                </a:solidFill>
                <a:latin typeface="Segoe UI Light"/>
                <a:cs typeface="Segoe UI Light"/>
              </a:defRPr>
            </a:lvl5pPr>
          </a:lstStyle>
          <a:p>
            <a:pPr lvl="0"/>
            <a:r>
              <a:rPr lang="en-US"/>
              <a:t>Bullet first level</a:t>
            </a:r>
          </a:p>
          <a:p>
            <a:pPr lvl="1"/>
            <a:r>
              <a:rPr lang="en-US"/>
              <a:t>Bullet second level</a:t>
            </a:r>
          </a:p>
          <a:p>
            <a:pPr lvl="2"/>
            <a:r>
              <a:rPr lang="en-US"/>
              <a:t>Bullet third level</a:t>
            </a:r>
          </a:p>
          <a:p>
            <a:pPr lvl="3"/>
            <a:r>
              <a:rPr lang="en-US"/>
              <a:t>Bullet fourth level</a:t>
            </a:r>
          </a:p>
        </p:txBody>
      </p:sp>
    </p:spTree>
    <p:extLst>
      <p:ext uri="{BB962C8B-B14F-4D97-AF65-F5344CB8AC3E}">
        <p14:creationId xmlns:p14="http://schemas.microsoft.com/office/powerpoint/2010/main" val="976979902"/>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2B071B18-AE3E-4C1A-8C40-38A79DBA86AA}"/>
              </a:ext>
            </a:extLst>
          </p:cNvPr>
          <p:cNvGrpSpPr/>
          <p:nvPr userDrawn="1"/>
        </p:nvGrpSpPr>
        <p:grpSpPr>
          <a:xfrm>
            <a:off x="6194603" y="0"/>
            <a:ext cx="5997398" cy="6858001"/>
            <a:chOff x="6194603" y="0"/>
            <a:chExt cx="5997398" cy="6858001"/>
          </a:xfrm>
        </p:grpSpPr>
        <p:pic>
          <p:nvPicPr>
            <p:cNvPr id="38" name="Picture 37">
              <a:extLst>
                <a:ext uri="{FF2B5EF4-FFF2-40B4-BE49-F238E27FC236}">
                  <a16:creationId xmlns:a16="http://schemas.microsoft.com/office/drawing/2014/main" id="{A874D211-CD8A-4B0E-B9C0-C2FF7D72BEE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471513C0-489E-4E2E-9C12-D1DC6B98AB2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984DC410-B12F-4706-B9C8-EBBBA766DAC2}"/>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7361"/>
              <a:ext cx="1179576" cy="960640"/>
            </a:xfrm>
            <a:prstGeom prst="rect">
              <a:avLst/>
            </a:prstGeom>
          </p:spPr>
        </p:pic>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dirty="0"/>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5" cstate="email">
              <a:extLst>
                <a:ext uri="{28A0092B-C50C-407E-A947-70E740481C1C}">
                  <a14:useLocalDpi xmlns:a14="http://schemas.microsoft.com/office/drawing/2010/main"/>
                </a:ext>
              </a:extLst>
            </a:blip>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20774799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0CB3F42D-A8D5-4426-AF07-8472BDF6FF3F}" type="datetimeFigureOut">
              <a:rPr lang="en-US" smtClean="0"/>
              <a:t>5/11/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2B6230-016B-40BA-9D19-DB0367FEB74C}" type="slidenum">
              <a:rPr lang="en-US" smtClean="0"/>
              <a:t>‹#›</a:t>
            </a:fld>
            <a:endParaRPr lang="en-US"/>
          </a:p>
        </p:txBody>
      </p:sp>
    </p:spTree>
    <p:extLst>
      <p:ext uri="{BB962C8B-B14F-4D97-AF65-F5344CB8AC3E}">
        <p14:creationId xmlns:p14="http://schemas.microsoft.com/office/powerpoint/2010/main" val="3352534080"/>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2"/>
            <a:ext cx="598239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6"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3"/>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3777463682"/>
      </p:ext>
    </p:extLst>
  </p:cSld>
  <p:clrMapOvr>
    <a:masterClrMapping/>
  </p:clrMapOvr>
  <p:transition>
    <p:fade/>
  </p:transition>
  <p:extLst>
    <p:ext uri="{DCECCB84-F9BA-43D5-87BE-67443E8EF086}">
      <p15:sldGuideLst xmlns:p15="http://schemas.microsoft.com/office/powerpoint/2012/main"/>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6C20C272-8E66-429C-A9F7-1C4E612DB65F}"/>
              </a:ext>
            </a:extLst>
          </p:cNvPr>
          <p:cNvCxnSpPr>
            <a:cxnSpLocks/>
          </p:cNvCxnSpPr>
          <p:nvPr userDrawn="1"/>
        </p:nvCxnSpPr>
        <p:spPr>
          <a:xfrm>
            <a:off x="11895763" y="1817370"/>
            <a:ext cx="0" cy="710565"/>
          </a:xfrm>
          <a:prstGeom prst="line">
            <a:avLst/>
          </a:prstGeom>
          <a:ln>
            <a:solidFill>
              <a:srgbClr val="D83B0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pic>
        <p:nvPicPr>
          <p:cNvPr id="31" name="Picture 30">
            <a:extLst>
              <a:ext uri="{FF2B5EF4-FFF2-40B4-BE49-F238E27FC236}">
                <a16:creationId xmlns:a16="http://schemas.microsoft.com/office/drawing/2014/main" id="{786210CF-A0F8-409C-A4D3-027E8C0B2F2F}"/>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8717519" y="1816159"/>
            <a:ext cx="3474481" cy="4149241"/>
          </a:xfrm>
          <a:prstGeom prst="rect">
            <a:avLst/>
          </a:prstGeom>
        </p:spPr>
      </p:pic>
    </p:spTree>
    <p:extLst>
      <p:ext uri="{BB962C8B-B14F-4D97-AF65-F5344CB8AC3E}">
        <p14:creationId xmlns:p14="http://schemas.microsoft.com/office/powerpoint/2010/main" val="6348443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36EA2AC-FEA2-4901-8495-272A5FA7FC20}"/>
              </a:ext>
            </a:extLst>
          </p:cNvPr>
          <p:cNvGrpSpPr/>
          <p:nvPr userDrawn="1"/>
        </p:nvGrpSpPr>
        <p:grpSpPr>
          <a:xfrm>
            <a:off x="6194603" y="-1"/>
            <a:ext cx="5997398" cy="6858001"/>
            <a:chOff x="6194603" y="-1"/>
            <a:chExt cx="5997398" cy="6858001"/>
          </a:xfrm>
        </p:grpSpPr>
        <p:pic>
          <p:nvPicPr>
            <p:cNvPr id="35" name="Picture 34">
              <a:extLst>
                <a:ext uri="{FF2B5EF4-FFF2-40B4-BE49-F238E27FC236}">
                  <a16:creationId xmlns:a16="http://schemas.microsoft.com/office/drawing/2014/main" id="{A096FE2B-3270-4E2C-AD0E-3AB4FD1B86F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2819" y="1461694"/>
              <a:ext cx="3689182" cy="5396306"/>
            </a:xfrm>
            <a:prstGeom prst="rect">
              <a:avLst/>
            </a:prstGeom>
          </p:spPr>
        </p:pic>
        <p:pic>
          <p:nvPicPr>
            <p:cNvPr id="36" name="Picture 35">
              <a:extLst>
                <a:ext uri="{FF2B5EF4-FFF2-40B4-BE49-F238E27FC236}">
                  <a16:creationId xmlns:a16="http://schemas.microsoft.com/office/drawing/2014/main" id="{94A5D7CE-1FED-4CEA-810D-4198E9924290}"/>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1"/>
              <a:ext cx="1182753" cy="1076699"/>
            </a:xfrm>
            <a:prstGeom prst="rect">
              <a:avLst/>
            </a:prstGeom>
          </p:spPr>
        </p:pic>
        <p:pic>
          <p:nvPicPr>
            <p:cNvPr id="55" name="Picture 54">
              <a:extLst>
                <a:ext uri="{FF2B5EF4-FFF2-40B4-BE49-F238E27FC236}">
                  <a16:creationId xmlns:a16="http://schemas.microsoft.com/office/drawing/2014/main" id="{9BF408BE-3FB0-4FA0-B683-0E647B7E04BF}"/>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6894"/>
              <a:ext cx="1182753" cy="961106"/>
            </a:xfrm>
            <a:prstGeom prst="rect">
              <a:avLst/>
            </a:prstGeom>
          </p:spPr>
        </p:pic>
      </p:gr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spTree>
    <p:extLst>
      <p:ext uri="{BB962C8B-B14F-4D97-AF65-F5344CB8AC3E}">
        <p14:creationId xmlns:p14="http://schemas.microsoft.com/office/powerpoint/2010/main" val="2830119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746463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6408517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2940259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602063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9518940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800240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3765DB89-7B31-44F9-9B76-2E06E7805A5E}"/>
              </a:ext>
            </a:extLst>
          </p:cNvPr>
          <p:cNvGrpSpPr/>
          <p:nvPr userDrawn="1"/>
        </p:nvGrpSpPr>
        <p:grpSpPr>
          <a:xfrm>
            <a:off x="6194603" y="0"/>
            <a:ext cx="5997398" cy="6858001"/>
            <a:chOff x="6194603" y="0"/>
            <a:chExt cx="5997398" cy="6858001"/>
          </a:xfrm>
        </p:grpSpPr>
        <p:pic>
          <p:nvPicPr>
            <p:cNvPr id="38" name="Picture 37">
              <a:extLst>
                <a:ext uri="{FF2B5EF4-FFF2-40B4-BE49-F238E27FC236}">
                  <a16:creationId xmlns:a16="http://schemas.microsoft.com/office/drawing/2014/main" id="{58E8D605-B082-4C02-839C-9C18EA6541D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3E9382F8-B3AE-4F98-8782-19AA597713F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3D3278C9-22EA-4588-8125-8F64C455E538}"/>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2100784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81673368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07265-7E47-481D-9C2B-6C8BF221FAA5}"/>
              </a:ext>
            </a:extLst>
          </p:cNvPr>
          <p:cNvGrpSpPr/>
          <p:nvPr userDrawn="1"/>
        </p:nvGrpSpPr>
        <p:grpSpPr>
          <a:xfrm>
            <a:off x="6194603" y="-1"/>
            <a:ext cx="5997398" cy="6858001"/>
            <a:chOff x="6194603" y="-1"/>
            <a:chExt cx="5997398" cy="6858001"/>
          </a:xfrm>
        </p:grpSpPr>
        <p:pic>
          <p:nvPicPr>
            <p:cNvPr id="32" name="Picture 31">
              <a:extLst>
                <a:ext uri="{FF2B5EF4-FFF2-40B4-BE49-F238E27FC236}">
                  <a16:creationId xmlns:a16="http://schemas.microsoft.com/office/drawing/2014/main" id="{A5AE405F-E300-4B3D-9110-B06B7584150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2819" y="1461694"/>
              <a:ext cx="3689182" cy="5396306"/>
            </a:xfrm>
            <a:prstGeom prst="rect">
              <a:avLst/>
            </a:prstGeom>
          </p:spPr>
        </p:pic>
        <p:pic>
          <p:nvPicPr>
            <p:cNvPr id="33" name="Picture 32">
              <a:extLst>
                <a:ext uri="{FF2B5EF4-FFF2-40B4-BE49-F238E27FC236}">
                  <a16:creationId xmlns:a16="http://schemas.microsoft.com/office/drawing/2014/main" id="{38D0436A-7978-419B-9760-5EFC6747DD72}"/>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1"/>
              <a:ext cx="1182753" cy="1076699"/>
            </a:xfrm>
            <a:prstGeom prst="rect">
              <a:avLst/>
            </a:prstGeom>
          </p:spPr>
        </p:pic>
        <p:pic>
          <p:nvPicPr>
            <p:cNvPr id="34" name="Picture 33">
              <a:extLst>
                <a:ext uri="{FF2B5EF4-FFF2-40B4-BE49-F238E27FC236}">
                  <a16:creationId xmlns:a16="http://schemas.microsoft.com/office/drawing/2014/main" id="{77C68831-B0BD-42C1-AB2F-BEAC8CFD1FD5}"/>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6894"/>
              <a:ext cx="1182753" cy="961106"/>
            </a:xfrm>
            <a:prstGeom prst="rect">
              <a:avLst/>
            </a:prstGeom>
          </p:spPr>
        </p:pic>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5" cstate="email">
              <a:extLst>
                <a:ext uri="{28A0092B-C50C-407E-A947-70E740481C1C}">
                  <a14:useLocalDpi xmlns:a14="http://schemas.microsoft.com/office/drawing/2010/main"/>
                </a:ext>
              </a:extLst>
            </a:blip>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3905982479"/>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2B071B18-AE3E-4C1A-8C40-38A79DBA86AA}"/>
              </a:ext>
            </a:extLst>
          </p:cNvPr>
          <p:cNvGrpSpPr/>
          <p:nvPr userDrawn="1"/>
        </p:nvGrpSpPr>
        <p:grpSpPr>
          <a:xfrm>
            <a:off x="6194603" y="0"/>
            <a:ext cx="5997398" cy="6858001"/>
            <a:chOff x="6194603" y="0"/>
            <a:chExt cx="5997398" cy="6858001"/>
          </a:xfrm>
        </p:grpSpPr>
        <p:pic>
          <p:nvPicPr>
            <p:cNvPr id="38" name="Picture 37">
              <a:extLst>
                <a:ext uri="{FF2B5EF4-FFF2-40B4-BE49-F238E27FC236}">
                  <a16:creationId xmlns:a16="http://schemas.microsoft.com/office/drawing/2014/main" id="{A874D211-CD8A-4B0E-B9C0-C2FF7D72BEE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471513C0-489E-4E2E-9C12-D1DC6B98AB2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984DC410-B12F-4706-B9C8-EBBBA766DAC2}"/>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7361"/>
              <a:ext cx="1179576" cy="960640"/>
            </a:xfrm>
            <a:prstGeom prst="rect">
              <a:avLst/>
            </a:prstGeom>
          </p:spPr>
        </p:pic>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5" cstate="email">
              <a:extLst>
                <a:ext uri="{28A0092B-C50C-407E-A947-70E740481C1C}">
                  <a14:useLocalDpi xmlns:a14="http://schemas.microsoft.com/office/drawing/2010/main"/>
                </a:ext>
              </a:extLst>
            </a:blip>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571899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3765DB89-7B31-44F9-9B76-2E06E7805A5E}"/>
              </a:ext>
            </a:extLst>
          </p:cNvPr>
          <p:cNvGrpSpPr/>
          <p:nvPr userDrawn="1"/>
        </p:nvGrpSpPr>
        <p:grpSpPr>
          <a:xfrm>
            <a:off x="6194603" y="0"/>
            <a:ext cx="5997398" cy="6858001"/>
            <a:chOff x="6194603" y="0"/>
            <a:chExt cx="5997398" cy="6858001"/>
          </a:xfrm>
        </p:grpSpPr>
        <p:pic>
          <p:nvPicPr>
            <p:cNvPr id="38" name="Picture 37">
              <a:extLst>
                <a:ext uri="{FF2B5EF4-FFF2-40B4-BE49-F238E27FC236}">
                  <a16:creationId xmlns:a16="http://schemas.microsoft.com/office/drawing/2014/main" id="{58E8D605-B082-4C02-839C-9C18EA6541D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3E9382F8-B3AE-4F98-8782-19AA597713F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3D3278C9-22EA-4588-8125-8F64C455E538}"/>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623462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9ECE3688-F7FF-4D8A-BE15-6CEE4046B621}"/>
              </a:ext>
            </a:extLst>
          </p:cNvPr>
          <p:cNvGrpSpPr/>
          <p:nvPr userDrawn="1"/>
        </p:nvGrpSpPr>
        <p:grpSpPr>
          <a:xfrm>
            <a:off x="6194603" y="0"/>
            <a:ext cx="5997398" cy="6858001"/>
            <a:chOff x="6194603" y="0"/>
            <a:chExt cx="5997398" cy="6858001"/>
          </a:xfrm>
        </p:grpSpPr>
        <p:pic>
          <p:nvPicPr>
            <p:cNvPr id="36" name="Picture 35">
              <a:extLst>
                <a:ext uri="{FF2B5EF4-FFF2-40B4-BE49-F238E27FC236}">
                  <a16:creationId xmlns:a16="http://schemas.microsoft.com/office/drawing/2014/main" id="{CDA126B3-3793-49DF-951A-6BEC5934FFC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7DE8673A-798E-4BFA-88EE-4BCCF0BF217C}"/>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05970F2A-65AD-4C60-92A1-97326C8B6109}"/>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626404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A8E8A28C-CBDE-4C67-825F-C47808C9BDD6}"/>
              </a:ext>
            </a:extLst>
          </p:cNvPr>
          <p:cNvGrpSpPr/>
          <p:nvPr userDrawn="1"/>
        </p:nvGrpSpPr>
        <p:grpSpPr>
          <a:xfrm>
            <a:off x="6194603" y="0"/>
            <a:ext cx="5997398" cy="6858001"/>
            <a:chOff x="6194603" y="0"/>
            <a:chExt cx="5997398" cy="6858001"/>
          </a:xfrm>
        </p:grpSpPr>
        <p:pic>
          <p:nvPicPr>
            <p:cNvPr id="36" name="Picture 35">
              <a:extLst>
                <a:ext uri="{FF2B5EF4-FFF2-40B4-BE49-F238E27FC236}">
                  <a16:creationId xmlns:a16="http://schemas.microsoft.com/office/drawing/2014/main" id="{E6ED7E4A-DB81-4ED7-82E1-34B79F3FF4A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11E4BCF2-710C-4869-A4C5-C1345D5F2E6F}"/>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7B7B7A20-BA31-44FA-9F1C-298649B34CF8}"/>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52268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360327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4596626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7771985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05090656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9ECE3688-F7FF-4D8A-BE15-6CEE4046B621}"/>
              </a:ext>
            </a:extLst>
          </p:cNvPr>
          <p:cNvGrpSpPr/>
          <p:nvPr userDrawn="1"/>
        </p:nvGrpSpPr>
        <p:grpSpPr>
          <a:xfrm>
            <a:off x="6194603" y="0"/>
            <a:ext cx="5997398" cy="6858001"/>
            <a:chOff x="6194603" y="0"/>
            <a:chExt cx="5997398" cy="6858001"/>
          </a:xfrm>
        </p:grpSpPr>
        <p:pic>
          <p:nvPicPr>
            <p:cNvPr id="36" name="Picture 35">
              <a:extLst>
                <a:ext uri="{FF2B5EF4-FFF2-40B4-BE49-F238E27FC236}">
                  <a16:creationId xmlns:a16="http://schemas.microsoft.com/office/drawing/2014/main" id="{CDA126B3-3793-49DF-951A-6BEC5934FFC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7DE8673A-798E-4BFA-88EE-4BCCF0BF217C}"/>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05970F2A-65AD-4C60-92A1-97326C8B6109}"/>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spTree>
    <p:extLst>
      <p:ext uri="{BB962C8B-B14F-4D97-AF65-F5344CB8AC3E}">
        <p14:creationId xmlns:p14="http://schemas.microsoft.com/office/powerpoint/2010/main" val="3963771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129268" y="291068"/>
            <a:ext cx="6769045" cy="553998"/>
          </a:xfrm>
        </p:spPr>
        <p:txBody>
          <a:bodyPr/>
          <a:lstStyle>
            <a:lvl1pPr>
              <a:defRPr sz="3600"/>
            </a:lvl1pPr>
          </a:lstStyle>
          <a:p>
            <a:r>
              <a:rPr lang="en-US"/>
              <a:t>Click to edit Master title style</a:t>
            </a:r>
          </a:p>
        </p:txBody>
      </p:sp>
      <p:sp>
        <p:nvSpPr>
          <p:cNvPr id="4" name="Text Placeholder 3"/>
          <p:cNvSpPr>
            <a:spLocks noGrp="1"/>
          </p:cNvSpPr>
          <p:nvPr>
            <p:ph type="body" sz="quarter" idx="10"/>
          </p:nvPr>
        </p:nvSpPr>
        <p:spPr>
          <a:xfrm>
            <a:off x="5129267" y="4773828"/>
            <a:ext cx="6769045" cy="1793104"/>
          </a:xfrm>
        </p:spPr>
        <p:txBody>
          <a:bodyPr wrap="square">
            <a:noAutofit/>
          </a:bodyPr>
          <a:lstStyle>
            <a:lvl1pPr marL="0" indent="0">
              <a:spcBef>
                <a:spcPts val="1765"/>
              </a:spcBef>
              <a:buNone/>
              <a:defRPr sz="2000">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4828867" cy="6858623"/>
          </a:xfrm>
          <a:prstGeom prst="rect">
            <a:avLst/>
          </a:prstGeom>
        </p:spPr>
      </p:pic>
    </p:spTree>
    <p:extLst>
      <p:ext uri="{BB962C8B-B14F-4D97-AF65-F5344CB8AC3E}">
        <p14:creationId xmlns:p14="http://schemas.microsoft.com/office/powerpoint/2010/main" val="2319862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cSld name="Questions">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60903C54-18C5-4399-A845-D9E265D5A7D1}"/>
              </a:ext>
            </a:extLst>
          </p:cNvPr>
          <p:cNvSpPr txBox="1"/>
          <p:nvPr/>
        </p:nvSpPr>
        <p:spPr>
          <a:xfrm>
            <a:off x="269240" y="289512"/>
            <a:ext cx="11658600" cy="896112"/>
          </a:xfrm>
          <a:prstGeom prst="rect">
            <a:avLst/>
          </a:prstGeom>
          <a:noFill/>
        </p:spPr>
        <p:txBody>
          <a:bodyPr wrap="none" lIns="146284" tIns="91427" rIns="146284" bIns="91427" rtlCol="0">
            <a:no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4800" b="0" i="0" u="none" strike="noStrike" kern="1200" cap="none" spc="0" normalizeH="0" baseline="0" noProof="0" dirty="0">
                <a:ln>
                  <a:noFill/>
                </a:ln>
                <a:solidFill>
                  <a:srgbClr val="0078D7"/>
                </a:solidFill>
                <a:effectLst/>
                <a:uLnTx/>
                <a:uFillTx/>
                <a:latin typeface="+mj-lt"/>
                <a:ea typeface="+mn-ea"/>
                <a:cs typeface="+mn-cs"/>
              </a:rPr>
              <a:t>Questions</a:t>
            </a:r>
            <a:endParaRPr kumimoji="0" lang="en-US" sz="4800" b="0" i="0" u="none" strike="noStrike" kern="1200" cap="none" spc="0" normalizeH="0" baseline="0" noProof="0" dirty="0">
              <a:ln>
                <a:noFill/>
              </a:ln>
              <a:solidFill>
                <a:srgbClr val="0078D7"/>
              </a:solidFill>
              <a:effectLst/>
              <a:uLnTx/>
              <a:uFillTx/>
              <a:latin typeface="+mj-lt"/>
              <a:ea typeface="+mn-ea"/>
              <a:cs typeface="Segoe UI Semibold" panose="020B0702040204020203" pitchFamily="34" charset="0"/>
            </a:endParaRPr>
          </a:p>
        </p:txBody>
      </p:sp>
      <p:pic>
        <p:nvPicPr>
          <p:cNvPr id="6" name="Picture 5">
            <a:extLst>
              <a:ext uri="{FF2B5EF4-FFF2-40B4-BE49-F238E27FC236}">
                <a16:creationId xmlns:a16="http://schemas.microsoft.com/office/drawing/2014/main" id="{EA1604F4-FD14-4176-A036-E0A8DDAC175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633849" y="291549"/>
            <a:ext cx="5019924" cy="6274904"/>
          </a:xfrm>
          <a:prstGeom prst="rect">
            <a:avLst/>
          </a:prstGeom>
        </p:spPr>
      </p:pic>
    </p:spTree>
    <p:extLst>
      <p:ext uri="{BB962C8B-B14F-4D97-AF65-F5344CB8AC3E}">
        <p14:creationId xmlns:p14="http://schemas.microsoft.com/office/powerpoint/2010/main" val="3656444178"/>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56FAD87F-DBF5-4E2F-A61B-3CCEC5C7D0B9}"/>
              </a:ext>
            </a:extLst>
          </p:cNvPr>
          <p:cNvGrpSpPr/>
          <p:nvPr userDrawn="1"/>
        </p:nvGrpSpPr>
        <p:grpSpPr bwMode="ltGray">
          <a:xfrm>
            <a:off x="8710812" y="1771650"/>
            <a:ext cx="3481189" cy="4196081"/>
            <a:chOff x="8710812" y="1771650"/>
            <a:chExt cx="3481189" cy="4196081"/>
          </a:xfrm>
        </p:grpSpPr>
        <p:sp>
          <p:nvSpPr>
            <p:cNvPr id="32" name="Freeform 5">
              <a:extLst>
                <a:ext uri="{FF2B5EF4-FFF2-40B4-BE49-F238E27FC236}">
                  <a16:creationId xmlns:a16="http://schemas.microsoft.com/office/drawing/2014/main" id="{6B0365F1-E7DF-4958-962E-9FFD3A394140}"/>
                </a:ext>
              </a:extLst>
            </p:cNvPr>
            <p:cNvSpPr>
              <a:spLocks/>
            </p:cNvSpPr>
            <p:nvPr userDrawn="1"/>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6">
              <a:extLst>
                <a:ext uri="{FF2B5EF4-FFF2-40B4-BE49-F238E27FC236}">
                  <a16:creationId xmlns:a16="http://schemas.microsoft.com/office/drawing/2014/main" id="{39253E4C-431D-4257-8CC7-C1456CD2F32D}"/>
                </a:ext>
              </a:extLst>
            </p:cNvPr>
            <p:cNvSpPr>
              <a:spLocks/>
            </p:cNvSpPr>
            <p:nvPr userDrawn="1"/>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7">
              <a:extLst>
                <a:ext uri="{FF2B5EF4-FFF2-40B4-BE49-F238E27FC236}">
                  <a16:creationId xmlns:a16="http://schemas.microsoft.com/office/drawing/2014/main" id="{E928826C-9C74-4194-A556-98EC9A96F677}"/>
                </a:ext>
              </a:extLst>
            </p:cNvPr>
            <p:cNvSpPr>
              <a:spLocks/>
            </p:cNvSpPr>
            <p:nvPr userDrawn="1"/>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8">
              <a:extLst>
                <a:ext uri="{FF2B5EF4-FFF2-40B4-BE49-F238E27FC236}">
                  <a16:creationId xmlns:a16="http://schemas.microsoft.com/office/drawing/2014/main" id="{7ACB5DE1-DAC6-4C99-B2CC-0EB12CE0D5FE}"/>
                </a:ext>
              </a:extLst>
            </p:cNvPr>
            <p:cNvSpPr>
              <a:spLocks/>
            </p:cNvSpPr>
            <p:nvPr userDrawn="1"/>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9">
              <a:extLst>
                <a:ext uri="{FF2B5EF4-FFF2-40B4-BE49-F238E27FC236}">
                  <a16:creationId xmlns:a16="http://schemas.microsoft.com/office/drawing/2014/main" id="{5D630C8B-3A7C-4321-A3EF-B1D0A698F738}"/>
                </a:ext>
              </a:extLst>
            </p:cNvPr>
            <p:cNvSpPr>
              <a:spLocks/>
            </p:cNvSpPr>
            <p:nvPr userDrawn="1"/>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0">
              <a:extLst>
                <a:ext uri="{FF2B5EF4-FFF2-40B4-BE49-F238E27FC236}">
                  <a16:creationId xmlns:a16="http://schemas.microsoft.com/office/drawing/2014/main" id="{2A590461-2675-4E4A-B9BB-BF5471E89538}"/>
                </a:ext>
              </a:extLst>
            </p:cNvPr>
            <p:cNvSpPr>
              <a:spLocks/>
            </p:cNvSpPr>
            <p:nvPr userDrawn="1"/>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1">
              <a:extLst>
                <a:ext uri="{FF2B5EF4-FFF2-40B4-BE49-F238E27FC236}">
                  <a16:creationId xmlns:a16="http://schemas.microsoft.com/office/drawing/2014/main" id="{48EAECFD-0CA3-492F-BA94-22EF6EB2205B}"/>
                </a:ext>
              </a:extLst>
            </p:cNvPr>
            <p:cNvSpPr>
              <a:spLocks/>
            </p:cNvSpPr>
            <p:nvPr userDrawn="1"/>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2">
              <a:extLst>
                <a:ext uri="{FF2B5EF4-FFF2-40B4-BE49-F238E27FC236}">
                  <a16:creationId xmlns:a16="http://schemas.microsoft.com/office/drawing/2014/main" id="{62FFEC32-2F2F-43F4-9C21-7F15A26966AC}"/>
                </a:ext>
              </a:extLst>
            </p:cNvPr>
            <p:cNvSpPr>
              <a:spLocks/>
            </p:cNvSpPr>
            <p:nvPr userDrawn="1"/>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3">
              <a:extLst>
                <a:ext uri="{FF2B5EF4-FFF2-40B4-BE49-F238E27FC236}">
                  <a16:creationId xmlns:a16="http://schemas.microsoft.com/office/drawing/2014/main" id="{647709D2-F4CC-4414-B183-427A6D2A22AB}"/>
                </a:ext>
              </a:extLst>
            </p:cNvPr>
            <p:cNvSpPr>
              <a:spLocks/>
            </p:cNvSpPr>
            <p:nvPr userDrawn="1"/>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1" name="Freeform 14">
              <a:extLst>
                <a:ext uri="{FF2B5EF4-FFF2-40B4-BE49-F238E27FC236}">
                  <a16:creationId xmlns:a16="http://schemas.microsoft.com/office/drawing/2014/main" id="{72928ABA-DF2E-4C8E-B194-7FA528229810}"/>
                </a:ext>
              </a:extLst>
            </p:cNvPr>
            <p:cNvSpPr>
              <a:spLocks/>
            </p:cNvSpPr>
            <p:nvPr userDrawn="1"/>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2" name="Freeform 15">
              <a:extLst>
                <a:ext uri="{FF2B5EF4-FFF2-40B4-BE49-F238E27FC236}">
                  <a16:creationId xmlns:a16="http://schemas.microsoft.com/office/drawing/2014/main" id="{5A52C6C9-8220-4E26-B41D-1AA4F49DF9B8}"/>
                </a:ext>
              </a:extLst>
            </p:cNvPr>
            <p:cNvSpPr>
              <a:spLocks/>
            </p:cNvSpPr>
            <p:nvPr userDrawn="1"/>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6">
              <a:extLst>
                <a:ext uri="{FF2B5EF4-FFF2-40B4-BE49-F238E27FC236}">
                  <a16:creationId xmlns:a16="http://schemas.microsoft.com/office/drawing/2014/main" id="{8548CD94-9B34-4B91-BB2B-8736861E89E1}"/>
                </a:ext>
              </a:extLst>
            </p:cNvPr>
            <p:cNvSpPr>
              <a:spLocks/>
            </p:cNvSpPr>
            <p:nvPr userDrawn="1"/>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7">
              <a:extLst>
                <a:ext uri="{FF2B5EF4-FFF2-40B4-BE49-F238E27FC236}">
                  <a16:creationId xmlns:a16="http://schemas.microsoft.com/office/drawing/2014/main" id="{CFFFDB94-105D-4570-A938-4AD7CE4AE782}"/>
                </a:ext>
              </a:extLst>
            </p:cNvPr>
            <p:cNvSpPr>
              <a:spLocks/>
            </p:cNvSpPr>
            <p:nvPr userDrawn="1"/>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18">
              <a:extLst>
                <a:ext uri="{FF2B5EF4-FFF2-40B4-BE49-F238E27FC236}">
                  <a16:creationId xmlns:a16="http://schemas.microsoft.com/office/drawing/2014/main" id="{AC2A78A9-4071-45DC-BAE8-1C643EDD9B01}"/>
                </a:ext>
              </a:extLst>
            </p:cNvPr>
            <p:cNvSpPr>
              <a:spLocks/>
            </p:cNvSpPr>
            <p:nvPr userDrawn="1"/>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Shape 56">
              <a:extLst>
                <a:ext uri="{FF2B5EF4-FFF2-40B4-BE49-F238E27FC236}">
                  <a16:creationId xmlns:a16="http://schemas.microsoft.com/office/drawing/2014/main" id="{6A0EEF9B-FB8E-409B-A24F-BD7570B88204}"/>
                </a:ext>
              </a:extLst>
            </p:cNvPr>
            <p:cNvSpPr>
              <a:spLocks/>
            </p:cNvSpPr>
            <p:nvPr userDrawn="1"/>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59" name="Freeform: Shape 58">
              <a:extLst>
                <a:ext uri="{FF2B5EF4-FFF2-40B4-BE49-F238E27FC236}">
                  <a16:creationId xmlns:a16="http://schemas.microsoft.com/office/drawing/2014/main" id="{390FC8DE-C4AD-4BD3-9506-276C17F0C333}"/>
                </a:ext>
              </a:extLst>
            </p:cNvPr>
            <p:cNvSpPr>
              <a:spLocks/>
            </p:cNvSpPr>
            <p:nvPr userDrawn="1"/>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p:spPr>
          <p:txBody>
            <a:bodyPr vert="horz" wrap="square" lIns="91440" tIns="45720" rIns="91440" bIns="45720" numCol="1" anchor="t" anchorCtr="0" compatLnSpc="1">
              <a:prstTxWarp prst="textNoShape">
                <a:avLst/>
              </a:prstTxWarp>
              <a:noAutofit/>
            </a:bodyPr>
            <a:lstStyle/>
            <a:p>
              <a:pPr lvl="0"/>
              <a:endParaRPr lang="en-US"/>
            </a:p>
          </p:txBody>
        </p:sp>
        <p:sp>
          <p:nvSpPr>
            <p:cNvPr id="48" name="Freeform 21">
              <a:extLst>
                <a:ext uri="{FF2B5EF4-FFF2-40B4-BE49-F238E27FC236}">
                  <a16:creationId xmlns:a16="http://schemas.microsoft.com/office/drawing/2014/main" id="{77297A5A-69AC-4DF4-95F9-A09D48D814E3}"/>
                </a:ext>
              </a:extLst>
            </p:cNvPr>
            <p:cNvSpPr>
              <a:spLocks/>
            </p:cNvSpPr>
            <p:nvPr userDrawn="1"/>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2">
              <a:extLst>
                <a:ext uri="{FF2B5EF4-FFF2-40B4-BE49-F238E27FC236}">
                  <a16:creationId xmlns:a16="http://schemas.microsoft.com/office/drawing/2014/main" id="{E65087DC-7AC8-4AA7-9010-A067ADE1CF79}"/>
                </a:ext>
              </a:extLst>
            </p:cNvPr>
            <p:cNvSpPr>
              <a:spLocks/>
            </p:cNvSpPr>
            <p:nvPr userDrawn="1"/>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3">
              <a:extLst>
                <a:ext uri="{FF2B5EF4-FFF2-40B4-BE49-F238E27FC236}">
                  <a16:creationId xmlns:a16="http://schemas.microsoft.com/office/drawing/2014/main" id="{3B4C2EBB-4C89-4380-A5E7-A7BD40C2B90E}"/>
                </a:ext>
              </a:extLst>
            </p:cNvPr>
            <p:cNvSpPr>
              <a:spLocks/>
            </p:cNvSpPr>
            <p:nvPr userDrawn="1"/>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4">
              <a:extLst>
                <a:ext uri="{FF2B5EF4-FFF2-40B4-BE49-F238E27FC236}">
                  <a16:creationId xmlns:a16="http://schemas.microsoft.com/office/drawing/2014/main" id="{0D7CD4FA-6D18-4E1F-9C7D-91AA2E32B2BC}"/>
                </a:ext>
              </a:extLst>
            </p:cNvPr>
            <p:cNvSpPr>
              <a:spLocks/>
            </p:cNvSpPr>
            <p:nvPr userDrawn="1"/>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5">
              <a:extLst>
                <a:ext uri="{FF2B5EF4-FFF2-40B4-BE49-F238E27FC236}">
                  <a16:creationId xmlns:a16="http://schemas.microsoft.com/office/drawing/2014/main" id="{5D06D6BE-8F81-4F1F-9E44-429E129C1957}"/>
                </a:ext>
              </a:extLst>
            </p:cNvPr>
            <p:cNvSpPr>
              <a:spLocks/>
            </p:cNvSpPr>
            <p:nvPr userDrawn="1"/>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6">
              <a:extLst>
                <a:ext uri="{FF2B5EF4-FFF2-40B4-BE49-F238E27FC236}">
                  <a16:creationId xmlns:a16="http://schemas.microsoft.com/office/drawing/2014/main" id="{3F7CF64D-F067-41E4-8D9F-41FF38972828}"/>
                </a:ext>
              </a:extLst>
            </p:cNvPr>
            <p:cNvSpPr>
              <a:spLocks/>
            </p:cNvSpPr>
            <p:nvPr userDrawn="1"/>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spTree>
    <p:extLst>
      <p:ext uri="{BB962C8B-B14F-4D97-AF65-F5344CB8AC3E}">
        <p14:creationId xmlns:p14="http://schemas.microsoft.com/office/powerpoint/2010/main" val="37458207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256117" y="-21839"/>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4125055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7532212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0034034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8409105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0663193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588263" y="457200"/>
            <a:ext cx="11018520" cy="492443"/>
          </a:xfrm>
        </p:spPr>
        <p:txBody>
          <a:bodyPr/>
          <a:lstStyle>
            <a:lvl1pPr>
              <a:defRPr lang="en-US" sz="3200"/>
            </a:lvl1pPr>
          </a:lstStyle>
          <a:p>
            <a:r>
              <a:rPr lang="en-US"/>
              <a:t>Click to edit Master title style</a:t>
            </a:r>
          </a:p>
        </p:txBody>
      </p:sp>
    </p:spTree>
    <p:extLst>
      <p:ext uri="{BB962C8B-B14F-4D97-AF65-F5344CB8AC3E}">
        <p14:creationId xmlns:p14="http://schemas.microsoft.com/office/powerpoint/2010/main" val="1914797275"/>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5501658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A8E8A28C-CBDE-4C67-825F-C47808C9BDD6}"/>
              </a:ext>
            </a:extLst>
          </p:cNvPr>
          <p:cNvGrpSpPr/>
          <p:nvPr userDrawn="1"/>
        </p:nvGrpSpPr>
        <p:grpSpPr>
          <a:xfrm>
            <a:off x="6194603" y="0"/>
            <a:ext cx="5997398" cy="6858001"/>
            <a:chOff x="6194603" y="0"/>
            <a:chExt cx="5997398" cy="6858001"/>
          </a:xfrm>
        </p:grpSpPr>
        <p:pic>
          <p:nvPicPr>
            <p:cNvPr id="36" name="Picture 35">
              <a:extLst>
                <a:ext uri="{FF2B5EF4-FFF2-40B4-BE49-F238E27FC236}">
                  <a16:creationId xmlns:a16="http://schemas.microsoft.com/office/drawing/2014/main" id="{E6ED7E4A-DB81-4ED7-82E1-34B79F3FF4A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11E4BCF2-710C-4869-A4C5-C1345D5F2E6F}"/>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7B7B7A20-BA31-44FA-9F1C-298649B34CF8}"/>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351141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6981971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userDrawn="1"/>
        </p:nvGrpSpPr>
        <p:grpSpPr bwMode="ltGray">
          <a:xfrm>
            <a:off x="6256117" y="-21839"/>
            <a:ext cx="5932086" cy="6890047"/>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915493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2559858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2925456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6965952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6594026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8173825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13164355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type="title">
  <p:cSld name="3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31E0AC-4F32-44D5-9EBF-09E2D3435B0C}"/>
              </a:ext>
            </a:extLst>
          </p:cNvPr>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a:extLst>
              <a:ext uri="{FF2B5EF4-FFF2-40B4-BE49-F238E27FC236}">
                <a16:creationId xmlns:a16="http://schemas.microsoft.com/office/drawing/2014/main" id="{D0335F9D-F14F-4E94-8BF6-7A235B9354E7}"/>
              </a:ext>
            </a:extLst>
          </p:cNvPr>
          <p:cNvSpPr>
            <a:spLocks noGrp="1"/>
          </p:cNvSpPr>
          <p:nvPr>
            <p:ph type="subTitle" idx="1"/>
          </p:nvPr>
        </p:nvSpPr>
        <p:spPr>
          <a:xfrm>
            <a:off x="1524000" y="3602038"/>
            <a:ext cx="9144000" cy="513510"/>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725F0F1-04B0-4C7D-BE42-5D121A8A5AB1}"/>
              </a:ext>
            </a:extLst>
          </p:cNvPr>
          <p:cNvSpPr>
            <a:spLocks noGrp="1"/>
          </p:cNvSpPr>
          <p:nvPr>
            <p:ph type="dt" sz="half" idx="10"/>
          </p:nvPr>
        </p:nvSpPr>
        <p:spPr/>
        <p:txBody>
          <a:bodyPr/>
          <a:lstStyle/>
          <a:p>
            <a:fld id="{7E9FC3B2-7427-45B9-9716-09A51B99EE46}" type="datetime1">
              <a:rPr lang="en-US" smtClean="0"/>
              <a:t>5/11/2020</a:t>
            </a:fld>
            <a:endParaRPr lang="en-US"/>
          </a:p>
        </p:txBody>
      </p:sp>
      <p:sp>
        <p:nvSpPr>
          <p:cNvPr id="5" name="Footer Placeholder 4">
            <a:extLst>
              <a:ext uri="{FF2B5EF4-FFF2-40B4-BE49-F238E27FC236}">
                <a16:creationId xmlns:a16="http://schemas.microsoft.com/office/drawing/2014/main" id="{5BD6A4EF-B2EA-4468-89FF-BB7F83F3D94F}"/>
              </a:ext>
            </a:extLst>
          </p:cNvPr>
          <p:cNvSpPr>
            <a:spLocks noGrp="1"/>
          </p:cNvSpPr>
          <p:nvPr>
            <p:ph type="ftr" sz="quarter" idx="11"/>
          </p:nvPr>
        </p:nvSpPr>
        <p:spPr/>
        <p:txBody>
          <a:bodyPr/>
          <a:lstStyle/>
          <a:p>
            <a:r>
              <a:rPr lang="en-US"/>
              <a:t>Microsoft Confidential</a:t>
            </a:r>
          </a:p>
        </p:txBody>
      </p:sp>
      <p:sp>
        <p:nvSpPr>
          <p:cNvPr id="6" name="Slide Number Placeholder 5">
            <a:extLst>
              <a:ext uri="{FF2B5EF4-FFF2-40B4-BE49-F238E27FC236}">
                <a16:creationId xmlns:a16="http://schemas.microsoft.com/office/drawing/2014/main" id="{0D7BCDB2-DA66-461D-9F12-23059F22E9AA}"/>
              </a:ext>
            </a:extLst>
          </p:cNvPr>
          <p:cNvSpPr>
            <a:spLocks noGrp="1"/>
          </p:cNvSpPr>
          <p:nvPr>
            <p:ph type="sldNum" sz="quarter" idx="12"/>
          </p:nvPr>
        </p:nvSpPr>
        <p:spPr/>
        <p:txBody>
          <a:bodyPr/>
          <a:lstStyle/>
          <a:p>
            <a:fld id="{ED3E8F1A-484E-4129-8E58-D729B7C56170}" type="slidenum">
              <a:rPr lang="en-US" smtClean="0"/>
              <a:t>‹#›</a:t>
            </a:fld>
            <a:endParaRPr lang="en-US"/>
          </a:p>
        </p:txBody>
      </p:sp>
    </p:spTree>
    <p:extLst>
      <p:ext uri="{BB962C8B-B14F-4D97-AF65-F5344CB8AC3E}">
        <p14:creationId xmlns:p14="http://schemas.microsoft.com/office/powerpoint/2010/main" val="3926270064"/>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5721885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617921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6"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230616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0"/>
            <a:ext cx="12190271" cy="6858000"/>
          </a:xfrm>
          <a:prstGeom prst="rect">
            <a:avLst/>
          </a:prstGeom>
        </p:spPr>
      </p:pic>
      <p:sp>
        <p:nvSpPr>
          <p:cNvPr id="12" name="Rectangle 11"/>
          <p:cNvSpPr/>
          <p:nvPr userDrawn="1"/>
        </p:nvSpPr>
        <p:spPr bwMode="auto">
          <a:xfrm>
            <a:off x="267682" y="2084171"/>
            <a:ext cx="6274974" cy="3586208"/>
          </a:xfrm>
          <a:prstGeom prst="rect">
            <a:avLst/>
          </a:prstGeom>
          <a:solidFill>
            <a:schemeClr val="accent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3"/>
            <a:ext cx="6274911" cy="1793104"/>
          </a:xfrm>
          <a:noFill/>
        </p:spPr>
        <p:txBody>
          <a:bodyPr lIns="146304" tIns="91440" rIns="146304" bIns="91440" anchor="t" anchorCtr="0"/>
          <a:lstStyle>
            <a:lvl1pPr>
              <a:defRPr sz="4705" spc="-98" baseline="0">
                <a:gradFill>
                  <a:gsLst>
                    <a:gs pos="91720">
                      <a:srgbClr val="FFFFFF"/>
                    </a:gs>
                    <a:gs pos="75796">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5"/>
            <a:ext cx="6276530" cy="656077"/>
          </a:xfrm>
          <a:noFill/>
        </p:spPr>
        <p:txBody>
          <a:bodyPr wrap="square" lIns="164592" tIns="109728" rIns="164592" bIns="109728">
            <a:spAutoFit/>
          </a:bodyPr>
          <a:lstStyle>
            <a:lvl1pPr marL="0" indent="0">
              <a:spcBef>
                <a:spcPts val="0"/>
              </a:spcBef>
              <a:buNone/>
              <a:defRPr sz="3137">
                <a:gradFill>
                  <a:gsLst>
                    <a:gs pos="91720">
                      <a:srgbClr val="FFFFFF"/>
                    </a:gs>
                    <a:gs pos="75796">
                      <a:srgbClr val="FFFFFF"/>
                    </a:gs>
                  </a:gsLst>
                  <a:lin ang="5400000" scaled="0"/>
                </a:gradFill>
                <a:latin typeface="+mn-lt"/>
              </a:defRPr>
            </a:lvl1pPr>
          </a:lstStyle>
          <a:p>
            <a:pPr lvl="0"/>
            <a:r>
              <a:rPr lang="en-US"/>
              <a:t>Speaker name</a:t>
            </a:r>
          </a:p>
        </p:txBody>
      </p:sp>
      <p:pic>
        <p:nvPicPr>
          <p:cNvPr id="13" name="MS logo white - EMF"/>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445826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6529272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6"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pic>
        <p:nvPicPr>
          <p:cNvPr id="7" name="Picture 6"/>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332731" y="0"/>
            <a:ext cx="6857539" cy="6858000"/>
          </a:xfrm>
          <a:prstGeom prst="rect">
            <a:avLst/>
          </a:prstGeom>
        </p:spPr>
      </p:pic>
    </p:spTree>
    <p:extLst>
      <p:ext uri="{BB962C8B-B14F-4D97-AF65-F5344CB8AC3E}">
        <p14:creationId xmlns:p14="http://schemas.microsoft.com/office/powerpoint/2010/main" val="37633503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44319617"/>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12408384"/>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2956468198"/>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2635432371"/>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22072655"/>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1241677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9147563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9883124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20488527"/>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9943295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182300321"/>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5379313"/>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55605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8168670"/>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1165952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6621311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03F3274D-8F90-4F75-B990-F6B7A291DE2C}"/>
              </a:ext>
            </a:extLst>
          </p:cNvPr>
          <p:cNvSpPr>
            <a:spLocks noGrp="1"/>
          </p:cNvSpPr>
          <p:nvPr>
            <p:ph type="title" hasCustomPrompt="1"/>
          </p:nvPr>
        </p:nvSpPr>
        <p:spPr>
          <a:xfrm>
            <a:off x="429383" y="437538"/>
            <a:ext cx="11333080" cy="742300"/>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577395140"/>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1572448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42845075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18217068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13509"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29032017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348803263"/>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130691351"/>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253144051"/>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62236925"/>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792953572"/>
      </p:ext>
    </p:extLst>
  </p:cSld>
  <p:clrMapOvr>
    <a:masterClrMapping/>
  </p:clrMapOvr>
  <p:transition>
    <p:fade/>
  </p:transition>
  <p:extLst>
    <p:ext uri="{DCECCB84-F9BA-43D5-87BE-67443E8EF086}">
      <p15:sldGuideLst xmlns:p15="http://schemas.microsoft.com/office/powerpoint/2012/main"/>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202075698"/>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2688036862"/>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67658630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315213799"/>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829342969"/>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3223777850"/>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7915092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34886788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7853971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82356129"/>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3375138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40622868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571CC8-5FD6-48E6-BEE7-FDBE21D4A15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5A946AE-8A38-4F7F-9621-0CB4A6F776B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B208419-28C7-4315-AC88-2723173E0C56}"/>
              </a:ext>
            </a:extLst>
          </p:cNvPr>
          <p:cNvSpPr>
            <a:spLocks noGrp="1"/>
          </p:cNvSpPr>
          <p:nvPr>
            <p:ph type="dt" sz="half" idx="10"/>
          </p:nvPr>
        </p:nvSpPr>
        <p:spPr/>
        <p:txBody>
          <a:bodyPr/>
          <a:lstStyle/>
          <a:p>
            <a:fld id="{D2D2459B-4590-4212-9986-42F101C06FB7}" type="datetimeFigureOut">
              <a:rPr lang="en-US" smtClean="0"/>
              <a:t>5/11/2020</a:t>
            </a:fld>
            <a:endParaRPr lang="en-US"/>
          </a:p>
        </p:txBody>
      </p:sp>
      <p:sp>
        <p:nvSpPr>
          <p:cNvPr id="5" name="Footer Placeholder 4">
            <a:extLst>
              <a:ext uri="{FF2B5EF4-FFF2-40B4-BE49-F238E27FC236}">
                <a16:creationId xmlns:a16="http://schemas.microsoft.com/office/drawing/2014/main" id="{F3F81208-3B8F-4A55-A457-9FE42DE2AF1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40C6005-C032-4DB0-A6BA-F0EF985E2235}"/>
              </a:ext>
            </a:extLst>
          </p:cNvPr>
          <p:cNvSpPr>
            <a:spLocks noGrp="1"/>
          </p:cNvSpPr>
          <p:nvPr>
            <p:ph type="sldNum" sz="quarter" idx="12"/>
          </p:nvPr>
        </p:nvSpPr>
        <p:spPr/>
        <p:txBody>
          <a:bodyPr/>
          <a:lstStyle/>
          <a:p>
            <a:fld id="{E6B238A3-9442-4904-8F0D-59B136D26706}" type="slidenum">
              <a:rPr lang="en-US" smtClean="0"/>
              <a:t>‹#›</a:t>
            </a:fld>
            <a:endParaRPr lang="en-US"/>
          </a:p>
        </p:txBody>
      </p:sp>
    </p:spTree>
    <p:extLst>
      <p:ext uri="{BB962C8B-B14F-4D97-AF65-F5344CB8AC3E}">
        <p14:creationId xmlns:p14="http://schemas.microsoft.com/office/powerpoint/2010/main" val="316562134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56FAD87F-DBF5-4E2F-A61B-3CCEC5C7D0B9}"/>
              </a:ext>
            </a:extLst>
          </p:cNvPr>
          <p:cNvGrpSpPr/>
          <p:nvPr userDrawn="1"/>
        </p:nvGrpSpPr>
        <p:grpSpPr bwMode="ltGray">
          <a:xfrm>
            <a:off x="8710812" y="1771650"/>
            <a:ext cx="3481189" cy="4196081"/>
            <a:chOff x="8710812" y="1771650"/>
            <a:chExt cx="3481189" cy="4196081"/>
          </a:xfrm>
        </p:grpSpPr>
        <p:sp>
          <p:nvSpPr>
            <p:cNvPr id="32" name="Freeform 5">
              <a:extLst>
                <a:ext uri="{FF2B5EF4-FFF2-40B4-BE49-F238E27FC236}">
                  <a16:creationId xmlns:a16="http://schemas.microsoft.com/office/drawing/2014/main" id="{6B0365F1-E7DF-4958-962E-9FFD3A394140}"/>
                </a:ext>
              </a:extLst>
            </p:cNvPr>
            <p:cNvSpPr>
              <a:spLocks/>
            </p:cNvSpPr>
            <p:nvPr userDrawn="1"/>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6">
              <a:extLst>
                <a:ext uri="{FF2B5EF4-FFF2-40B4-BE49-F238E27FC236}">
                  <a16:creationId xmlns:a16="http://schemas.microsoft.com/office/drawing/2014/main" id="{39253E4C-431D-4257-8CC7-C1456CD2F32D}"/>
                </a:ext>
              </a:extLst>
            </p:cNvPr>
            <p:cNvSpPr>
              <a:spLocks/>
            </p:cNvSpPr>
            <p:nvPr userDrawn="1"/>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7">
              <a:extLst>
                <a:ext uri="{FF2B5EF4-FFF2-40B4-BE49-F238E27FC236}">
                  <a16:creationId xmlns:a16="http://schemas.microsoft.com/office/drawing/2014/main" id="{E928826C-9C74-4194-A556-98EC9A96F677}"/>
                </a:ext>
              </a:extLst>
            </p:cNvPr>
            <p:cNvSpPr>
              <a:spLocks/>
            </p:cNvSpPr>
            <p:nvPr userDrawn="1"/>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8">
              <a:extLst>
                <a:ext uri="{FF2B5EF4-FFF2-40B4-BE49-F238E27FC236}">
                  <a16:creationId xmlns:a16="http://schemas.microsoft.com/office/drawing/2014/main" id="{7ACB5DE1-DAC6-4C99-B2CC-0EB12CE0D5FE}"/>
                </a:ext>
              </a:extLst>
            </p:cNvPr>
            <p:cNvSpPr>
              <a:spLocks/>
            </p:cNvSpPr>
            <p:nvPr userDrawn="1"/>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9">
              <a:extLst>
                <a:ext uri="{FF2B5EF4-FFF2-40B4-BE49-F238E27FC236}">
                  <a16:creationId xmlns:a16="http://schemas.microsoft.com/office/drawing/2014/main" id="{5D630C8B-3A7C-4321-A3EF-B1D0A698F738}"/>
                </a:ext>
              </a:extLst>
            </p:cNvPr>
            <p:cNvSpPr>
              <a:spLocks/>
            </p:cNvSpPr>
            <p:nvPr userDrawn="1"/>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0">
              <a:extLst>
                <a:ext uri="{FF2B5EF4-FFF2-40B4-BE49-F238E27FC236}">
                  <a16:creationId xmlns:a16="http://schemas.microsoft.com/office/drawing/2014/main" id="{2A590461-2675-4E4A-B9BB-BF5471E89538}"/>
                </a:ext>
              </a:extLst>
            </p:cNvPr>
            <p:cNvSpPr>
              <a:spLocks/>
            </p:cNvSpPr>
            <p:nvPr userDrawn="1"/>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1">
              <a:extLst>
                <a:ext uri="{FF2B5EF4-FFF2-40B4-BE49-F238E27FC236}">
                  <a16:creationId xmlns:a16="http://schemas.microsoft.com/office/drawing/2014/main" id="{48EAECFD-0CA3-492F-BA94-22EF6EB2205B}"/>
                </a:ext>
              </a:extLst>
            </p:cNvPr>
            <p:cNvSpPr>
              <a:spLocks/>
            </p:cNvSpPr>
            <p:nvPr userDrawn="1"/>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2">
              <a:extLst>
                <a:ext uri="{FF2B5EF4-FFF2-40B4-BE49-F238E27FC236}">
                  <a16:creationId xmlns:a16="http://schemas.microsoft.com/office/drawing/2014/main" id="{62FFEC32-2F2F-43F4-9C21-7F15A26966AC}"/>
                </a:ext>
              </a:extLst>
            </p:cNvPr>
            <p:cNvSpPr>
              <a:spLocks/>
            </p:cNvSpPr>
            <p:nvPr userDrawn="1"/>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3">
              <a:extLst>
                <a:ext uri="{FF2B5EF4-FFF2-40B4-BE49-F238E27FC236}">
                  <a16:creationId xmlns:a16="http://schemas.microsoft.com/office/drawing/2014/main" id="{647709D2-F4CC-4414-B183-427A6D2A22AB}"/>
                </a:ext>
              </a:extLst>
            </p:cNvPr>
            <p:cNvSpPr>
              <a:spLocks/>
            </p:cNvSpPr>
            <p:nvPr userDrawn="1"/>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1" name="Freeform 14">
              <a:extLst>
                <a:ext uri="{FF2B5EF4-FFF2-40B4-BE49-F238E27FC236}">
                  <a16:creationId xmlns:a16="http://schemas.microsoft.com/office/drawing/2014/main" id="{72928ABA-DF2E-4C8E-B194-7FA528229810}"/>
                </a:ext>
              </a:extLst>
            </p:cNvPr>
            <p:cNvSpPr>
              <a:spLocks/>
            </p:cNvSpPr>
            <p:nvPr userDrawn="1"/>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2" name="Freeform 15">
              <a:extLst>
                <a:ext uri="{FF2B5EF4-FFF2-40B4-BE49-F238E27FC236}">
                  <a16:creationId xmlns:a16="http://schemas.microsoft.com/office/drawing/2014/main" id="{5A52C6C9-8220-4E26-B41D-1AA4F49DF9B8}"/>
                </a:ext>
              </a:extLst>
            </p:cNvPr>
            <p:cNvSpPr>
              <a:spLocks/>
            </p:cNvSpPr>
            <p:nvPr userDrawn="1"/>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6">
              <a:extLst>
                <a:ext uri="{FF2B5EF4-FFF2-40B4-BE49-F238E27FC236}">
                  <a16:creationId xmlns:a16="http://schemas.microsoft.com/office/drawing/2014/main" id="{8548CD94-9B34-4B91-BB2B-8736861E89E1}"/>
                </a:ext>
              </a:extLst>
            </p:cNvPr>
            <p:cNvSpPr>
              <a:spLocks/>
            </p:cNvSpPr>
            <p:nvPr userDrawn="1"/>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7">
              <a:extLst>
                <a:ext uri="{FF2B5EF4-FFF2-40B4-BE49-F238E27FC236}">
                  <a16:creationId xmlns:a16="http://schemas.microsoft.com/office/drawing/2014/main" id="{CFFFDB94-105D-4570-A938-4AD7CE4AE782}"/>
                </a:ext>
              </a:extLst>
            </p:cNvPr>
            <p:cNvSpPr>
              <a:spLocks/>
            </p:cNvSpPr>
            <p:nvPr userDrawn="1"/>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18">
              <a:extLst>
                <a:ext uri="{FF2B5EF4-FFF2-40B4-BE49-F238E27FC236}">
                  <a16:creationId xmlns:a16="http://schemas.microsoft.com/office/drawing/2014/main" id="{AC2A78A9-4071-45DC-BAE8-1C643EDD9B01}"/>
                </a:ext>
              </a:extLst>
            </p:cNvPr>
            <p:cNvSpPr>
              <a:spLocks/>
            </p:cNvSpPr>
            <p:nvPr userDrawn="1"/>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Shape 56">
              <a:extLst>
                <a:ext uri="{FF2B5EF4-FFF2-40B4-BE49-F238E27FC236}">
                  <a16:creationId xmlns:a16="http://schemas.microsoft.com/office/drawing/2014/main" id="{6A0EEF9B-FB8E-409B-A24F-BD7570B88204}"/>
                </a:ext>
              </a:extLst>
            </p:cNvPr>
            <p:cNvSpPr>
              <a:spLocks/>
            </p:cNvSpPr>
            <p:nvPr userDrawn="1"/>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59" name="Freeform: Shape 58">
              <a:extLst>
                <a:ext uri="{FF2B5EF4-FFF2-40B4-BE49-F238E27FC236}">
                  <a16:creationId xmlns:a16="http://schemas.microsoft.com/office/drawing/2014/main" id="{390FC8DE-C4AD-4BD3-9506-276C17F0C333}"/>
                </a:ext>
              </a:extLst>
            </p:cNvPr>
            <p:cNvSpPr>
              <a:spLocks/>
            </p:cNvSpPr>
            <p:nvPr userDrawn="1"/>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p:spPr>
          <p:txBody>
            <a:bodyPr vert="horz" wrap="square" lIns="91440" tIns="45720" rIns="91440" bIns="45720" numCol="1" anchor="t" anchorCtr="0" compatLnSpc="1">
              <a:prstTxWarp prst="textNoShape">
                <a:avLst/>
              </a:prstTxWarp>
              <a:noAutofit/>
            </a:bodyPr>
            <a:lstStyle/>
            <a:p>
              <a:pPr lvl="0"/>
              <a:endParaRPr lang="en-US"/>
            </a:p>
          </p:txBody>
        </p:sp>
        <p:sp>
          <p:nvSpPr>
            <p:cNvPr id="48" name="Freeform 21">
              <a:extLst>
                <a:ext uri="{FF2B5EF4-FFF2-40B4-BE49-F238E27FC236}">
                  <a16:creationId xmlns:a16="http://schemas.microsoft.com/office/drawing/2014/main" id="{77297A5A-69AC-4DF4-95F9-A09D48D814E3}"/>
                </a:ext>
              </a:extLst>
            </p:cNvPr>
            <p:cNvSpPr>
              <a:spLocks/>
            </p:cNvSpPr>
            <p:nvPr userDrawn="1"/>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2">
              <a:extLst>
                <a:ext uri="{FF2B5EF4-FFF2-40B4-BE49-F238E27FC236}">
                  <a16:creationId xmlns:a16="http://schemas.microsoft.com/office/drawing/2014/main" id="{E65087DC-7AC8-4AA7-9010-A067ADE1CF79}"/>
                </a:ext>
              </a:extLst>
            </p:cNvPr>
            <p:cNvSpPr>
              <a:spLocks/>
            </p:cNvSpPr>
            <p:nvPr userDrawn="1"/>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3">
              <a:extLst>
                <a:ext uri="{FF2B5EF4-FFF2-40B4-BE49-F238E27FC236}">
                  <a16:creationId xmlns:a16="http://schemas.microsoft.com/office/drawing/2014/main" id="{3B4C2EBB-4C89-4380-A5E7-A7BD40C2B90E}"/>
                </a:ext>
              </a:extLst>
            </p:cNvPr>
            <p:cNvSpPr>
              <a:spLocks/>
            </p:cNvSpPr>
            <p:nvPr userDrawn="1"/>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4">
              <a:extLst>
                <a:ext uri="{FF2B5EF4-FFF2-40B4-BE49-F238E27FC236}">
                  <a16:creationId xmlns:a16="http://schemas.microsoft.com/office/drawing/2014/main" id="{0D7CD4FA-6D18-4E1F-9C7D-91AA2E32B2BC}"/>
                </a:ext>
              </a:extLst>
            </p:cNvPr>
            <p:cNvSpPr>
              <a:spLocks/>
            </p:cNvSpPr>
            <p:nvPr userDrawn="1"/>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5">
              <a:extLst>
                <a:ext uri="{FF2B5EF4-FFF2-40B4-BE49-F238E27FC236}">
                  <a16:creationId xmlns:a16="http://schemas.microsoft.com/office/drawing/2014/main" id="{5D06D6BE-8F81-4F1F-9E44-429E129C1957}"/>
                </a:ext>
              </a:extLst>
            </p:cNvPr>
            <p:cNvSpPr>
              <a:spLocks/>
            </p:cNvSpPr>
            <p:nvPr userDrawn="1"/>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6">
              <a:extLst>
                <a:ext uri="{FF2B5EF4-FFF2-40B4-BE49-F238E27FC236}">
                  <a16:creationId xmlns:a16="http://schemas.microsoft.com/office/drawing/2014/main" id="{3F7CF64D-F067-41E4-8D9F-41FF38972828}"/>
                </a:ext>
              </a:extLst>
            </p:cNvPr>
            <p:cNvSpPr>
              <a:spLocks/>
            </p:cNvSpPr>
            <p:nvPr userDrawn="1"/>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spTree>
    <p:extLst>
      <p:ext uri="{BB962C8B-B14F-4D97-AF65-F5344CB8AC3E}">
        <p14:creationId xmlns:p14="http://schemas.microsoft.com/office/powerpoint/2010/main" val="32975776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9545" y="437139"/>
            <a:ext cx="896425" cy="190218"/>
          </a:xfrm>
          <a:prstGeom prst="rect">
            <a:avLst/>
          </a:prstGeom>
        </p:spPr>
      </p:pic>
    </p:spTree>
    <p:extLst>
      <p:ext uri="{BB962C8B-B14F-4D97-AF65-F5344CB8AC3E}">
        <p14:creationId xmlns:p14="http://schemas.microsoft.com/office/powerpoint/2010/main" val="31997113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7"/>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8682" y="437142"/>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40559275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1_Title slide photo">
    <p:spTree>
      <p:nvGrpSpPr>
        <p:cNvPr id="1" name=""/>
        <p:cNvGrpSpPr/>
        <p:nvPr/>
      </p:nvGrpSpPr>
      <p:grpSpPr>
        <a:xfrm>
          <a:off x="0" y="0"/>
          <a:ext cx="0" cy="0"/>
          <a:chOff x="0" y="0"/>
          <a:chExt cx="0" cy="0"/>
        </a:xfrm>
      </p:grpSpPr>
      <p:pic>
        <p:nvPicPr>
          <p:cNvPr id="3" name="Picture 2" descr="A person wearing a suit and tie&#10;&#10;Description generated with very high confidence">
            <a:extLst>
              <a:ext uri="{FF2B5EF4-FFF2-40B4-BE49-F238E27FC236}">
                <a16:creationId xmlns:a16="http://schemas.microsoft.com/office/drawing/2014/main" id="{D7C7894B-0FFD-4641-97BE-1876DDD190F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973"/>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990DFA7B-97BC-46B8-B956-1ACFF1DA09E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26424" y="438439"/>
            <a:ext cx="1364901" cy="224637"/>
          </a:xfrm>
          <a:prstGeom prst="rect">
            <a:avLst/>
          </a:prstGeom>
        </p:spPr>
      </p:pic>
    </p:spTree>
    <p:extLst>
      <p:ext uri="{BB962C8B-B14F-4D97-AF65-F5344CB8AC3E}">
        <p14:creationId xmlns:p14="http://schemas.microsoft.com/office/powerpoint/2010/main" val="36509324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3" name="Picture 2" descr="A close up of a computer&#10;&#10;Description generated with very high confidence">
            <a:extLst>
              <a:ext uri="{FF2B5EF4-FFF2-40B4-BE49-F238E27FC236}">
                <a16:creationId xmlns:a16="http://schemas.microsoft.com/office/drawing/2014/main" id="{526CAB38-C067-42AB-B30D-0B60633D91F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 b="-1"/>
          <a:stretch/>
        </p:blipFill>
        <p:spPr>
          <a:xfrm>
            <a:off x="1766" y="0"/>
            <a:ext cx="12188468" cy="6858000"/>
          </a:xfrm>
          <a:prstGeom prst="rect">
            <a:avLst/>
          </a:prstGeom>
        </p:spPr>
      </p:pic>
      <p:sp>
        <p:nvSpPr>
          <p:cNvPr id="8" name="Rectangle 7">
            <a:extLst>
              <a:ext uri="{FF2B5EF4-FFF2-40B4-BE49-F238E27FC236}">
                <a16:creationId xmlns:a16="http://schemas.microsoft.com/office/drawing/2014/main" id="{E49DE887-6B72-4CA7-9C1C-CD555B5F7493}"/>
              </a:ext>
            </a:extLst>
          </p:cNvPr>
          <p:cNvSpPr/>
          <p:nvPr userDrawn="1"/>
        </p:nvSpPr>
        <p:spPr bwMode="auto">
          <a:xfrm>
            <a:off x="2" y="0"/>
            <a:ext cx="7262561" cy="6858000"/>
          </a:xfrm>
          <a:prstGeom prst="rect">
            <a:avLst/>
          </a:prstGeom>
          <a:gradFill flip="none" rotWithShape="1">
            <a:gsLst>
              <a:gs pos="0">
                <a:srgbClr val="000000">
                  <a:alpha val="50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13" name="Picture 12">
            <a:extLst>
              <a:ext uri="{FF2B5EF4-FFF2-40B4-BE49-F238E27FC236}">
                <a16:creationId xmlns:a16="http://schemas.microsoft.com/office/drawing/2014/main" id="{54F71F07-3FF3-4902-A108-DE5C884EF863}"/>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28682" y="437142"/>
            <a:ext cx="896425" cy="191140"/>
          </a:xfrm>
          <a:prstGeom prst="rect">
            <a:avLst/>
          </a:prstGeom>
        </p:spPr>
      </p:pic>
    </p:spTree>
    <p:extLst>
      <p:ext uri="{BB962C8B-B14F-4D97-AF65-F5344CB8AC3E}">
        <p14:creationId xmlns:p14="http://schemas.microsoft.com/office/powerpoint/2010/main" val="32974122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6" y="1202872"/>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233"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863236866"/>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4"/>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4214365226"/>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7"/>
            <a:ext cx="11339774" cy="1223171"/>
          </a:xfrm>
        </p:spPr>
        <p:txBody>
          <a:bodyPr wrap="square" lIns="0" tIns="0" rIns="0" bIns="0">
            <a:spAutoFit/>
          </a:bodyPr>
          <a:lstStyle>
            <a:lvl1pPr marL="268864" indent="-268864">
              <a:lnSpc>
                <a:spcPct val="90000"/>
              </a:lnSpc>
              <a:spcBef>
                <a:spcPts val="0"/>
              </a:spcBef>
              <a:spcAft>
                <a:spcPts val="1273"/>
              </a:spcAft>
              <a:buClr>
                <a:srgbClr val="000000"/>
              </a:buClr>
              <a:buSzPct val="77000"/>
              <a:buFont typeface="Arial" panose="020B0604020202020204" pitchFamily="34" charset="0"/>
              <a:buChar char="•"/>
              <a:defRPr sz="2549" b="0" i="0">
                <a:solidFill>
                  <a:srgbClr val="000000"/>
                </a:solidFill>
                <a:latin typeface="+mn-lt"/>
              </a:defRPr>
            </a:lvl1pPr>
            <a:lvl2pPr marL="537729" indent="-224054">
              <a:lnSpc>
                <a:spcPct val="90000"/>
              </a:lnSpc>
              <a:spcBef>
                <a:spcPts val="0"/>
              </a:spcBef>
              <a:spcAft>
                <a:spcPts val="1273"/>
              </a:spcAft>
              <a:buClr>
                <a:srgbClr val="000000"/>
              </a:buClr>
              <a:buSzPct val="77000"/>
              <a:buFont typeface="Arial" panose="020B0604020202020204" pitchFamily="34" charset="0"/>
              <a:buChar char="•"/>
              <a:defRPr sz="1961">
                <a:solidFill>
                  <a:srgbClr val="000000"/>
                </a:solidFill>
              </a:defRPr>
            </a:lvl2pPr>
            <a:lvl3pPr marL="806593" indent="-224054">
              <a:spcBef>
                <a:spcPts val="0"/>
              </a:spcBef>
              <a:spcAft>
                <a:spcPts val="1273"/>
              </a:spcAft>
              <a:buClr>
                <a:srgbClr val="000000"/>
              </a:buClr>
              <a:buSzPct val="77000"/>
              <a:buFont typeface="Arial" panose="020B0604020202020204" pitchFamily="34" charset="0"/>
              <a:buChar char="•"/>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3"/>
            <a:ext cx="11339774" cy="353070"/>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chemeClr val="tx2"/>
                </a:solidFill>
              </a:defRPr>
            </a:lvl2pPr>
            <a:lvl3pPr marL="448107" indent="0">
              <a:spcBef>
                <a:spcPts val="0"/>
              </a:spcBef>
              <a:spcAft>
                <a:spcPts val="1273"/>
              </a:spcAft>
              <a:buNone/>
              <a:defRPr sz="1961"/>
            </a:lvl3pPr>
            <a:lvl4pPr marL="672161" indent="0">
              <a:spcBef>
                <a:spcPts val="0"/>
              </a:spcBef>
              <a:spcAft>
                <a:spcPts val="1273"/>
              </a:spcAft>
              <a:buNone/>
              <a:defRPr sz="1961"/>
            </a:lvl4pPr>
            <a:lvl5pPr marL="896214" indent="0">
              <a:buNone/>
              <a:defRPr/>
            </a:lvl5pPr>
          </a:lstStyle>
          <a:p>
            <a:pPr lvl="0"/>
            <a:r>
              <a:rPr lang="en-US"/>
              <a:t>Subtitle Segoe UI 26pt</a:t>
            </a:r>
          </a:p>
        </p:txBody>
      </p:sp>
    </p:spTree>
    <p:extLst>
      <p:ext uri="{BB962C8B-B14F-4D97-AF65-F5344CB8AC3E}">
        <p14:creationId xmlns:p14="http://schemas.microsoft.com/office/powerpoint/2010/main" val="3154317777"/>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912592908"/>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2"/>
            <a:ext cx="598239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7"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3544472944"/>
      </p:ext>
    </p:extLst>
  </p:cSld>
  <p:clrMapOvr>
    <a:masterClrMapping/>
  </p:clrMapOvr>
  <p:transition>
    <p:fade/>
  </p:transition>
  <p:extLst>
    <p:ext uri="{DCECCB84-F9BA-43D5-87BE-67443E8EF086}">
      <p15:sldGuideLst xmlns:p15="http://schemas.microsoft.com/office/powerpoint/2012/main"/>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2135538"/>
            <a:ext cx="3632388" cy="2583813"/>
          </a:xfrm>
          <a:blipFill>
            <a:blip r:embed="rId2"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8"/>
            <a:ext cx="3623050" cy="2583813"/>
          </a:xfrm>
          <a:blipFill>
            <a:blip r:embed="rId3"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5" y="2135538"/>
            <a:ext cx="3634002" cy="2583814"/>
          </a:xfrm>
          <a:blipFill>
            <a:blip r:embed="rId4"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6" y="4927922"/>
            <a:ext cx="3630521"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4" y="4927922"/>
            <a:ext cx="3630521"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3935097406"/>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36EA2AC-FEA2-4901-8495-272A5FA7FC20}"/>
              </a:ext>
            </a:extLst>
          </p:cNvPr>
          <p:cNvGrpSpPr/>
          <p:nvPr userDrawn="1"/>
        </p:nvGrpSpPr>
        <p:grpSpPr>
          <a:xfrm>
            <a:off x="6194603" y="-1"/>
            <a:ext cx="5997398" cy="6858001"/>
            <a:chOff x="6194603" y="-1"/>
            <a:chExt cx="5997398" cy="6858001"/>
          </a:xfrm>
        </p:grpSpPr>
        <p:pic>
          <p:nvPicPr>
            <p:cNvPr id="35" name="Picture 34">
              <a:extLst>
                <a:ext uri="{FF2B5EF4-FFF2-40B4-BE49-F238E27FC236}">
                  <a16:creationId xmlns:a16="http://schemas.microsoft.com/office/drawing/2014/main" id="{A096FE2B-3270-4E2C-AD0E-3AB4FD1B86F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2819" y="1461694"/>
              <a:ext cx="3689182" cy="5396306"/>
            </a:xfrm>
            <a:prstGeom prst="rect">
              <a:avLst/>
            </a:prstGeom>
          </p:spPr>
        </p:pic>
        <p:pic>
          <p:nvPicPr>
            <p:cNvPr id="36" name="Picture 35">
              <a:extLst>
                <a:ext uri="{FF2B5EF4-FFF2-40B4-BE49-F238E27FC236}">
                  <a16:creationId xmlns:a16="http://schemas.microsoft.com/office/drawing/2014/main" id="{94A5D7CE-1FED-4CEA-810D-4198E9924290}"/>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1"/>
              <a:ext cx="1182753" cy="1076699"/>
            </a:xfrm>
            <a:prstGeom prst="rect">
              <a:avLst/>
            </a:prstGeom>
          </p:spPr>
        </p:pic>
        <p:pic>
          <p:nvPicPr>
            <p:cNvPr id="55" name="Picture 54">
              <a:extLst>
                <a:ext uri="{FF2B5EF4-FFF2-40B4-BE49-F238E27FC236}">
                  <a16:creationId xmlns:a16="http://schemas.microsoft.com/office/drawing/2014/main" id="{9BF408BE-3FB0-4FA0-B683-0E647B7E04BF}"/>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6894"/>
              <a:ext cx="1182753" cy="961106"/>
            </a:xfrm>
            <a:prstGeom prst="rect">
              <a:avLst/>
            </a:prstGeom>
          </p:spPr>
        </p:pic>
      </p:gr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dirty="0"/>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dirty="0">
                <a:latin typeface="+mj-lt"/>
              </a:rPr>
              <a:t>Session code here</a:t>
            </a:r>
            <a:endParaRPr lang="en-US" dirty="0"/>
          </a:p>
        </p:txBody>
      </p:sp>
    </p:spTree>
    <p:extLst>
      <p:ext uri="{BB962C8B-B14F-4D97-AF65-F5344CB8AC3E}">
        <p14:creationId xmlns:p14="http://schemas.microsoft.com/office/powerpoint/2010/main" val="42277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userDrawn="1">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256117" y="-21839"/>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495752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3" y="2145843"/>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5" y="2145844"/>
            <a:ext cx="513817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2348685780"/>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6"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1"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7" y="4927922"/>
            <a:ext cx="3627659"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4" y="4927922"/>
            <a:ext cx="3623051"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5" y="4927922"/>
            <a:ext cx="3635502"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146063536"/>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7"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2"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5"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6"/>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5"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2"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7"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631700706"/>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2365445768"/>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293"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8399272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7"/>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293" spc="-147" dirty="0">
                <a:solidFill>
                  <a:schemeClr val="tx2"/>
                </a:solidFill>
              </a:defRPr>
            </a:lvl1pPr>
          </a:lstStyle>
          <a:p>
            <a:pPr marL="0" lvl="0">
              <a:lnSpc>
                <a:spcPts val="5489"/>
              </a:lnSpc>
            </a:pPr>
            <a:r>
              <a:rPr lang="en-US"/>
              <a:t>Section title</a:t>
            </a:r>
          </a:p>
        </p:txBody>
      </p:sp>
    </p:spTree>
    <p:extLst>
      <p:ext uri="{BB962C8B-B14F-4D97-AF65-F5344CB8AC3E}">
        <p14:creationId xmlns:p14="http://schemas.microsoft.com/office/powerpoint/2010/main" val="14317582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2"/>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293"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42822081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9154561"/>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_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3"/>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9545" y="437137"/>
            <a:ext cx="896425" cy="190218"/>
          </a:xfrm>
          <a:prstGeom prst="rect">
            <a:avLst/>
          </a:prstGeom>
        </p:spPr>
      </p:pic>
    </p:spTree>
    <p:extLst>
      <p:ext uri="{BB962C8B-B14F-4D97-AF65-F5344CB8AC3E}">
        <p14:creationId xmlns:p14="http://schemas.microsoft.com/office/powerpoint/2010/main" val="22317411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1_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3"/>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2"/>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543D6C48-3EEE-4B3F-A414-320F7597CEC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26424" y="438439"/>
            <a:ext cx="1364901" cy="224637"/>
          </a:xfrm>
          <a:prstGeom prst="rect">
            <a:avLst/>
          </a:prstGeom>
        </p:spPr>
      </p:pic>
    </p:spTree>
    <p:extLst>
      <p:ext uri="{BB962C8B-B14F-4D97-AF65-F5344CB8AC3E}">
        <p14:creationId xmlns:p14="http://schemas.microsoft.com/office/powerpoint/2010/main" val="11491678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706675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1_Walk-in slide">
    <p:bg>
      <p:bgPr>
        <a:solidFill>
          <a:srgbClr val="0078D4"/>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58293A6-EFA3-B644-9CE9-BBD8B7F450B6}"/>
              </a:ext>
            </a:extLst>
          </p:cNvPr>
          <p:cNvSpPr/>
          <p:nvPr userDrawn="1"/>
        </p:nvSpPr>
        <p:spPr bwMode="auto">
          <a:xfrm>
            <a:off x="0" y="0"/>
            <a:ext cx="7010400" cy="6858000"/>
          </a:xfrm>
          <a:prstGeom prst="rect">
            <a:avLst/>
          </a:prstGeom>
          <a:solidFill>
            <a:srgbClr val="00386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MS logo white - EMF" descr="Microsoft logo white text version">
            <a:extLst>
              <a:ext uri="{FF2B5EF4-FFF2-40B4-BE49-F238E27FC236}">
                <a16:creationId xmlns:a16="http://schemas.microsoft.com/office/drawing/2014/main" id="{AA220987-CAF7-45F3-B22A-77038A8D81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5216" y="585788"/>
            <a:ext cx="1366245" cy="292608"/>
          </a:xfrm>
          <a:prstGeom prst="rect">
            <a:avLst/>
          </a:prstGeom>
        </p:spPr>
      </p:pic>
      <p:pic>
        <p:nvPicPr>
          <p:cNvPr id="14" name="Picture 13">
            <a:extLst>
              <a:ext uri="{FF2B5EF4-FFF2-40B4-BE49-F238E27FC236}">
                <a16:creationId xmlns:a16="http://schemas.microsoft.com/office/drawing/2014/main" id="{6C26C47D-DABF-6247-BFE8-3CA46974630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63627" y="1846012"/>
            <a:ext cx="898795" cy="456105"/>
          </a:xfrm>
          <a:prstGeom prst="rect">
            <a:avLst/>
          </a:prstGeom>
        </p:spPr>
      </p:pic>
      <p:pic>
        <p:nvPicPr>
          <p:cNvPr id="15" name="Picture 14">
            <a:extLst>
              <a:ext uri="{FF2B5EF4-FFF2-40B4-BE49-F238E27FC236}">
                <a16:creationId xmlns:a16="http://schemas.microsoft.com/office/drawing/2014/main" id="{49E96E32-016D-BB49-834D-F4DEF32BB33F}"/>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246738" y="2667785"/>
            <a:ext cx="4995147" cy="4209669"/>
          </a:xfrm>
          <a:prstGeom prst="rect">
            <a:avLst/>
          </a:prstGeom>
        </p:spPr>
      </p:pic>
    </p:spTree>
    <p:extLst>
      <p:ext uri="{BB962C8B-B14F-4D97-AF65-F5344CB8AC3E}">
        <p14:creationId xmlns:p14="http://schemas.microsoft.com/office/powerpoint/2010/main" val="15882716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2_Walk-in slide">
    <p:bg>
      <p:bgPr>
        <a:solidFill>
          <a:srgbClr val="0078D4"/>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58293A6-EFA3-B644-9CE9-BBD8B7F450B6}"/>
              </a:ext>
            </a:extLst>
          </p:cNvPr>
          <p:cNvSpPr/>
          <p:nvPr userDrawn="1"/>
        </p:nvSpPr>
        <p:spPr bwMode="auto">
          <a:xfrm>
            <a:off x="-1" y="0"/>
            <a:ext cx="12200867" cy="1293779"/>
          </a:xfrm>
          <a:prstGeom prst="rect">
            <a:avLst/>
          </a:prstGeom>
          <a:solidFill>
            <a:srgbClr val="00386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MS logo white - EMF" descr="Microsoft logo white text version">
            <a:extLst>
              <a:ext uri="{FF2B5EF4-FFF2-40B4-BE49-F238E27FC236}">
                <a16:creationId xmlns:a16="http://schemas.microsoft.com/office/drawing/2014/main" id="{AA220987-CAF7-45F3-B22A-77038A8D81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5216" y="585788"/>
            <a:ext cx="1366245" cy="292608"/>
          </a:xfrm>
          <a:prstGeom prst="rect">
            <a:avLst/>
          </a:prstGeom>
        </p:spPr>
      </p:pic>
      <p:pic>
        <p:nvPicPr>
          <p:cNvPr id="4" name="Picture 3">
            <a:extLst>
              <a:ext uri="{FF2B5EF4-FFF2-40B4-BE49-F238E27FC236}">
                <a16:creationId xmlns:a16="http://schemas.microsoft.com/office/drawing/2014/main" id="{AE021549-55C5-2F4A-A037-67F7A448CCE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083240" y="1469946"/>
            <a:ext cx="898795" cy="456105"/>
          </a:xfrm>
          <a:prstGeom prst="rect">
            <a:avLst/>
          </a:prstGeom>
        </p:spPr>
      </p:pic>
      <p:pic>
        <p:nvPicPr>
          <p:cNvPr id="12" name="Picture 11">
            <a:extLst>
              <a:ext uri="{FF2B5EF4-FFF2-40B4-BE49-F238E27FC236}">
                <a16:creationId xmlns:a16="http://schemas.microsoft.com/office/drawing/2014/main" id="{3D0BC0B2-07F6-7A4F-A65F-469CB8991263}"/>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096000" y="1697999"/>
            <a:ext cx="6145886" cy="5179456"/>
          </a:xfrm>
          <a:prstGeom prst="rect">
            <a:avLst/>
          </a:prstGeom>
        </p:spPr>
      </p:pic>
    </p:spTree>
    <p:extLst>
      <p:ext uri="{BB962C8B-B14F-4D97-AF65-F5344CB8AC3E}">
        <p14:creationId xmlns:p14="http://schemas.microsoft.com/office/powerpoint/2010/main" val="5008905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Walk-in slide">
    <p:bg>
      <p:bgPr>
        <a:solidFill>
          <a:srgbClr val="003863"/>
        </a:solidFill>
        <a:effectLst/>
      </p:bgPr>
    </p:bg>
    <p:spTree>
      <p:nvGrpSpPr>
        <p:cNvPr id="1" name=""/>
        <p:cNvGrpSpPr/>
        <p:nvPr/>
      </p:nvGrpSpPr>
      <p:grpSpPr>
        <a:xfrm>
          <a:off x="0" y="0"/>
          <a:ext cx="0" cy="0"/>
          <a:chOff x="0" y="0"/>
          <a:chExt cx="0" cy="0"/>
        </a:xfrm>
      </p:grpSpPr>
      <p:pic>
        <p:nvPicPr>
          <p:cNvPr id="6" name="MS logo white - EMF" descr="Microsoft logo white text version">
            <a:extLst>
              <a:ext uri="{FF2B5EF4-FFF2-40B4-BE49-F238E27FC236}">
                <a16:creationId xmlns:a16="http://schemas.microsoft.com/office/drawing/2014/main" id="{AA220987-CAF7-45F3-B22A-77038A8D81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5216" y="585788"/>
            <a:ext cx="1366245" cy="292608"/>
          </a:xfrm>
          <a:prstGeom prst="rect">
            <a:avLst/>
          </a:prstGeom>
        </p:spPr>
      </p:pic>
      <p:pic>
        <p:nvPicPr>
          <p:cNvPr id="8" name="Picture 7">
            <a:extLst>
              <a:ext uri="{FF2B5EF4-FFF2-40B4-BE49-F238E27FC236}">
                <a16:creationId xmlns:a16="http://schemas.microsoft.com/office/drawing/2014/main" id="{CB87212C-1D3E-5B4A-AAF5-CA96ECB44678}"/>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010400" y="0"/>
            <a:ext cx="5181599" cy="6858000"/>
          </a:xfrm>
          <a:prstGeom prst="rect">
            <a:avLst/>
          </a:prstGeom>
        </p:spPr>
      </p:pic>
      <p:pic>
        <p:nvPicPr>
          <p:cNvPr id="13" name="Picture 12">
            <a:extLst>
              <a:ext uri="{FF2B5EF4-FFF2-40B4-BE49-F238E27FC236}">
                <a16:creationId xmlns:a16="http://schemas.microsoft.com/office/drawing/2014/main" id="{314FF17B-32FB-194D-9F80-B9408091A3DB}"/>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5646602" y="3592778"/>
            <a:ext cx="898795" cy="456105"/>
          </a:xfrm>
          <a:prstGeom prst="rect">
            <a:avLst/>
          </a:prstGeom>
        </p:spPr>
      </p:pic>
      <p:pic>
        <p:nvPicPr>
          <p:cNvPr id="7" name="Picture 6">
            <a:extLst>
              <a:ext uri="{FF2B5EF4-FFF2-40B4-BE49-F238E27FC236}">
                <a16:creationId xmlns:a16="http://schemas.microsoft.com/office/drawing/2014/main" id="{B5385256-EB1E-CE4E-9052-319AF27C8432}"/>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780917" y="4275955"/>
            <a:ext cx="3086911" cy="2601500"/>
          </a:xfrm>
          <a:prstGeom prst="rect">
            <a:avLst/>
          </a:prstGeom>
        </p:spPr>
      </p:pic>
    </p:spTree>
    <p:extLst>
      <p:ext uri="{BB962C8B-B14F-4D97-AF65-F5344CB8AC3E}">
        <p14:creationId xmlns:p14="http://schemas.microsoft.com/office/powerpoint/2010/main" val="34728989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979539"/>
            <a:ext cx="4167887" cy="553998"/>
          </a:xfrm>
        </p:spPr>
        <p:txBody>
          <a:bodyPr anchor="b" anchorCtr="0">
            <a:spAutoFit/>
          </a:bodyPr>
          <a:lstStyle>
            <a:lvl1pPr>
              <a:defRPr/>
            </a:lvl1pPr>
          </a:lstStyle>
          <a:p>
            <a:r>
              <a:rPr lang="en-US" dirty="0"/>
              <a:t>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pic>
        <p:nvPicPr>
          <p:cNvPr id="9" name="Picture 8">
            <a:extLst>
              <a:ext uri="{FF2B5EF4-FFF2-40B4-BE49-F238E27FC236}">
                <a16:creationId xmlns:a16="http://schemas.microsoft.com/office/drawing/2014/main" id="{6F439125-9C0C-0040-B90D-B6E1313A2D9C}"/>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010400" y="0"/>
            <a:ext cx="5181599" cy="6858000"/>
          </a:xfrm>
          <a:prstGeom prst="rect">
            <a:avLst/>
          </a:prstGeom>
        </p:spPr>
      </p:pic>
      <p:pic>
        <p:nvPicPr>
          <p:cNvPr id="11" name="Picture 10">
            <a:extLst>
              <a:ext uri="{FF2B5EF4-FFF2-40B4-BE49-F238E27FC236}">
                <a16:creationId xmlns:a16="http://schemas.microsoft.com/office/drawing/2014/main" id="{22380DFD-0D28-F74A-898A-E8701DC0AAEE}"/>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780917" y="4275955"/>
            <a:ext cx="3086911" cy="2601500"/>
          </a:xfrm>
          <a:prstGeom prst="rect">
            <a:avLst/>
          </a:prstGeom>
        </p:spPr>
      </p:pic>
      <p:pic>
        <p:nvPicPr>
          <p:cNvPr id="13" name="Picture 12">
            <a:extLst>
              <a:ext uri="{FF2B5EF4-FFF2-40B4-BE49-F238E27FC236}">
                <a16:creationId xmlns:a16="http://schemas.microsoft.com/office/drawing/2014/main" id="{C06D6959-1E8B-5446-B9F0-53EFAABE74F1}"/>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5646602" y="3592778"/>
            <a:ext cx="898795" cy="456105"/>
          </a:xfrm>
          <a:prstGeom prst="rect">
            <a:avLst/>
          </a:prstGeom>
        </p:spPr>
      </p:pic>
    </p:spTree>
    <p:extLst>
      <p:ext uri="{BB962C8B-B14F-4D97-AF65-F5344CB8AC3E}">
        <p14:creationId xmlns:p14="http://schemas.microsoft.com/office/powerpoint/2010/main" val="64649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1770627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1149595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8951989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4349340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4873176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2808270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2198011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31234636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6226769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91573328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14402343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39448872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574820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spTree>
    <p:extLst>
      <p:ext uri="{BB962C8B-B14F-4D97-AF65-F5344CB8AC3E}">
        <p14:creationId xmlns:p14="http://schemas.microsoft.com/office/powerpoint/2010/main" val="41570399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spTree>
    <p:extLst>
      <p:ext uri="{BB962C8B-B14F-4D97-AF65-F5344CB8AC3E}">
        <p14:creationId xmlns:p14="http://schemas.microsoft.com/office/powerpoint/2010/main" val="3428399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1030296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93674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9960617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1003800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279899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6449904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2E2AE02-2E53-E54D-B667-977ABBE7C63F}"/>
              </a:ext>
            </a:extLst>
          </p:cNvPr>
          <p:cNvSpPr/>
          <p:nvPr userDrawn="1"/>
        </p:nvSpPr>
        <p:spPr bwMode="auto">
          <a:xfrm>
            <a:off x="-1" y="0"/>
            <a:ext cx="12200867" cy="1293779"/>
          </a:xfrm>
          <a:prstGeom prst="rect">
            <a:avLst/>
          </a:prstGeom>
          <a:solidFill>
            <a:srgbClr val="00386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8134110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2677558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userDrawn="1">
  <p:cSld name="Title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36EA2AC-FEA2-4901-8495-272A5FA7FC20}"/>
              </a:ext>
            </a:extLst>
          </p:cNvPr>
          <p:cNvGrpSpPr/>
          <p:nvPr userDrawn="1"/>
        </p:nvGrpSpPr>
        <p:grpSpPr>
          <a:xfrm>
            <a:off x="6194603" y="-1"/>
            <a:ext cx="5997398" cy="6858001"/>
            <a:chOff x="6194603" y="-1"/>
            <a:chExt cx="5997398" cy="6858001"/>
          </a:xfrm>
        </p:grpSpPr>
        <p:pic>
          <p:nvPicPr>
            <p:cNvPr id="35" name="Picture 34">
              <a:extLst>
                <a:ext uri="{FF2B5EF4-FFF2-40B4-BE49-F238E27FC236}">
                  <a16:creationId xmlns:a16="http://schemas.microsoft.com/office/drawing/2014/main" id="{A096FE2B-3270-4E2C-AD0E-3AB4FD1B86F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2819" y="1461694"/>
              <a:ext cx="3689182" cy="5396306"/>
            </a:xfrm>
            <a:prstGeom prst="rect">
              <a:avLst/>
            </a:prstGeom>
          </p:spPr>
        </p:pic>
        <p:pic>
          <p:nvPicPr>
            <p:cNvPr id="36" name="Picture 35">
              <a:extLst>
                <a:ext uri="{FF2B5EF4-FFF2-40B4-BE49-F238E27FC236}">
                  <a16:creationId xmlns:a16="http://schemas.microsoft.com/office/drawing/2014/main" id="{94A5D7CE-1FED-4CEA-810D-4198E9924290}"/>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1"/>
              <a:ext cx="1182753" cy="1076699"/>
            </a:xfrm>
            <a:prstGeom prst="rect">
              <a:avLst/>
            </a:prstGeom>
          </p:spPr>
        </p:pic>
        <p:pic>
          <p:nvPicPr>
            <p:cNvPr id="55" name="Picture 54">
              <a:extLst>
                <a:ext uri="{FF2B5EF4-FFF2-40B4-BE49-F238E27FC236}">
                  <a16:creationId xmlns:a16="http://schemas.microsoft.com/office/drawing/2014/main" id="{9BF408BE-3FB0-4FA0-B683-0E647B7E04BF}"/>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6894"/>
              <a:ext cx="1182753" cy="961106"/>
            </a:xfrm>
            <a:prstGeom prst="rect">
              <a:avLst/>
            </a:prstGeom>
          </p:spPr>
        </p:pic>
      </p:gr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dirty="0"/>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dirty="0">
                <a:latin typeface="+mj-lt"/>
              </a:rPr>
              <a:t>Session code here</a:t>
            </a:r>
            <a:endParaRPr lang="en-US" dirty="0"/>
          </a:p>
        </p:txBody>
      </p:sp>
    </p:spTree>
    <p:extLst>
      <p:ext uri="{BB962C8B-B14F-4D97-AF65-F5344CB8AC3E}">
        <p14:creationId xmlns:p14="http://schemas.microsoft.com/office/powerpoint/2010/main" val="1369984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bg1">
            <a:lumMod val="20000"/>
            <a:lumOff val="80000"/>
          </a:schemeClr>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solidFill>
                  <a:schemeClr val="bg1"/>
                </a:solidFill>
              </a:defRPr>
            </a:lvl1pPr>
          </a:lstStyle>
          <a:p>
            <a:r>
              <a:rPr lang="en-US" dirty="0"/>
              <a:t>Remote Desktop Interoperability</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30000">
                <a:solidFill>
                  <a:schemeClr val="bg1"/>
                </a:solidFill>
                <a:latin typeface="+mn-lt"/>
              </a:defRPr>
            </a:lvl1pPr>
          </a:lstStyle>
          <a:p>
            <a:pPr lvl="0"/>
            <a:r>
              <a:rPr lang="en-US" dirty="0"/>
              <a:t>March 25th – 28th 2019</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solidFill>
                  <a:schemeClr val="bg1"/>
                </a:solidFill>
                <a:latin typeface="Segoe UI" panose="020B0502040204020203" pitchFamily="34" charset="0"/>
                <a:ea typeface="+mn-ea"/>
                <a:cs typeface="Segoe UI" panose="020B0502040204020203" pitchFamily="34" charset="0"/>
              </a:defRPr>
            </a:lvl1pPr>
          </a:lstStyle>
          <a:p>
            <a:r>
              <a:rPr lang="en-US" dirty="0"/>
              <a:t>Reactor @Redmond</a:t>
            </a:r>
          </a:p>
        </p:txBody>
      </p:sp>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48212" y="471692"/>
            <a:ext cx="1454257" cy="304828"/>
          </a:xfrm>
          <a:prstGeom prst="rect">
            <a:avLst/>
          </a:prstGeom>
        </p:spPr>
      </p:pic>
      <p:grpSp>
        <p:nvGrpSpPr>
          <p:cNvPr id="86" name="Group 85">
            <a:extLst>
              <a:ext uri="{FF2B5EF4-FFF2-40B4-BE49-F238E27FC236}">
                <a16:creationId xmlns:a16="http://schemas.microsoft.com/office/drawing/2014/main" id="{3A62B272-976A-4828-9261-D360383FACA1}"/>
              </a:ext>
            </a:extLst>
          </p:cNvPr>
          <p:cNvGrpSpPr/>
          <p:nvPr userDrawn="1"/>
        </p:nvGrpSpPr>
        <p:grpSpPr>
          <a:xfrm>
            <a:off x="5468357" y="4139517"/>
            <a:ext cx="6723644" cy="2716134"/>
            <a:chOff x="5789470" y="4224320"/>
            <a:chExt cx="6858467" cy="2770205"/>
          </a:xfrm>
        </p:grpSpPr>
        <p:grpSp>
          <p:nvGrpSpPr>
            <p:cNvPr id="89" name="Group 88">
              <a:extLst>
                <a:ext uri="{FF2B5EF4-FFF2-40B4-BE49-F238E27FC236}">
                  <a16:creationId xmlns:a16="http://schemas.microsoft.com/office/drawing/2014/main" id="{277C4743-55B3-4F9E-8952-280C66F0BB7E}"/>
                </a:ext>
              </a:extLst>
            </p:cNvPr>
            <p:cNvGrpSpPr>
              <a:grpSpLocks noChangeAspect="1"/>
            </p:cNvGrpSpPr>
            <p:nvPr userDrawn="1"/>
          </p:nvGrpSpPr>
          <p:grpSpPr bwMode="gray">
            <a:xfrm>
              <a:off x="5789470" y="4224320"/>
              <a:ext cx="6858467" cy="2770205"/>
              <a:chOff x="5788926" y="4224320"/>
              <a:chExt cx="6858467" cy="2770205"/>
            </a:xfrm>
          </p:grpSpPr>
          <p:sp>
            <p:nvSpPr>
              <p:cNvPr id="93" name="Freeform: Shape 92">
                <a:extLst>
                  <a:ext uri="{FF2B5EF4-FFF2-40B4-BE49-F238E27FC236}">
                    <a16:creationId xmlns:a16="http://schemas.microsoft.com/office/drawing/2014/main" id="{DF1C243D-C00A-4BBB-B0D3-9D5563874AE6}"/>
                  </a:ext>
                </a:extLst>
              </p:cNvPr>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4" name="Freeform 6">
                <a:extLst>
                  <a:ext uri="{FF2B5EF4-FFF2-40B4-BE49-F238E27FC236}">
                    <a16:creationId xmlns:a16="http://schemas.microsoft.com/office/drawing/2014/main" id="{438577E9-C9F5-45AD-9891-A661A977CA41}"/>
                  </a:ext>
                </a:extLst>
              </p:cNvPr>
              <p:cNvSpPr>
                <a:spLocks/>
              </p:cNvSpPr>
              <p:nvPr userDrawn="1"/>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95" name="Rectangle 94">
                <a:extLst>
                  <a:ext uri="{FF2B5EF4-FFF2-40B4-BE49-F238E27FC236}">
                    <a16:creationId xmlns:a16="http://schemas.microsoft.com/office/drawing/2014/main" id="{A30247B6-8DBC-4D92-A7C9-6A483619B481}"/>
                  </a:ext>
                </a:extLst>
              </p:cNvPr>
              <p:cNvSpPr>
                <a:spLocks noChangeArrowheads="1"/>
              </p:cNvSpPr>
              <p:nvPr userDrawn="1"/>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6" name="Rectangle 95">
                <a:extLst>
                  <a:ext uri="{FF2B5EF4-FFF2-40B4-BE49-F238E27FC236}">
                    <a16:creationId xmlns:a16="http://schemas.microsoft.com/office/drawing/2014/main" id="{EB9C228C-EE32-4272-8418-29B783EE78DC}"/>
                  </a:ext>
                </a:extLst>
              </p:cNvPr>
              <p:cNvSpPr>
                <a:spLocks noChangeArrowheads="1"/>
              </p:cNvSpPr>
              <p:nvPr userDrawn="1"/>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7" name="Rectangle 96">
                <a:extLst>
                  <a:ext uri="{FF2B5EF4-FFF2-40B4-BE49-F238E27FC236}">
                    <a16:creationId xmlns:a16="http://schemas.microsoft.com/office/drawing/2014/main" id="{BB1224E8-4526-4BF3-B25A-22E5B91F02E1}"/>
                  </a:ext>
                </a:extLst>
              </p:cNvPr>
              <p:cNvSpPr>
                <a:spLocks noChangeArrowheads="1"/>
              </p:cNvSpPr>
              <p:nvPr userDrawn="1"/>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8" name="Rectangle 97">
                <a:extLst>
                  <a:ext uri="{FF2B5EF4-FFF2-40B4-BE49-F238E27FC236}">
                    <a16:creationId xmlns:a16="http://schemas.microsoft.com/office/drawing/2014/main" id="{498DB50C-DBE6-4E66-B42F-0D78C0C25FD9}"/>
                  </a:ext>
                </a:extLst>
              </p:cNvPr>
              <p:cNvSpPr>
                <a:spLocks noChangeArrowheads="1"/>
              </p:cNvSpPr>
              <p:nvPr userDrawn="1"/>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9" name="Rectangle 98">
                <a:extLst>
                  <a:ext uri="{FF2B5EF4-FFF2-40B4-BE49-F238E27FC236}">
                    <a16:creationId xmlns:a16="http://schemas.microsoft.com/office/drawing/2014/main" id="{2090C2DE-B9F2-4AC4-9F83-196B517BF5B0}"/>
                  </a:ext>
                </a:extLst>
              </p:cNvPr>
              <p:cNvSpPr>
                <a:spLocks noChangeArrowheads="1"/>
              </p:cNvSpPr>
              <p:nvPr userDrawn="1"/>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0" name="Rectangle 99">
                <a:extLst>
                  <a:ext uri="{FF2B5EF4-FFF2-40B4-BE49-F238E27FC236}">
                    <a16:creationId xmlns:a16="http://schemas.microsoft.com/office/drawing/2014/main" id="{4AF580A0-C5A4-4BE1-8C5B-E36EC0617437}"/>
                  </a:ext>
                </a:extLst>
              </p:cNvPr>
              <p:cNvSpPr>
                <a:spLocks noChangeArrowheads="1"/>
              </p:cNvSpPr>
              <p:nvPr userDrawn="1"/>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1" name="Freeform 13">
                <a:extLst>
                  <a:ext uri="{FF2B5EF4-FFF2-40B4-BE49-F238E27FC236}">
                    <a16:creationId xmlns:a16="http://schemas.microsoft.com/office/drawing/2014/main" id="{5C276EC8-567A-4E8A-A398-835195941D43}"/>
                  </a:ext>
                </a:extLst>
              </p:cNvPr>
              <p:cNvSpPr>
                <a:spLocks/>
              </p:cNvSpPr>
              <p:nvPr userDrawn="1"/>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2" name="Freeform 14">
                <a:extLst>
                  <a:ext uri="{FF2B5EF4-FFF2-40B4-BE49-F238E27FC236}">
                    <a16:creationId xmlns:a16="http://schemas.microsoft.com/office/drawing/2014/main" id="{683F4771-EAF0-4EC7-8A7C-ECB05E67268D}"/>
                  </a:ext>
                </a:extLst>
              </p:cNvPr>
              <p:cNvSpPr>
                <a:spLocks/>
              </p:cNvSpPr>
              <p:nvPr userDrawn="1"/>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3" name="Freeform 15">
                <a:extLst>
                  <a:ext uri="{FF2B5EF4-FFF2-40B4-BE49-F238E27FC236}">
                    <a16:creationId xmlns:a16="http://schemas.microsoft.com/office/drawing/2014/main" id="{1256DDA8-7B9D-4015-90B1-7BF165A180B8}"/>
                  </a:ext>
                </a:extLst>
              </p:cNvPr>
              <p:cNvSpPr>
                <a:spLocks/>
              </p:cNvSpPr>
              <p:nvPr userDrawn="1"/>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4" name="Freeform 16">
                <a:extLst>
                  <a:ext uri="{FF2B5EF4-FFF2-40B4-BE49-F238E27FC236}">
                    <a16:creationId xmlns:a16="http://schemas.microsoft.com/office/drawing/2014/main" id="{4003E68D-6066-4CAC-A990-2F9F169D4A8C}"/>
                  </a:ext>
                </a:extLst>
              </p:cNvPr>
              <p:cNvSpPr>
                <a:spLocks/>
              </p:cNvSpPr>
              <p:nvPr userDrawn="1"/>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1" name="Freeform 17">
                <a:extLst>
                  <a:ext uri="{FF2B5EF4-FFF2-40B4-BE49-F238E27FC236}">
                    <a16:creationId xmlns:a16="http://schemas.microsoft.com/office/drawing/2014/main" id="{3C5010FA-31E8-4B5B-81B9-B5F23C03B338}"/>
                  </a:ext>
                </a:extLst>
              </p:cNvPr>
              <p:cNvSpPr>
                <a:spLocks/>
              </p:cNvSpPr>
              <p:nvPr userDrawn="1"/>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2" name="Freeform 18">
                <a:extLst>
                  <a:ext uri="{FF2B5EF4-FFF2-40B4-BE49-F238E27FC236}">
                    <a16:creationId xmlns:a16="http://schemas.microsoft.com/office/drawing/2014/main" id="{B8C9D676-4EB5-4A2D-953A-D8B43B84BA0C}"/>
                  </a:ext>
                </a:extLst>
              </p:cNvPr>
              <p:cNvSpPr>
                <a:spLocks/>
              </p:cNvSpPr>
              <p:nvPr userDrawn="1"/>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3" name="Freeform 19">
                <a:extLst>
                  <a:ext uri="{FF2B5EF4-FFF2-40B4-BE49-F238E27FC236}">
                    <a16:creationId xmlns:a16="http://schemas.microsoft.com/office/drawing/2014/main" id="{E0F1E033-C526-4845-806D-E749E77A0327}"/>
                  </a:ext>
                </a:extLst>
              </p:cNvPr>
              <p:cNvSpPr>
                <a:spLocks/>
              </p:cNvSpPr>
              <p:nvPr userDrawn="1"/>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4" name="Freeform 20">
                <a:extLst>
                  <a:ext uri="{FF2B5EF4-FFF2-40B4-BE49-F238E27FC236}">
                    <a16:creationId xmlns:a16="http://schemas.microsoft.com/office/drawing/2014/main" id="{F56E2200-4928-46DE-91CC-854F11513F5F}"/>
                  </a:ext>
                </a:extLst>
              </p:cNvPr>
              <p:cNvSpPr>
                <a:spLocks/>
              </p:cNvSpPr>
              <p:nvPr userDrawn="1"/>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5" name="Oval 144">
                <a:extLst>
                  <a:ext uri="{FF2B5EF4-FFF2-40B4-BE49-F238E27FC236}">
                    <a16:creationId xmlns:a16="http://schemas.microsoft.com/office/drawing/2014/main" id="{F947EAFB-7216-4C14-AA8F-CCC54E686CFC}"/>
                  </a:ext>
                </a:extLst>
              </p:cNvPr>
              <p:cNvSpPr>
                <a:spLocks noChangeArrowheads="1"/>
              </p:cNvSpPr>
              <p:nvPr userDrawn="1"/>
            </p:nvSpPr>
            <p:spPr bwMode="gray">
              <a:xfrm>
                <a:off x="9203225" y="468198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6" name="Oval 145">
                <a:extLst>
                  <a:ext uri="{FF2B5EF4-FFF2-40B4-BE49-F238E27FC236}">
                    <a16:creationId xmlns:a16="http://schemas.microsoft.com/office/drawing/2014/main" id="{C2EABB97-1B21-4CF9-9387-E3DBEB351B92}"/>
                  </a:ext>
                </a:extLst>
              </p:cNvPr>
              <p:cNvSpPr>
                <a:spLocks noChangeArrowheads="1"/>
              </p:cNvSpPr>
              <p:nvPr userDrawn="1"/>
            </p:nvSpPr>
            <p:spPr bwMode="gray">
              <a:xfrm>
                <a:off x="9203225" y="4821973"/>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7" name="Oval 146">
                <a:extLst>
                  <a:ext uri="{FF2B5EF4-FFF2-40B4-BE49-F238E27FC236}">
                    <a16:creationId xmlns:a16="http://schemas.microsoft.com/office/drawing/2014/main" id="{3F95CA90-D808-4679-9A15-F5027AA8A4B8}"/>
                  </a:ext>
                </a:extLst>
              </p:cNvPr>
              <p:cNvSpPr>
                <a:spLocks noChangeArrowheads="1"/>
              </p:cNvSpPr>
              <p:nvPr userDrawn="1"/>
            </p:nvSpPr>
            <p:spPr bwMode="gray">
              <a:xfrm>
                <a:off x="9203225" y="495927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8" name="Oval 147">
                <a:extLst>
                  <a:ext uri="{FF2B5EF4-FFF2-40B4-BE49-F238E27FC236}">
                    <a16:creationId xmlns:a16="http://schemas.microsoft.com/office/drawing/2014/main" id="{8CE48FD8-98D4-4178-9368-0F4D95E256A8}"/>
                  </a:ext>
                </a:extLst>
              </p:cNvPr>
              <p:cNvSpPr>
                <a:spLocks noChangeArrowheads="1"/>
              </p:cNvSpPr>
              <p:nvPr userDrawn="1"/>
            </p:nvSpPr>
            <p:spPr bwMode="gray">
              <a:xfrm>
                <a:off x="9203225" y="509926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9" name="Freeform 25">
                <a:extLst>
                  <a:ext uri="{FF2B5EF4-FFF2-40B4-BE49-F238E27FC236}">
                    <a16:creationId xmlns:a16="http://schemas.microsoft.com/office/drawing/2014/main" id="{AA5184DB-BC61-4922-BCE9-FB03A4FF5FC5}"/>
                  </a:ext>
                </a:extLst>
              </p:cNvPr>
              <p:cNvSpPr>
                <a:spLocks/>
              </p:cNvSpPr>
              <p:nvPr userDrawn="1"/>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0" name="Oval 149">
                <a:extLst>
                  <a:ext uri="{FF2B5EF4-FFF2-40B4-BE49-F238E27FC236}">
                    <a16:creationId xmlns:a16="http://schemas.microsoft.com/office/drawing/2014/main" id="{4B92D872-8DBD-4CA7-8648-079F722FF8D6}"/>
                  </a:ext>
                </a:extLst>
              </p:cNvPr>
              <p:cNvSpPr>
                <a:spLocks noChangeArrowheads="1"/>
              </p:cNvSpPr>
              <p:nvPr userDrawn="1"/>
            </p:nvSpPr>
            <p:spPr bwMode="gray">
              <a:xfrm>
                <a:off x="9203225" y="5376553"/>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1" name="Oval 150">
                <a:extLst>
                  <a:ext uri="{FF2B5EF4-FFF2-40B4-BE49-F238E27FC236}">
                    <a16:creationId xmlns:a16="http://schemas.microsoft.com/office/drawing/2014/main" id="{0DA0BFDC-25D6-467A-BEAC-6EA1594C7AA1}"/>
                  </a:ext>
                </a:extLst>
              </p:cNvPr>
              <p:cNvSpPr>
                <a:spLocks noChangeArrowheads="1"/>
              </p:cNvSpPr>
              <p:nvPr userDrawn="1"/>
            </p:nvSpPr>
            <p:spPr bwMode="gray">
              <a:xfrm>
                <a:off x="9203225" y="5513851"/>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2" name="Oval 151">
                <a:extLst>
                  <a:ext uri="{FF2B5EF4-FFF2-40B4-BE49-F238E27FC236}">
                    <a16:creationId xmlns:a16="http://schemas.microsoft.com/office/drawing/2014/main" id="{42FB13FD-4B6E-408E-87BB-4428866DA91E}"/>
                  </a:ext>
                </a:extLst>
              </p:cNvPr>
              <p:cNvSpPr>
                <a:spLocks noChangeArrowheads="1"/>
              </p:cNvSpPr>
              <p:nvPr userDrawn="1"/>
            </p:nvSpPr>
            <p:spPr bwMode="gray">
              <a:xfrm>
                <a:off x="9203225" y="5653841"/>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3" name="Freeform 29">
                <a:extLst>
                  <a:ext uri="{FF2B5EF4-FFF2-40B4-BE49-F238E27FC236}">
                    <a16:creationId xmlns:a16="http://schemas.microsoft.com/office/drawing/2014/main" id="{E60E6D00-6EBC-4EED-8236-60869A96CC08}"/>
                  </a:ext>
                </a:extLst>
              </p:cNvPr>
              <p:cNvSpPr>
                <a:spLocks/>
              </p:cNvSpPr>
              <p:nvPr userDrawn="1"/>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4" name="Oval 153">
                <a:extLst>
                  <a:ext uri="{FF2B5EF4-FFF2-40B4-BE49-F238E27FC236}">
                    <a16:creationId xmlns:a16="http://schemas.microsoft.com/office/drawing/2014/main" id="{D7053A7D-A954-445C-9A33-F65154711F16}"/>
                  </a:ext>
                </a:extLst>
              </p:cNvPr>
              <p:cNvSpPr>
                <a:spLocks noChangeArrowheads="1"/>
              </p:cNvSpPr>
              <p:nvPr userDrawn="1"/>
            </p:nvSpPr>
            <p:spPr bwMode="gray">
              <a:xfrm>
                <a:off x="9203225" y="579114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5" name="Rectangle 154">
                <a:extLst>
                  <a:ext uri="{FF2B5EF4-FFF2-40B4-BE49-F238E27FC236}">
                    <a16:creationId xmlns:a16="http://schemas.microsoft.com/office/drawing/2014/main" id="{C3BDF2C2-68E2-44CB-93B6-97636E44FFF9}"/>
                  </a:ext>
                </a:extLst>
              </p:cNvPr>
              <p:cNvSpPr>
                <a:spLocks noChangeArrowheads="1"/>
              </p:cNvSpPr>
              <p:nvPr userDrawn="1"/>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6" name="Freeform 32">
                <a:extLst>
                  <a:ext uri="{FF2B5EF4-FFF2-40B4-BE49-F238E27FC236}">
                    <a16:creationId xmlns:a16="http://schemas.microsoft.com/office/drawing/2014/main" id="{1CAB3E5E-A552-4EB1-BC91-AC8CB7FE90D3}"/>
                  </a:ext>
                </a:extLst>
              </p:cNvPr>
              <p:cNvSpPr>
                <a:spLocks/>
              </p:cNvSpPr>
              <p:nvPr userDrawn="1"/>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7" name="Freeform 33">
                <a:extLst>
                  <a:ext uri="{FF2B5EF4-FFF2-40B4-BE49-F238E27FC236}">
                    <a16:creationId xmlns:a16="http://schemas.microsoft.com/office/drawing/2014/main" id="{5BED7802-1E6A-496F-B26E-31C38B70CC09}"/>
                  </a:ext>
                </a:extLst>
              </p:cNvPr>
              <p:cNvSpPr>
                <a:spLocks/>
              </p:cNvSpPr>
              <p:nvPr userDrawn="1"/>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8" name="Freeform 34">
                <a:extLst>
                  <a:ext uri="{FF2B5EF4-FFF2-40B4-BE49-F238E27FC236}">
                    <a16:creationId xmlns:a16="http://schemas.microsoft.com/office/drawing/2014/main" id="{83EA78EA-3763-4F23-80F5-26F93071E0F6}"/>
                  </a:ext>
                </a:extLst>
              </p:cNvPr>
              <p:cNvSpPr>
                <a:spLocks/>
              </p:cNvSpPr>
              <p:nvPr userDrawn="1"/>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9" name="Freeform 35">
                <a:extLst>
                  <a:ext uri="{FF2B5EF4-FFF2-40B4-BE49-F238E27FC236}">
                    <a16:creationId xmlns:a16="http://schemas.microsoft.com/office/drawing/2014/main" id="{E20DF8A3-AEFA-4739-9DFC-A34856ED5A72}"/>
                  </a:ext>
                </a:extLst>
              </p:cNvPr>
              <p:cNvSpPr>
                <a:spLocks/>
              </p:cNvSpPr>
              <p:nvPr userDrawn="1"/>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0" name="Freeform 36">
                <a:extLst>
                  <a:ext uri="{FF2B5EF4-FFF2-40B4-BE49-F238E27FC236}">
                    <a16:creationId xmlns:a16="http://schemas.microsoft.com/office/drawing/2014/main" id="{07FDA66F-DB05-43E9-93B2-AF8D89CC80AD}"/>
                  </a:ext>
                </a:extLst>
              </p:cNvPr>
              <p:cNvSpPr>
                <a:spLocks/>
              </p:cNvSpPr>
              <p:nvPr userDrawn="1"/>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1" name="Freeform 37">
                <a:extLst>
                  <a:ext uri="{FF2B5EF4-FFF2-40B4-BE49-F238E27FC236}">
                    <a16:creationId xmlns:a16="http://schemas.microsoft.com/office/drawing/2014/main" id="{18804C6E-5565-43B5-9430-A852CCCB21EB}"/>
                  </a:ext>
                </a:extLst>
              </p:cNvPr>
              <p:cNvSpPr>
                <a:spLocks/>
              </p:cNvSpPr>
              <p:nvPr userDrawn="1"/>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2" name="Freeform 38">
                <a:extLst>
                  <a:ext uri="{FF2B5EF4-FFF2-40B4-BE49-F238E27FC236}">
                    <a16:creationId xmlns:a16="http://schemas.microsoft.com/office/drawing/2014/main" id="{EDA03021-4FFE-46F5-8401-24206E7EDAB9}"/>
                  </a:ext>
                </a:extLst>
              </p:cNvPr>
              <p:cNvSpPr>
                <a:spLocks/>
              </p:cNvSpPr>
              <p:nvPr userDrawn="1"/>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3" name="Freeform 39">
                <a:extLst>
                  <a:ext uri="{FF2B5EF4-FFF2-40B4-BE49-F238E27FC236}">
                    <a16:creationId xmlns:a16="http://schemas.microsoft.com/office/drawing/2014/main" id="{EB73C8F3-50B8-42DA-918F-DA75F96E0B2E}"/>
                  </a:ext>
                </a:extLst>
              </p:cNvPr>
              <p:cNvSpPr>
                <a:spLocks/>
              </p:cNvSpPr>
              <p:nvPr userDrawn="1"/>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4" name="Oval 163">
                <a:extLst>
                  <a:ext uri="{FF2B5EF4-FFF2-40B4-BE49-F238E27FC236}">
                    <a16:creationId xmlns:a16="http://schemas.microsoft.com/office/drawing/2014/main" id="{82E3E3A3-7F1D-4D49-99D3-3FC6B758BABB}"/>
                  </a:ext>
                </a:extLst>
              </p:cNvPr>
              <p:cNvSpPr>
                <a:spLocks noChangeArrowheads="1"/>
              </p:cNvSpPr>
              <p:nvPr userDrawn="1"/>
            </p:nvSpPr>
            <p:spPr bwMode="gray">
              <a:xfrm>
                <a:off x="9889718" y="499157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5" name="Oval 164">
                <a:extLst>
                  <a:ext uri="{FF2B5EF4-FFF2-40B4-BE49-F238E27FC236}">
                    <a16:creationId xmlns:a16="http://schemas.microsoft.com/office/drawing/2014/main" id="{D551C61D-6B4F-4D78-BF8A-8A72CB0FB5E0}"/>
                  </a:ext>
                </a:extLst>
              </p:cNvPr>
              <p:cNvSpPr>
                <a:spLocks noChangeArrowheads="1"/>
              </p:cNvSpPr>
              <p:nvPr userDrawn="1"/>
            </p:nvSpPr>
            <p:spPr bwMode="gray">
              <a:xfrm>
                <a:off x="9889718" y="5131568"/>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6" name="Oval 165">
                <a:extLst>
                  <a:ext uri="{FF2B5EF4-FFF2-40B4-BE49-F238E27FC236}">
                    <a16:creationId xmlns:a16="http://schemas.microsoft.com/office/drawing/2014/main" id="{B32842AA-2F29-4896-8E5D-1D699A2986FE}"/>
                  </a:ext>
                </a:extLst>
              </p:cNvPr>
              <p:cNvSpPr>
                <a:spLocks noChangeArrowheads="1"/>
              </p:cNvSpPr>
              <p:nvPr userDrawn="1"/>
            </p:nvSpPr>
            <p:spPr bwMode="gray">
              <a:xfrm>
                <a:off x="9889718" y="5268867"/>
                <a:ext cx="45767" cy="45767"/>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7" name="Oval 166">
                <a:extLst>
                  <a:ext uri="{FF2B5EF4-FFF2-40B4-BE49-F238E27FC236}">
                    <a16:creationId xmlns:a16="http://schemas.microsoft.com/office/drawing/2014/main" id="{B08B3597-14BE-48EF-B4F7-5DE170CAFE47}"/>
                  </a:ext>
                </a:extLst>
              </p:cNvPr>
              <p:cNvSpPr>
                <a:spLocks noChangeArrowheads="1"/>
              </p:cNvSpPr>
              <p:nvPr userDrawn="1"/>
            </p:nvSpPr>
            <p:spPr bwMode="gray">
              <a:xfrm>
                <a:off x="9889718" y="5406165"/>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8" name="Oval 167">
                <a:extLst>
                  <a:ext uri="{FF2B5EF4-FFF2-40B4-BE49-F238E27FC236}">
                    <a16:creationId xmlns:a16="http://schemas.microsoft.com/office/drawing/2014/main" id="{AA8800AB-BC0A-4CB7-97A4-423DB152576D}"/>
                  </a:ext>
                </a:extLst>
              </p:cNvPr>
              <p:cNvSpPr>
                <a:spLocks noChangeArrowheads="1"/>
              </p:cNvSpPr>
              <p:nvPr userDrawn="1"/>
            </p:nvSpPr>
            <p:spPr bwMode="gray">
              <a:xfrm>
                <a:off x="9889718" y="5546156"/>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9" name="Oval 168">
                <a:extLst>
                  <a:ext uri="{FF2B5EF4-FFF2-40B4-BE49-F238E27FC236}">
                    <a16:creationId xmlns:a16="http://schemas.microsoft.com/office/drawing/2014/main" id="{B3A2B3B8-B349-4884-96C0-AE3D6F72E775}"/>
                  </a:ext>
                </a:extLst>
              </p:cNvPr>
              <p:cNvSpPr>
                <a:spLocks noChangeArrowheads="1"/>
              </p:cNvSpPr>
              <p:nvPr userDrawn="1"/>
            </p:nvSpPr>
            <p:spPr bwMode="gray">
              <a:xfrm>
                <a:off x="9889718" y="5683456"/>
                <a:ext cx="45767" cy="45767"/>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0" name="Oval 169">
                <a:extLst>
                  <a:ext uri="{FF2B5EF4-FFF2-40B4-BE49-F238E27FC236}">
                    <a16:creationId xmlns:a16="http://schemas.microsoft.com/office/drawing/2014/main" id="{B0969CD2-42F5-43E6-B0E3-CE15146D7467}"/>
                  </a:ext>
                </a:extLst>
              </p:cNvPr>
              <p:cNvSpPr>
                <a:spLocks noChangeArrowheads="1"/>
              </p:cNvSpPr>
              <p:nvPr userDrawn="1"/>
            </p:nvSpPr>
            <p:spPr bwMode="gray">
              <a:xfrm>
                <a:off x="9889718" y="582344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1" name="Oval 170">
                <a:extLst>
                  <a:ext uri="{FF2B5EF4-FFF2-40B4-BE49-F238E27FC236}">
                    <a16:creationId xmlns:a16="http://schemas.microsoft.com/office/drawing/2014/main" id="{851C3F48-37D4-4FB0-86DB-729AC9FCA21B}"/>
                  </a:ext>
                </a:extLst>
              </p:cNvPr>
              <p:cNvSpPr>
                <a:spLocks noChangeArrowheads="1"/>
              </p:cNvSpPr>
              <p:nvPr userDrawn="1"/>
            </p:nvSpPr>
            <p:spPr bwMode="gray">
              <a:xfrm>
                <a:off x="9889718" y="5960744"/>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2" name="Freeform 48">
                <a:extLst>
                  <a:ext uri="{FF2B5EF4-FFF2-40B4-BE49-F238E27FC236}">
                    <a16:creationId xmlns:a16="http://schemas.microsoft.com/office/drawing/2014/main" id="{C250FD83-A98A-4DF7-9BD8-D55E7B840DBB}"/>
                  </a:ext>
                </a:extLst>
              </p:cNvPr>
              <p:cNvSpPr>
                <a:spLocks/>
              </p:cNvSpPr>
              <p:nvPr userDrawn="1"/>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3" name="Oval 172">
                <a:extLst>
                  <a:ext uri="{FF2B5EF4-FFF2-40B4-BE49-F238E27FC236}">
                    <a16:creationId xmlns:a16="http://schemas.microsoft.com/office/drawing/2014/main" id="{659BEBD5-EA6A-4E8B-9323-889F8E4B8BB9}"/>
                  </a:ext>
                </a:extLst>
              </p:cNvPr>
              <p:cNvSpPr>
                <a:spLocks noChangeArrowheads="1"/>
              </p:cNvSpPr>
              <p:nvPr userDrawn="1"/>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4" name="Freeform 50">
                <a:extLst>
                  <a:ext uri="{FF2B5EF4-FFF2-40B4-BE49-F238E27FC236}">
                    <a16:creationId xmlns:a16="http://schemas.microsoft.com/office/drawing/2014/main" id="{817FDE9E-3778-4E09-A941-9D48A5EF5E48}"/>
                  </a:ext>
                </a:extLst>
              </p:cNvPr>
              <p:cNvSpPr>
                <a:spLocks/>
              </p:cNvSpPr>
              <p:nvPr userDrawn="1"/>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5" name="Oval 174">
                <a:extLst>
                  <a:ext uri="{FF2B5EF4-FFF2-40B4-BE49-F238E27FC236}">
                    <a16:creationId xmlns:a16="http://schemas.microsoft.com/office/drawing/2014/main" id="{4FE24D84-C2F1-4C24-BC54-9EBBD689A36E}"/>
                  </a:ext>
                </a:extLst>
              </p:cNvPr>
              <p:cNvSpPr>
                <a:spLocks noChangeArrowheads="1"/>
              </p:cNvSpPr>
              <p:nvPr userDrawn="1"/>
            </p:nvSpPr>
            <p:spPr bwMode="gray">
              <a:xfrm>
                <a:off x="9203225" y="5928439"/>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6" name="Rectangle 175">
                <a:extLst>
                  <a:ext uri="{FF2B5EF4-FFF2-40B4-BE49-F238E27FC236}">
                    <a16:creationId xmlns:a16="http://schemas.microsoft.com/office/drawing/2014/main" id="{E3E5E6A7-2FAB-4DA4-B06B-0A4BC505D39C}"/>
                  </a:ext>
                </a:extLst>
              </p:cNvPr>
              <p:cNvSpPr>
                <a:spLocks noChangeArrowheads="1"/>
              </p:cNvSpPr>
              <p:nvPr userDrawn="1"/>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7" name="Freeform 53">
                <a:extLst>
                  <a:ext uri="{FF2B5EF4-FFF2-40B4-BE49-F238E27FC236}">
                    <a16:creationId xmlns:a16="http://schemas.microsoft.com/office/drawing/2014/main" id="{3CB2F72F-F851-46DA-A8CE-49D1BB5CB919}"/>
                  </a:ext>
                </a:extLst>
              </p:cNvPr>
              <p:cNvSpPr>
                <a:spLocks/>
              </p:cNvSpPr>
              <p:nvPr userDrawn="1"/>
            </p:nvSpPr>
            <p:spPr bwMode="gray">
              <a:xfrm>
                <a:off x="10772739" y="5917670"/>
                <a:ext cx="1243765" cy="621882"/>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8" name="Freeform 55">
                <a:extLst>
                  <a:ext uri="{FF2B5EF4-FFF2-40B4-BE49-F238E27FC236}">
                    <a16:creationId xmlns:a16="http://schemas.microsoft.com/office/drawing/2014/main" id="{59FF6DFA-1E8A-4AC7-922B-99F942329461}"/>
                  </a:ext>
                </a:extLst>
              </p:cNvPr>
              <p:cNvSpPr>
                <a:spLocks/>
              </p:cNvSpPr>
              <p:nvPr userDrawn="1"/>
            </p:nvSpPr>
            <p:spPr bwMode="gray">
              <a:xfrm>
                <a:off x="11198092" y="5990359"/>
                <a:ext cx="1449301" cy="697263"/>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79" name="Freeform 59">
                <a:extLst>
                  <a:ext uri="{FF2B5EF4-FFF2-40B4-BE49-F238E27FC236}">
                    <a16:creationId xmlns:a16="http://schemas.microsoft.com/office/drawing/2014/main" id="{185DF761-F093-4E36-907D-9174624E4409}"/>
                  </a:ext>
                </a:extLst>
              </p:cNvPr>
              <p:cNvSpPr>
                <a:spLocks/>
              </p:cNvSpPr>
              <p:nvPr userDrawn="1"/>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0" name="Freeform 60">
                <a:extLst>
                  <a:ext uri="{FF2B5EF4-FFF2-40B4-BE49-F238E27FC236}">
                    <a16:creationId xmlns:a16="http://schemas.microsoft.com/office/drawing/2014/main" id="{6ECF2FA0-9DBD-4153-949B-15F4594DF27C}"/>
                  </a:ext>
                </a:extLst>
              </p:cNvPr>
              <p:cNvSpPr>
                <a:spLocks/>
              </p:cNvSpPr>
              <p:nvPr userDrawn="1"/>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1" name="Rectangle 180">
                <a:extLst>
                  <a:ext uri="{FF2B5EF4-FFF2-40B4-BE49-F238E27FC236}">
                    <a16:creationId xmlns:a16="http://schemas.microsoft.com/office/drawing/2014/main" id="{CCE4985F-9E71-4741-BAB4-5C4C66D2B747}"/>
                  </a:ext>
                </a:extLst>
              </p:cNvPr>
              <p:cNvSpPr>
                <a:spLocks noChangeArrowheads="1"/>
              </p:cNvSpPr>
              <p:nvPr userDrawn="1"/>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2" name="Freeform 62">
                <a:extLst>
                  <a:ext uri="{FF2B5EF4-FFF2-40B4-BE49-F238E27FC236}">
                    <a16:creationId xmlns:a16="http://schemas.microsoft.com/office/drawing/2014/main" id="{D5575C3B-663D-4C3E-9483-60890AB79F1F}"/>
                  </a:ext>
                </a:extLst>
              </p:cNvPr>
              <p:cNvSpPr>
                <a:spLocks/>
              </p:cNvSpPr>
              <p:nvPr userDrawn="1"/>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83" name="Rectangle 182">
                <a:extLst>
                  <a:ext uri="{FF2B5EF4-FFF2-40B4-BE49-F238E27FC236}">
                    <a16:creationId xmlns:a16="http://schemas.microsoft.com/office/drawing/2014/main" id="{DCDE07CD-DEDA-4964-813B-AB9EBAA7977D}"/>
                  </a:ext>
                </a:extLst>
              </p:cNvPr>
              <p:cNvSpPr>
                <a:spLocks noChangeArrowheads="1"/>
              </p:cNvSpPr>
              <p:nvPr userDrawn="1"/>
            </p:nvSpPr>
            <p:spPr bwMode="gray">
              <a:xfrm>
                <a:off x="10840041" y="5481545"/>
                <a:ext cx="43074" cy="91532"/>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4" name="Freeform 64">
                <a:extLst>
                  <a:ext uri="{FF2B5EF4-FFF2-40B4-BE49-F238E27FC236}">
                    <a16:creationId xmlns:a16="http://schemas.microsoft.com/office/drawing/2014/main" id="{5EE260CD-588F-430E-B153-95DE8669D0B0}"/>
                  </a:ext>
                </a:extLst>
              </p:cNvPr>
              <p:cNvSpPr>
                <a:spLocks/>
              </p:cNvSpPr>
              <p:nvPr userDrawn="1"/>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5" name="Freeform 65">
                <a:extLst>
                  <a:ext uri="{FF2B5EF4-FFF2-40B4-BE49-F238E27FC236}">
                    <a16:creationId xmlns:a16="http://schemas.microsoft.com/office/drawing/2014/main" id="{A6047989-A018-4D66-9A3A-152078DC226E}"/>
                  </a:ext>
                </a:extLst>
              </p:cNvPr>
              <p:cNvSpPr>
                <a:spLocks/>
              </p:cNvSpPr>
              <p:nvPr userDrawn="1"/>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6" name="Rectangle 185">
                <a:extLst>
                  <a:ext uri="{FF2B5EF4-FFF2-40B4-BE49-F238E27FC236}">
                    <a16:creationId xmlns:a16="http://schemas.microsoft.com/office/drawing/2014/main" id="{D21E6A00-9822-4C34-919E-F58D1CB63166}"/>
                  </a:ext>
                </a:extLst>
              </p:cNvPr>
              <p:cNvSpPr>
                <a:spLocks noChangeArrowheads="1"/>
              </p:cNvSpPr>
              <p:nvPr userDrawn="1"/>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7" name="Rectangle 186">
                <a:extLst>
                  <a:ext uri="{FF2B5EF4-FFF2-40B4-BE49-F238E27FC236}">
                    <a16:creationId xmlns:a16="http://schemas.microsoft.com/office/drawing/2014/main" id="{A768C170-5608-4A7D-9041-0358EE20D2CB}"/>
                  </a:ext>
                </a:extLst>
              </p:cNvPr>
              <p:cNvSpPr>
                <a:spLocks noChangeArrowheads="1"/>
              </p:cNvSpPr>
              <p:nvPr userDrawn="1"/>
            </p:nvSpPr>
            <p:spPr bwMode="gray">
              <a:xfrm>
                <a:off x="7943307" y="5048112"/>
                <a:ext cx="43074" cy="91532"/>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8" name="Freeform 68">
                <a:extLst>
                  <a:ext uri="{FF2B5EF4-FFF2-40B4-BE49-F238E27FC236}">
                    <a16:creationId xmlns:a16="http://schemas.microsoft.com/office/drawing/2014/main" id="{06F07A6E-D337-43AB-8AF9-E4C101550EE6}"/>
                  </a:ext>
                </a:extLst>
              </p:cNvPr>
              <p:cNvSpPr>
                <a:spLocks/>
              </p:cNvSpPr>
              <p:nvPr userDrawn="1"/>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9" name="Freeform 69">
                <a:extLst>
                  <a:ext uri="{FF2B5EF4-FFF2-40B4-BE49-F238E27FC236}">
                    <a16:creationId xmlns:a16="http://schemas.microsoft.com/office/drawing/2014/main" id="{37287349-5787-4053-AC21-A26F52056AC4}"/>
                  </a:ext>
                </a:extLst>
              </p:cNvPr>
              <p:cNvSpPr>
                <a:spLocks/>
              </p:cNvSpPr>
              <p:nvPr userDrawn="1"/>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0" name="Freeform 70">
                <a:extLst>
                  <a:ext uri="{FF2B5EF4-FFF2-40B4-BE49-F238E27FC236}">
                    <a16:creationId xmlns:a16="http://schemas.microsoft.com/office/drawing/2014/main" id="{B87D542C-565C-4561-95B2-68D2B3A9E5F3}"/>
                  </a:ext>
                </a:extLst>
              </p:cNvPr>
              <p:cNvSpPr>
                <a:spLocks/>
              </p:cNvSpPr>
              <p:nvPr userDrawn="1"/>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1" name="Rectangle 190">
                <a:extLst>
                  <a:ext uri="{FF2B5EF4-FFF2-40B4-BE49-F238E27FC236}">
                    <a16:creationId xmlns:a16="http://schemas.microsoft.com/office/drawing/2014/main" id="{23A054DE-C47E-48CA-8EFE-0C2222FFD0FE}"/>
                  </a:ext>
                </a:extLst>
              </p:cNvPr>
              <p:cNvSpPr>
                <a:spLocks noChangeArrowheads="1"/>
              </p:cNvSpPr>
              <p:nvPr userDrawn="1"/>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2" name="Freeform 72">
                <a:extLst>
                  <a:ext uri="{FF2B5EF4-FFF2-40B4-BE49-F238E27FC236}">
                    <a16:creationId xmlns:a16="http://schemas.microsoft.com/office/drawing/2014/main" id="{341FF322-BC5B-42F4-9DD5-A2E50AF57B8C}"/>
                  </a:ext>
                </a:extLst>
              </p:cNvPr>
              <p:cNvSpPr>
                <a:spLocks/>
              </p:cNvSpPr>
              <p:nvPr userDrawn="1"/>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3" name="Freeform 73">
                <a:extLst>
                  <a:ext uri="{FF2B5EF4-FFF2-40B4-BE49-F238E27FC236}">
                    <a16:creationId xmlns:a16="http://schemas.microsoft.com/office/drawing/2014/main" id="{9617F793-FEFA-4242-9C3F-F0903FB19846}"/>
                  </a:ext>
                </a:extLst>
              </p:cNvPr>
              <p:cNvSpPr>
                <a:spLocks/>
              </p:cNvSpPr>
              <p:nvPr userDrawn="1"/>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4" name="Rectangle 193">
                <a:extLst>
                  <a:ext uri="{FF2B5EF4-FFF2-40B4-BE49-F238E27FC236}">
                    <a16:creationId xmlns:a16="http://schemas.microsoft.com/office/drawing/2014/main" id="{B4705AD8-E1EA-4149-9C9A-80BC3C256DAB}"/>
                  </a:ext>
                </a:extLst>
              </p:cNvPr>
              <p:cNvSpPr>
                <a:spLocks noChangeArrowheads="1"/>
              </p:cNvSpPr>
              <p:nvPr userDrawn="1"/>
            </p:nvSpPr>
            <p:spPr bwMode="gray">
              <a:xfrm>
                <a:off x="9846644" y="6273032"/>
                <a:ext cx="26921" cy="56536"/>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5" name="Freeform 75">
                <a:extLst>
                  <a:ext uri="{FF2B5EF4-FFF2-40B4-BE49-F238E27FC236}">
                    <a16:creationId xmlns:a16="http://schemas.microsoft.com/office/drawing/2014/main" id="{198A8A7D-80E7-4EC0-975F-88909013E2AF}"/>
                  </a:ext>
                </a:extLst>
              </p:cNvPr>
              <p:cNvSpPr>
                <a:spLocks/>
              </p:cNvSpPr>
              <p:nvPr userDrawn="1"/>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6" name="Rectangle 195">
                <a:extLst>
                  <a:ext uri="{FF2B5EF4-FFF2-40B4-BE49-F238E27FC236}">
                    <a16:creationId xmlns:a16="http://schemas.microsoft.com/office/drawing/2014/main" id="{FA1C93F3-AD43-4DB5-9009-C2ACFDEAEB77}"/>
                  </a:ext>
                </a:extLst>
              </p:cNvPr>
              <p:cNvSpPr>
                <a:spLocks noChangeArrowheads="1"/>
              </p:cNvSpPr>
              <p:nvPr userDrawn="1"/>
            </p:nvSpPr>
            <p:spPr bwMode="gray">
              <a:xfrm>
                <a:off x="10939649" y="4991577"/>
                <a:ext cx="966476" cy="573425"/>
              </a:xfrm>
              <a:prstGeom prst="rect">
                <a:avLst/>
              </a:prstGeom>
              <a:solidFill>
                <a:srgbClr val="D0482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97" name="Freeform 80">
                <a:extLst>
                  <a:ext uri="{FF2B5EF4-FFF2-40B4-BE49-F238E27FC236}">
                    <a16:creationId xmlns:a16="http://schemas.microsoft.com/office/drawing/2014/main" id="{74B00C7E-99CD-4FCE-A6A7-4BE06ED48D92}"/>
                  </a:ext>
                </a:extLst>
              </p:cNvPr>
              <p:cNvSpPr>
                <a:spLocks/>
              </p:cNvSpPr>
              <p:nvPr userDrawn="1"/>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8" name="Rectangle 197">
                <a:extLst>
                  <a:ext uri="{FF2B5EF4-FFF2-40B4-BE49-F238E27FC236}">
                    <a16:creationId xmlns:a16="http://schemas.microsoft.com/office/drawing/2014/main" id="{2FCED436-2699-4DB0-BB3C-DC256BF00A1E}"/>
                  </a:ext>
                </a:extLst>
              </p:cNvPr>
              <p:cNvSpPr>
                <a:spLocks noChangeArrowheads="1"/>
              </p:cNvSpPr>
              <p:nvPr userDrawn="1"/>
            </p:nvSpPr>
            <p:spPr bwMode="gray">
              <a:xfrm>
                <a:off x="9897795" y="6079198"/>
                <a:ext cx="414588" cy="250369"/>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9" name="Freeform 83">
                <a:extLst>
                  <a:ext uri="{FF2B5EF4-FFF2-40B4-BE49-F238E27FC236}">
                    <a16:creationId xmlns:a16="http://schemas.microsoft.com/office/drawing/2014/main" id="{3A6BB825-5756-4932-9507-8568FBA19718}"/>
                  </a:ext>
                </a:extLst>
              </p:cNvPr>
              <p:cNvSpPr>
                <a:spLocks/>
              </p:cNvSpPr>
              <p:nvPr userDrawn="1"/>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0" name="Freeform 84">
                <a:extLst>
                  <a:ext uri="{FF2B5EF4-FFF2-40B4-BE49-F238E27FC236}">
                    <a16:creationId xmlns:a16="http://schemas.microsoft.com/office/drawing/2014/main" id="{03A6645B-523C-47B1-8275-F950000EDCFF}"/>
                  </a:ext>
                </a:extLst>
              </p:cNvPr>
              <p:cNvSpPr>
                <a:spLocks/>
              </p:cNvSpPr>
              <p:nvPr userDrawn="1"/>
            </p:nvSpPr>
            <p:spPr bwMode="gray">
              <a:xfrm>
                <a:off x="6931065" y="4480072"/>
                <a:ext cx="1012242" cy="756489"/>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201" name="Freeform 85">
                <a:extLst>
                  <a:ext uri="{FF2B5EF4-FFF2-40B4-BE49-F238E27FC236}">
                    <a16:creationId xmlns:a16="http://schemas.microsoft.com/office/drawing/2014/main" id="{936F60D5-CC1B-4D00-BF79-25F754DDD6BE}"/>
                  </a:ext>
                </a:extLst>
              </p:cNvPr>
              <p:cNvSpPr>
                <a:spLocks/>
              </p:cNvSpPr>
              <p:nvPr userDrawn="1"/>
            </p:nvSpPr>
            <p:spPr bwMode="gray">
              <a:xfrm>
                <a:off x="7016288" y="4545006"/>
                <a:ext cx="854330" cy="670017"/>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D048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202" name="Freeform 86">
                <a:extLst>
                  <a:ext uri="{FF2B5EF4-FFF2-40B4-BE49-F238E27FC236}">
                    <a16:creationId xmlns:a16="http://schemas.microsoft.com/office/drawing/2014/main" id="{90CD5FD1-B63B-4102-8CBA-E97AEE563D04}"/>
                  </a:ext>
                </a:extLst>
              </p:cNvPr>
              <p:cNvSpPr>
                <a:spLocks/>
              </p:cNvSpPr>
              <p:nvPr userDrawn="1"/>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grpSp>
        <p:pic>
          <p:nvPicPr>
            <p:cNvPr id="90" name="Picture 89">
              <a:extLst>
                <a:ext uri="{FF2B5EF4-FFF2-40B4-BE49-F238E27FC236}">
                  <a16:creationId xmlns:a16="http://schemas.microsoft.com/office/drawing/2014/main" id="{4C5686DA-F56B-43DB-9453-16AE33221C09}"/>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086220" y="4568432"/>
              <a:ext cx="736358" cy="613092"/>
            </a:xfrm>
            <a:prstGeom prst="rect">
              <a:avLst/>
            </a:prstGeom>
          </p:spPr>
        </p:pic>
        <p:pic>
          <p:nvPicPr>
            <p:cNvPr id="91" name="Picture 90">
              <a:extLst>
                <a:ext uri="{FF2B5EF4-FFF2-40B4-BE49-F238E27FC236}">
                  <a16:creationId xmlns:a16="http://schemas.microsoft.com/office/drawing/2014/main" id="{10D246C2-A77A-4920-BEF6-96D92937C8DB}"/>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136377" y="5038107"/>
              <a:ext cx="604035" cy="502920"/>
            </a:xfrm>
            <a:prstGeom prst="rect">
              <a:avLst/>
            </a:prstGeom>
          </p:spPr>
        </p:pic>
        <p:pic>
          <p:nvPicPr>
            <p:cNvPr id="92" name="Picture 91">
              <a:extLst>
                <a:ext uri="{FF2B5EF4-FFF2-40B4-BE49-F238E27FC236}">
                  <a16:creationId xmlns:a16="http://schemas.microsoft.com/office/drawing/2014/main" id="{3C392118-2BFD-45D1-BC3A-1EB1C7A69220}"/>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980500" y="6106350"/>
              <a:ext cx="252597" cy="210312"/>
            </a:xfrm>
            <a:prstGeom prst="rect">
              <a:avLst/>
            </a:prstGeom>
          </p:spPr>
        </p:pic>
      </p:grpSp>
    </p:spTree>
    <p:extLst>
      <p:ext uri="{BB962C8B-B14F-4D97-AF65-F5344CB8AC3E}">
        <p14:creationId xmlns:p14="http://schemas.microsoft.com/office/powerpoint/2010/main" val="42080663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lumMod val="20000"/>
            <a:lumOff val="80000"/>
          </a:schemeClr>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solidFill>
                  <a:schemeClr val="bg1"/>
                </a:soli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solidFill>
                  <a:schemeClr val="bg1"/>
                </a:solidFill>
                <a:latin typeface="+mn-lt"/>
              </a:defRPr>
            </a:lvl1pPr>
          </a:lstStyle>
          <a:p>
            <a:pPr lvl="0"/>
            <a:r>
              <a:rPr lang="en-US" dirty="0"/>
              <a:t>Speaker name</a:t>
            </a:r>
          </a:p>
        </p:txBody>
      </p:sp>
      <p:pic>
        <p:nvPicPr>
          <p:cNvPr id="140" name="Picture 13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48212" y="471692"/>
            <a:ext cx="1454257" cy="304828"/>
          </a:xfrm>
          <a:prstGeom prst="rect">
            <a:avLst/>
          </a:prstGeom>
        </p:spPr>
      </p:pic>
      <p:grpSp>
        <p:nvGrpSpPr>
          <p:cNvPr id="84" name="Group 83">
            <a:extLst>
              <a:ext uri="{FF2B5EF4-FFF2-40B4-BE49-F238E27FC236}">
                <a16:creationId xmlns:a16="http://schemas.microsoft.com/office/drawing/2014/main" id="{BF4FFA89-795E-43B8-85B7-FABF3B9711F8}"/>
              </a:ext>
            </a:extLst>
          </p:cNvPr>
          <p:cNvGrpSpPr/>
          <p:nvPr userDrawn="1"/>
        </p:nvGrpSpPr>
        <p:grpSpPr>
          <a:xfrm>
            <a:off x="5468357" y="4139517"/>
            <a:ext cx="6723644" cy="2716134"/>
            <a:chOff x="5789470" y="4224320"/>
            <a:chExt cx="6858467" cy="2770205"/>
          </a:xfrm>
        </p:grpSpPr>
        <p:grpSp>
          <p:nvGrpSpPr>
            <p:cNvPr id="85" name="Group 84">
              <a:extLst>
                <a:ext uri="{FF2B5EF4-FFF2-40B4-BE49-F238E27FC236}">
                  <a16:creationId xmlns:a16="http://schemas.microsoft.com/office/drawing/2014/main" id="{29CF6A4C-EA8D-47D1-BB6B-F0CEC66F2B20}"/>
                </a:ext>
              </a:extLst>
            </p:cNvPr>
            <p:cNvGrpSpPr>
              <a:grpSpLocks noChangeAspect="1"/>
            </p:cNvGrpSpPr>
            <p:nvPr userDrawn="1"/>
          </p:nvGrpSpPr>
          <p:grpSpPr bwMode="gray">
            <a:xfrm>
              <a:off x="5789470" y="4224320"/>
              <a:ext cx="6858467" cy="2770205"/>
              <a:chOff x="5788926" y="4224320"/>
              <a:chExt cx="6858467" cy="2770205"/>
            </a:xfrm>
          </p:grpSpPr>
          <p:sp>
            <p:nvSpPr>
              <p:cNvPr id="105" name="Freeform: Shape 104">
                <a:extLst>
                  <a:ext uri="{FF2B5EF4-FFF2-40B4-BE49-F238E27FC236}">
                    <a16:creationId xmlns:a16="http://schemas.microsoft.com/office/drawing/2014/main" id="{07E49067-2015-4111-87A6-CCFC76CADAA6}"/>
                  </a:ext>
                </a:extLst>
              </p:cNvPr>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6" name="Freeform 6">
                <a:extLst>
                  <a:ext uri="{FF2B5EF4-FFF2-40B4-BE49-F238E27FC236}">
                    <a16:creationId xmlns:a16="http://schemas.microsoft.com/office/drawing/2014/main" id="{D6707352-8833-45B4-A771-4F993026B302}"/>
                  </a:ext>
                </a:extLst>
              </p:cNvPr>
              <p:cNvSpPr>
                <a:spLocks/>
              </p:cNvSpPr>
              <p:nvPr userDrawn="1"/>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07" name="Rectangle 106">
                <a:extLst>
                  <a:ext uri="{FF2B5EF4-FFF2-40B4-BE49-F238E27FC236}">
                    <a16:creationId xmlns:a16="http://schemas.microsoft.com/office/drawing/2014/main" id="{7FA0ED32-FD72-4027-81AF-0E4195806012}"/>
                  </a:ext>
                </a:extLst>
              </p:cNvPr>
              <p:cNvSpPr>
                <a:spLocks noChangeArrowheads="1"/>
              </p:cNvSpPr>
              <p:nvPr userDrawn="1"/>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8" name="Rectangle 107">
                <a:extLst>
                  <a:ext uri="{FF2B5EF4-FFF2-40B4-BE49-F238E27FC236}">
                    <a16:creationId xmlns:a16="http://schemas.microsoft.com/office/drawing/2014/main" id="{52ADBFE1-44AF-4836-98C1-330BE5B48AA5}"/>
                  </a:ext>
                </a:extLst>
              </p:cNvPr>
              <p:cNvSpPr>
                <a:spLocks noChangeArrowheads="1"/>
              </p:cNvSpPr>
              <p:nvPr userDrawn="1"/>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9" name="Rectangle 108">
                <a:extLst>
                  <a:ext uri="{FF2B5EF4-FFF2-40B4-BE49-F238E27FC236}">
                    <a16:creationId xmlns:a16="http://schemas.microsoft.com/office/drawing/2014/main" id="{3CD942FB-E00E-473C-A0AB-B061FC554009}"/>
                  </a:ext>
                </a:extLst>
              </p:cNvPr>
              <p:cNvSpPr>
                <a:spLocks noChangeArrowheads="1"/>
              </p:cNvSpPr>
              <p:nvPr userDrawn="1"/>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0" name="Rectangle 109">
                <a:extLst>
                  <a:ext uri="{FF2B5EF4-FFF2-40B4-BE49-F238E27FC236}">
                    <a16:creationId xmlns:a16="http://schemas.microsoft.com/office/drawing/2014/main" id="{2F3C4DBD-1DA7-4090-90A3-61562410BA99}"/>
                  </a:ext>
                </a:extLst>
              </p:cNvPr>
              <p:cNvSpPr>
                <a:spLocks noChangeArrowheads="1"/>
              </p:cNvSpPr>
              <p:nvPr userDrawn="1"/>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1" name="Rectangle 110">
                <a:extLst>
                  <a:ext uri="{FF2B5EF4-FFF2-40B4-BE49-F238E27FC236}">
                    <a16:creationId xmlns:a16="http://schemas.microsoft.com/office/drawing/2014/main" id="{13B43C7E-BA9C-470E-9913-B6EFB8D77B11}"/>
                  </a:ext>
                </a:extLst>
              </p:cNvPr>
              <p:cNvSpPr>
                <a:spLocks noChangeArrowheads="1"/>
              </p:cNvSpPr>
              <p:nvPr userDrawn="1"/>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2" name="Rectangle 111">
                <a:extLst>
                  <a:ext uri="{FF2B5EF4-FFF2-40B4-BE49-F238E27FC236}">
                    <a16:creationId xmlns:a16="http://schemas.microsoft.com/office/drawing/2014/main" id="{0BE2E7D2-B949-4C28-A7EA-D6BC639D46C7}"/>
                  </a:ext>
                </a:extLst>
              </p:cNvPr>
              <p:cNvSpPr>
                <a:spLocks noChangeArrowheads="1"/>
              </p:cNvSpPr>
              <p:nvPr userDrawn="1"/>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3" name="Freeform 13">
                <a:extLst>
                  <a:ext uri="{FF2B5EF4-FFF2-40B4-BE49-F238E27FC236}">
                    <a16:creationId xmlns:a16="http://schemas.microsoft.com/office/drawing/2014/main" id="{A76693C3-91FB-408D-9A90-F247A4607301}"/>
                  </a:ext>
                </a:extLst>
              </p:cNvPr>
              <p:cNvSpPr>
                <a:spLocks/>
              </p:cNvSpPr>
              <p:nvPr userDrawn="1"/>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4" name="Freeform 14">
                <a:extLst>
                  <a:ext uri="{FF2B5EF4-FFF2-40B4-BE49-F238E27FC236}">
                    <a16:creationId xmlns:a16="http://schemas.microsoft.com/office/drawing/2014/main" id="{CF1EE443-3533-449F-BED7-CBDE15BECFDA}"/>
                  </a:ext>
                </a:extLst>
              </p:cNvPr>
              <p:cNvSpPr>
                <a:spLocks/>
              </p:cNvSpPr>
              <p:nvPr userDrawn="1"/>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5" name="Freeform 15">
                <a:extLst>
                  <a:ext uri="{FF2B5EF4-FFF2-40B4-BE49-F238E27FC236}">
                    <a16:creationId xmlns:a16="http://schemas.microsoft.com/office/drawing/2014/main" id="{84CB7160-DC3E-452E-A079-6A97A8706506}"/>
                  </a:ext>
                </a:extLst>
              </p:cNvPr>
              <p:cNvSpPr>
                <a:spLocks/>
              </p:cNvSpPr>
              <p:nvPr userDrawn="1"/>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6" name="Freeform 16">
                <a:extLst>
                  <a:ext uri="{FF2B5EF4-FFF2-40B4-BE49-F238E27FC236}">
                    <a16:creationId xmlns:a16="http://schemas.microsoft.com/office/drawing/2014/main" id="{5BF7EEA6-98D7-4454-B558-AC435CBAE0F4}"/>
                  </a:ext>
                </a:extLst>
              </p:cNvPr>
              <p:cNvSpPr>
                <a:spLocks/>
              </p:cNvSpPr>
              <p:nvPr userDrawn="1"/>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7" name="Freeform 17">
                <a:extLst>
                  <a:ext uri="{FF2B5EF4-FFF2-40B4-BE49-F238E27FC236}">
                    <a16:creationId xmlns:a16="http://schemas.microsoft.com/office/drawing/2014/main" id="{7B6EA853-5276-4192-8922-48BDA1179F76}"/>
                  </a:ext>
                </a:extLst>
              </p:cNvPr>
              <p:cNvSpPr>
                <a:spLocks/>
              </p:cNvSpPr>
              <p:nvPr userDrawn="1"/>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8" name="Freeform 18">
                <a:extLst>
                  <a:ext uri="{FF2B5EF4-FFF2-40B4-BE49-F238E27FC236}">
                    <a16:creationId xmlns:a16="http://schemas.microsoft.com/office/drawing/2014/main" id="{625072AF-6045-4772-ACE3-BC13609C4EDC}"/>
                  </a:ext>
                </a:extLst>
              </p:cNvPr>
              <p:cNvSpPr>
                <a:spLocks/>
              </p:cNvSpPr>
              <p:nvPr userDrawn="1"/>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9" name="Freeform 19">
                <a:extLst>
                  <a:ext uri="{FF2B5EF4-FFF2-40B4-BE49-F238E27FC236}">
                    <a16:creationId xmlns:a16="http://schemas.microsoft.com/office/drawing/2014/main" id="{FAB411EF-BF99-4B57-8015-1D269AA8D04F}"/>
                  </a:ext>
                </a:extLst>
              </p:cNvPr>
              <p:cNvSpPr>
                <a:spLocks/>
              </p:cNvSpPr>
              <p:nvPr userDrawn="1"/>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0" name="Freeform 20">
                <a:extLst>
                  <a:ext uri="{FF2B5EF4-FFF2-40B4-BE49-F238E27FC236}">
                    <a16:creationId xmlns:a16="http://schemas.microsoft.com/office/drawing/2014/main" id="{36C2CCBA-1CFF-4944-86C1-B0124E6236F3}"/>
                  </a:ext>
                </a:extLst>
              </p:cNvPr>
              <p:cNvSpPr>
                <a:spLocks/>
              </p:cNvSpPr>
              <p:nvPr userDrawn="1"/>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1" name="Oval 120">
                <a:extLst>
                  <a:ext uri="{FF2B5EF4-FFF2-40B4-BE49-F238E27FC236}">
                    <a16:creationId xmlns:a16="http://schemas.microsoft.com/office/drawing/2014/main" id="{E133476F-9F16-4147-8CD9-9E82A178A622}"/>
                  </a:ext>
                </a:extLst>
              </p:cNvPr>
              <p:cNvSpPr>
                <a:spLocks noChangeArrowheads="1"/>
              </p:cNvSpPr>
              <p:nvPr userDrawn="1"/>
            </p:nvSpPr>
            <p:spPr bwMode="gray">
              <a:xfrm>
                <a:off x="9203225" y="468198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2" name="Oval 121">
                <a:extLst>
                  <a:ext uri="{FF2B5EF4-FFF2-40B4-BE49-F238E27FC236}">
                    <a16:creationId xmlns:a16="http://schemas.microsoft.com/office/drawing/2014/main" id="{B8BB756D-4A5D-45FF-BD4B-83A20BBA6E94}"/>
                  </a:ext>
                </a:extLst>
              </p:cNvPr>
              <p:cNvSpPr>
                <a:spLocks noChangeArrowheads="1"/>
              </p:cNvSpPr>
              <p:nvPr userDrawn="1"/>
            </p:nvSpPr>
            <p:spPr bwMode="gray">
              <a:xfrm>
                <a:off x="9203225" y="4821973"/>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3" name="Oval 122">
                <a:extLst>
                  <a:ext uri="{FF2B5EF4-FFF2-40B4-BE49-F238E27FC236}">
                    <a16:creationId xmlns:a16="http://schemas.microsoft.com/office/drawing/2014/main" id="{90E1DF8E-5AA0-422D-8A69-275009B5AB33}"/>
                  </a:ext>
                </a:extLst>
              </p:cNvPr>
              <p:cNvSpPr>
                <a:spLocks noChangeArrowheads="1"/>
              </p:cNvSpPr>
              <p:nvPr userDrawn="1"/>
            </p:nvSpPr>
            <p:spPr bwMode="gray">
              <a:xfrm>
                <a:off x="9203225" y="495927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4" name="Oval 123">
                <a:extLst>
                  <a:ext uri="{FF2B5EF4-FFF2-40B4-BE49-F238E27FC236}">
                    <a16:creationId xmlns:a16="http://schemas.microsoft.com/office/drawing/2014/main" id="{E9E94F92-6CD0-4927-97DE-BE9BB6B49C9F}"/>
                  </a:ext>
                </a:extLst>
              </p:cNvPr>
              <p:cNvSpPr>
                <a:spLocks noChangeArrowheads="1"/>
              </p:cNvSpPr>
              <p:nvPr userDrawn="1"/>
            </p:nvSpPr>
            <p:spPr bwMode="gray">
              <a:xfrm>
                <a:off x="9203225" y="509926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5" name="Freeform 25">
                <a:extLst>
                  <a:ext uri="{FF2B5EF4-FFF2-40B4-BE49-F238E27FC236}">
                    <a16:creationId xmlns:a16="http://schemas.microsoft.com/office/drawing/2014/main" id="{B0C32388-E63D-4F00-89FE-901D2328EF80}"/>
                  </a:ext>
                </a:extLst>
              </p:cNvPr>
              <p:cNvSpPr>
                <a:spLocks/>
              </p:cNvSpPr>
              <p:nvPr userDrawn="1"/>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6" name="Oval 125">
                <a:extLst>
                  <a:ext uri="{FF2B5EF4-FFF2-40B4-BE49-F238E27FC236}">
                    <a16:creationId xmlns:a16="http://schemas.microsoft.com/office/drawing/2014/main" id="{200FBD76-D01A-4830-80FB-B8064C445570}"/>
                  </a:ext>
                </a:extLst>
              </p:cNvPr>
              <p:cNvSpPr>
                <a:spLocks noChangeArrowheads="1"/>
              </p:cNvSpPr>
              <p:nvPr userDrawn="1"/>
            </p:nvSpPr>
            <p:spPr bwMode="gray">
              <a:xfrm>
                <a:off x="9203225" y="5376553"/>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7" name="Oval 126">
                <a:extLst>
                  <a:ext uri="{FF2B5EF4-FFF2-40B4-BE49-F238E27FC236}">
                    <a16:creationId xmlns:a16="http://schemas.microsoft.com/office/drawing/2014/main" id="{B009D1F5-E20D-49D8-8007-2F7803DAD522}"/>
                  </a:ext>
                </a:extLst>
              </p:cNvPr>
              <p:cNvSpPr>
                <a:spLocks noChangeArrowheads="1"/>
              </p:cNvSpPr>
              <p:nvPr userDrawn="1"/>
            </p:nvSpPr>
            <p:spPr bwMode="gray">
              <a:xfrm>
                <a:off x="9203225" y="5513851"/>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8" name="Oval 127">
                <a:extLst>
                  <a:ext uri="{FF2B5EF4-FFF2-40B4-BE49-F238E27FC236}">
                    <a16:creationId xmlns:a16="http://schemas.microsoft.com/office/drawing/2014/main" id="{BD17296F-6915-44B1-9996-C6E071B8CCD3}"/>
                  </a:ext>
                </a:extLst>
              </p:cNvPr>
              <p:cNvSpPr>
                <a:spLocks noChangeArrowheads="1"/>
              </p:cNvSpPr>
              <p:nvPr userDrawn="1"/>
            </p:nvSpPr>
            <p:spPr bwMode="gray">
              <a:xfrm>
                <a:off x="9203225" y="5653841"/>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9" name="Freeform 29">
                <a:extLst>
                  <a:ext uri="{FF2B5EF4-FFF2-40B4-BE49-F238E27FC236}">
                    <a16:creationId xmlns:a16="http://schemas.microsoft.com/office/drawing/2014/main" id="{5B28EC39-A532-47B3-890B-553DC54042C0}"/>
                  </a:ext>
                </a:extLst>
              </p:cNvPr>
              <p:cNvSpPr>
                <a:spLocks/>
              </p:cNvSpPr>
              <p:nvPr userDrawn="1"/>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0" name="Oval 129">
                <a:extLst>
                  <a:ext uri="{FF2B5EF4-FFF2-40B4-BE49-F238E27FC236}">
                    <a16:creationId xmlns:a16="http://schemas.microsoft.com/office/drawing/2014/main" id="{298C44C9-DC33-48F9-807D-4C234D94B6E2}"/>
                  </a:ext>
                </a:extLst>
              </p:cNvPr>
              <p:cNvSpPr>
                <a:spLocks noChangeArrowheads="1"/>
              </p:cNvSpPr>
              <p:nvPr userDrawn="1"/>
            </p:nvSpPr>
            <p:spPr bwMode="gray">
              <a:xfrm>
                <a:off x="9203225" y="579114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1" name="Rectangle 130">
                <a:extLst>
                  <a:ext uri="{FF2B5EF4-FFF2-40B4-BE49-F238E27FC236}">
                    <a16:creationId xmlns:a16="http://schemas.microsoft.com/office/drawing/2014/main" id="{D31604B1-6DBC-4F97-91AE-2F3DE9FCB48B}"/>
                  </a:ext>
                </a:extLst>
              </p:cNvPr>
              <p:cNvSpPr>
                <a:spLocks noChangeArrowheads="1"/>
              </p:cNvSpPr>
              <p:nvPr userDrawn="1"/>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2" name="Freeform 32">
                <a:extLst>
                  <a:ext uri="{FF2B5EF4-FFF2-40B4-BE49-F238E27FC236}">
                    <a16:creationId xmlns:a16="http://schemas.microsoft.com/office/drawing/2014/main" id="{66A12D6F-6C94-4C64-8D84-1A3B2AACF43A}"/>
                  </a:ext>
                </a:extLst>
              </p:cNvPr>
              <p:cNvSpPr>
                <a:spLocks/>
              </p:cNvSpPr>
              <p:nvPr userDrawn="1"/>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3" name="Freeform 33">
                <a:extLst>
                  <a:ext uri="{FF2B5EF4-FFF2-40B4-BE49-F238E27FC236}">
                    <a16:creationId xmlns:a16="http://schemas.microsoft.com/office/drawing/2014/main" id="{0D2F2149-BDE6-4BF3-991E-7217F42C61E5}"/>
                  </a:ext>
                </a:extLst>
              </p:cNvPr>
              <p:cNvSpPr>
                <a:spLocks/>
              </p:cNvSpPr>
              <p:nvPr userDrawn="1"/>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4" name="Freeform 34">
                <a:extLst>
                  <a:ext uri="{FF2B5EF4-FFF2-40B4-BE49-F238E27FC236}">
                    <a16:creationId xmlns:a16="http://schemas.microsoft.com/office/drawing/2014/main" id="{C292AAA7-F304-4EF3-B1BA-8B5DF6B9444C}"/>
                  </a:ext>
                </a:extLst>
              </p:cNvPr>
              <p:cNvSpPr>
                <a:spLocks/>
              </p:cNvSpPr>
              <p:nvPr userDrawn="1"/>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5" name="Freeform 35">
                <a:extLst>
                  <a:ext uri="{FF2B5EF4-FFF2-40B4-BE49-F238E27FC236}">
                    <a16:creationId xmlns:a16="http://schemas.microsoft.com/office/drawing/2014/main" id="{B7A46C54-6A2E-4D56-8693-9DEBB9AA8E19}"/>
                  </a:ext>
                </a:extLst>
              </p:cNvPr>
              <p:cNvSpPr>
                <a:spLocks/>
              </p:cNvSpPr>
              <p:nvPr userDrawn="1"/>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6" name="Freeform 36">
                <a:extLst>
                  <a:ext uri="{FF2B5EF4-FFF2-40B4-BE49-F238E27FC236}">
                    <a16:creationId xmlns:a16="http://schemas.microsoft.com/office/drawing/2014/main" id="{616BF060-C9F0-418D-B281-6643D35A6D93}"/>
                  </a:ext>
                </a:extLst>
              </p:cNvPr>
              <p:cNvSpPr>
                <a:spLocks/>
              </p:cNvSpPr>
              <p:nvPr userDrawn="1"/>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7" name="Freeform 37">
                <a:extLst>
                  <a:ext uri="{FF2B5EF4-FFF2-40B4-BE49-F238E27FC236}">
                    <a16:creationId xmlns:a16="http://schemas.microsoft.com/office/drawing/2014/main" id="{100D0C59-1E16-4721-BD9D-F73A7646309E}"/>
                  </a:ext>
                </a:extLst>
              </p:cNvPr>
              <p:cNvSpPr>
                <a:spLocks/>
              </p:cNvSpPr>
              <p:nvPr userDrawn="1"/>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8" name="Freeform 38">
                <a:extLst>
                  <a:ext uri="{FF2B5EF4-FFF2-40B4-BE49-F238E27FC236}">
                    <a16:creationId xmlns:a16="http://schemas.microsoft.com/office/drawing/2014/main" id="{3BA12027-65FD-407B-A394-1A2F7E53407B}"/>
                  </a:ext>
                </a:extLst>
              </p:cNvPr>
              <p:cNvSpPr>
                <a:spLocks/>
              </p:cNvSpPr>
              <p:nvPr userDrawn="1"/>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9" name="Freeform 39">
                <a:extLst>
                  <a:ext uri="{FF2B5EF4-FFF2-40B4-BE49-F238E27FC236}">
                    <a16:creationId xmlns:a16="http://schemas.microsoft.com/office/drawing/2014/main" id="{B8C6639B-F6F2-404A-9560-301C2153E7B8}"/>
                  </a:ext>
                </a:extLst>
              </p:cNvPr>
              <p:cNvSpPr>
                <a:spLocks/>
              </p:cNvSpPr>
              <p:nvPr userDrawn="1"/>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4" name="Oval 203">
                <a:extLst>
                  <a:ext uri="{FF2B5EF4-FFF2-40B4-BE49-F238E27FC236}">
                    <a16:creationId xmlns:a16="http://schemas.microsoft.com/office/drawing/2014/main" id="{EC1D0F84-9D85-4BFB-A883-B59BBD8F8BF1}"/>
                  </a:ext>
                </a:extLst>
              </p:cNvPr>
              <p:cNvSpPr>
                <a:spLocks noChangeArrowheads="1"/>
              </p:cNvSpPr>
              <p:nvPr userDrawn="1"/>
            </p:nvSpPr>
            <p:spPr bwMode="gray">
              <a:xfrm>
                <a:off x="9889718" y="499157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5" name="Oval 204">
                <a:extLst>
                  <a:ext uri="{FF2B5EF4-FFF2-40B4-BE49-F238E27FC236}">
                    <a16:creationId xmlns:a16="http://schemas.microsoft.com/office/drawing/2014/main" id="{E2F5B9D1-EB17-4164-801A-92ADB5C4F80A}"/>
                  </a:ext>
                </a:extLst>
              </p:cNvPr>
              <p:cNvSpPr>
                <a:spLocks noChangeArrowheads="1"/>
              </p:cNvSpPr>
              <p:nvPr userDrawn="1"/>
            </p:nvSpPr>
            <p:spPr bwMode="gray">
              <a:xfrm>
                <a:off x="9889718" y="5131568"/>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6" name="Oval 205">
                <a:extLst>
                  <a:ext uri="{FF2B5EF4-FFF2-40B4-BE49-F238E27FC236}">
                    <a16:creationId xmlns:a16="http://schemas.microsoft.com/office/drawing/2014/main" id="{9B47DD14-99BA-4EF4-AC87-5B0C01108B56}"/>
                  </a:ext>
                </a:extLst>
              </p:cNvPr>
              <p:cNvSpPr>
                <a:spLocks noChangeArrowheads="1"/>
              </p:cNvSpPr>
              <p:nvPr userDrawn="1"/>
            </p:nvSpPr>
            <p:spPr bwMode="gray">
              <a:xfrm>
                <a:off x="9889718" y="5268867"/>
                <a:ext cx="45767" cy="45767"/>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7" name="Oval 206">
                <a:extLst>
                  <a:ext uri="{FF2B5EF4-FFF2-40B4-BE49-F238E27FC236}">
                    <a16:creationId xmlns:a16="http://schemas.microsoft.com/office/drawing/2014/main" id="{10BAD1F4-D4F2-41DA-ACF2-A0661C4033C5}"/>
                  </a:ext>
                </a:extLst>
              </p:cNvPr>
              <p:cNvSpPr>
                <a:spLocks noChangeArrowheads="1"/>
              </p:cNvSpPr>
              <p:nvPr userDrawn="1"/>
            </p:nvSpPr>
            <p:spPr bwMode="gray">
              <a:xfrm>
                <a:off x="9889718" y="5406165"/>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8" name="Oval 207">
                <a:extLst>
                  <a:ext uri="{FF2B5EF4-FFF2-40B4-BE49-F238E27FC236}">
                    <a16:creationId xmlns:a16="http://schemas.microsoft.com/office/drawing/2014/main" id="{4B620D4F-3351-498C-8EEE-8B748C87E007}"/>
                  </a:ext>
                </a:extLst>
              </p:cNvPr>
              <p:cNvSpPr>
                <a:spLocks noChangeArrowheads="1"/>
              </p:cNvSpPr>
              <p:nvPr userDrawn="1"/>
            </p:nvSpPr>
            <p:spPr bwMode="gray">
              <a:xfrm>
                <a:off x="9889718" y="5546156"/>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9" name="Oval 208">
                <a:extLst>
                  <a:ext uri="{FF2B5EF4-FFF2-40B4-BE49-F238E27FC236}">
                    <a16:creationId xmlns:a16="http://schemas.microsoft.com/office/drawing/2014/main" id="{46F86BA7-2A1F-4803-8C4B-F4BC296BC331}"/>
                  </a:ext>
                </a:extLst>
              </p:cNvPr>
              <p:cNvSpPr>
                <a:spLocks noChangeArrowheads="1"/>
              </p:cNvSpPr>
              <p:nvPr userDrawn="1"/>
            </p:nvSpPr>
            <p:spPr bwMode="gray">
              <a:xfrm>
                <a:off x="9889718" y="5683456"/>
                <a:ext cx="45767" cy="45767"/>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0" name="Oval 209">
                <a:extLst>
                  <a:ext uri="{FF2B5EF4-FFF2-40B4-BE49-F238E27FC236}">
                    <a16:creationId xmlns:a16="http://schemas.microsoft.com/office/drawing/2014/main" id="{A126117B-0F68-4F08-86FE-FF7B94607E34}"/>
                  </a:ext>
                </a:extLst>
              </p:cNvPr>
              <p:cNvSpPr>
                <a:spLocks noChangeArrowheads="1"/>
              </p:cNvSpPr>
              <p:nvPr userDrawn="1"/>
            </p:nvSpPr>
            <p:spPr bwMode="gray">
              <a:xfrm>
                <a:off x="9889718" y="582344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1" name="Oval 210">
                <a:extLst>
                  <a:ext uri="{FF2B5EF4-FFF2-40B4-BE49-F238E27FC236}">
                    <a16:creationId xmlns:a16="http://schemas.microsoft.com/office/drawing/2014/main" id="{9DEA3DAF-A00E-465A-8CA0-585F016DE435}"/>
                  </a:ext>
                </a:extLst>
              </p:cNvPr>
              <p:cNvSpPr>
                <a:spLocks noChangeArrowheads="1"/>
              </p:cNvSpPr>
              <p:nvPr userDrawn="1"/>
            </p:nvSpPr>
            <p:spPr bwMode="gray">
              <a:xfrm>
                <a:off x="9889718" y="5960744"/>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2" name="Freeform 48">
                <a:extLst>
                  <a:ext uri="{FF2B5EF4-FFF2-40B4-BE49-F238E27FC236}">
                    <a16:creationId xmlns:a16="http://schemas.microsoft.com/office/drawing/2014/main" id="{DB731475-4ACE-49FC-A06A-26A2DBD2E2B7}"/>
                  </a:ext>
                </a:extLst>
              </p:cNvPr>
              <p:cNvSpPr>
                <a:spLocks/>
              </p:cNvSpPr>
              <p:nvPr userDrawn="1"/>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3" name="Oval 212">
                <a:extLst>
                  <a:ext uri="{FF2B5EF4-FFF2-40B4-BE49-F238E27FC236}">
                    <a16:creationId xmlns:a16="http://schemas.microsoft.com/office/drawing/2014/main" id="{415180BA-F6CC-4589-B6CD-AD8B6C0187E3}"/>
                  </a:ext>
                </a:extLst>
              </p:cNvPr>
              <p:cNvSpPr>
                <a:spLocks noChangeArrowheads="1"/>
              </p:cNvSpPr>
              <p:nvPr userDrawn="1"/>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4" name="Freeform 50">
                <a:extLst>
                  <a:ext uri="{FF2B5EF4-FFF2-40B4-BE49-F238E27FC236}">
                    <a16:creationId xmlns:a16="http://schemas.microsoft.com/office/drawing/2014/main" id="{00934AA7-9AFA-4A8F-9599-7EE7E7BEE4B4}"/>
                  </a:ext>
                </a:extLst>
              </p:cNvPr>
              <p:cNvSpPr>
                <a:spLocks/>
              </p:cNvSpPr>
              <p:nvPr userDrawn="1"/>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5" name="Oval 214">
                <a:extLst>
                  <a:ext uri="{FF2B5EF4-FFF2-40B4-BE49-F238E27FC236}">
                    <a16:creationId xmlns:a16="http://schemas.microsoft.com/office/drawing/2014/main" id="{5983D2C9-AEC3-4B77-9D9C-4964ED348EB2}"/>
                  </a:ext>
                </a:extLst>
              </p:cNvPr>
              <p:cNvSpPr>
                <a:spLocks noChangeArrowheads="1"/>
              </p:cNvSpPr>
              <p:nvPr userDrawn="1"/>
            </p:nvSpPr>
            <p:spPr bwMode="gray">
              <a:xfrm>
                <a:off x="9203225" y="5928439"/>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6" name="Rectangle 215">
                <a:extLst>
                  <a:ext uri="{FF2B5EF4-FFF2-40B4-BE49-F238E27FC236}">
                    <a16:creationId xmlns:a16="http://schemas.microsoft.com/office/drawing/2014/main" id="{E75C1618-629C-4678-B021-1C0BDC6AF20C}"/>
                  </a:ext>
                </a:extLst>
              </p:cNvPr>
              <p:cNvSpPr>
                <a:spLocks noChangeArrowheads="1"/>
              </p:cNvSpPr>
              <p:nvPr userDrawn="1"/>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7" name="Freeform 53">
                <a:extLst>
                  <a:ext uri="{FF2B5EF4-FFF2-40B4-BE49-F238E27FC236}">
                    <a16:creationId xmlns:a16="http://schemas.microsoft.com/office/drawing/2014/main" id="{ECCD201F-F199-443B-A7D7-200EBAD7F188}"/>
                  </a:ext>
                </a:extLst>
              </p:cNvPr>
              <p:cNvSpPr>
                <a:spLocks/>
              </p:cNvSpPr>
              <p:nvPr userDrawn="1"/>
            </p:nvSpPr>
            <p:spPr bwMode="gray">
              <a:xfrm>
                <a:off x="10772739" y="5917670"/>
                <a:ext cx="1243765" cy="621882"/>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8" name="Freeform 55">
                <a:extLst>
                  <a:ext uri="{FF2B5EF4-FFF2-40B4-BE49-F238E27FC236}">
                    <a16:creationId xmlns:a16="http://schemas.microsoft.com/office/drawing/2014/main" id="{99ED4EDB-7B4F-493C-9110-DD0E70BFDCBE}"/>
                  </a:ext>
                </a:extLst>
              </p:cNvPr>
              <p:cNvSpPr>
                <a:spLocks/>
              </p:cNvSpPr>
              <p:nvPr userDrawn="1"/>
            </p:nvSpPr>
            <p:spPr bwMode="gray">
              <a:xfrm>
                <a:off x="11198092" y="5990359"/>
                <a:ext cx="1449301" cy="697263"/>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219" name="Freeform 59">
                <a:extLst>
                  <a:ext uri="{FF2B5EF4-FFF2-40B4-BE49-F238E27FC236}">
                    <a16:creationId xmlns:a16="http://schemas.microsoft.com/office/drawing/2014/main" id="{5DCA8E3F-F279-4C4A-8AEB-F375720E4FD6}"/>
                  </a:ext>
                </a:extLst>
              </p:cNvPr>
              <p:cNvSpPr>
                <a:spLocks/>
              </p:cNvSpPr>
              <p:nvPr userDrawn="1"/>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0" name="Freeform 60">
                <a:extLst>
                  <a:ext uri="{FF2B5EF4-FFF2-40B4-BE49-F238E27FC236}">
                    <a16:creationId xmlns:a16="http://schemas.microsoft.com/office/drawing/2014/main" id="{07F6B0B1-F79F-42EA-A36B-2779B9BF3F9D}"/>
                  </a:ext>
                </a:extLst>
              </p:cNvPr>
              <p:cNvSpPr>
                <a:spLocks/>
              </p:cNvSpPr>
              <p:nvPr userDrawn="1"/>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1" name="Rectangle 220">
                <a:extLst>
                  <a:ext uri="{FF2B5EF4-FFF2-40B4-BE49-F238E27FC236}">
                    <a16:creationId xmlns:a16="http://schemas.microsoft.com/office/drawing/2014/main" id="{6787C03D-400C-41A0-B7D6-72F9CB892ACD}"/>
                  </a:ext>
                </a:extLst>
              </p:cNvPr>
              <p:cNvSpPr>
                <a:spLocks noChangeArrowheads="1"/>
              </p:cNvSpPr>
              <p:nvPr userDrawn="1"/>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2" name="Freeform 62">
                <a:extLst>
                  <a:ext uri="{FF2B5EF4-FFF2-40B4-BE49-F238E27FC236}">
                    <a16:creationId xmlns:a16="http://schemas.microsoft.com/office/drawing/2014/main" id="{5ACCDD62-87D1-4818-931E-57EB35E5E300}"/>
                  </a:ext>
                </a:extLst>
              </p:cNvPr>
              <p:cNvSpPr>
                <a:spLocks/>
              </p:cNvSpPr>
              <p:nvPr userDrawn="1"/>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223" name="Rectangle 222">
                <a:extLst>
                  <a:ext uri="{FF2B5EF4-FFF2-40B4-BE49-F238E27FC236}">
                    <a16:creationId xmlns:a16="http://schemas.microsoft.com/office/drawing/2014/main" id="{7063E912-BDFD-4128-BFAD-ED8B207E9497}"/>
                  </a:ext>
                </a:extLst>
              </p:cNvPr>
              <p:cNvSpPr>
                <a:spLocks noChangeArrowheads="1"/>
              </p:cNvSpPr>
              <p:nvPr userDrawn="1"/>
            </p:nvSpPr>
            <p:spPr bwMode="gray">
              <a:xfrm>
                <a:off x="10840041" y="5481545"/>
                <a:ext cx="43074" cy="91532"/>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4" name="Freeform 64">
                <a:extLst>
                  <a:ext uri="{FF2B5EF4-FFF2-40B4-BE49-F238E27FC236}">
                    <a16:creationId xmlns:a16="http://schemas.microsoft.com/office/drawing/2014/main" id="{AB931F5B-55D6-46DF-83E6-D0411A084AE1}"/>
                  </a:ext>
                </a:extLst>
              </p:cNvPr>
              <p:cNvSpPr>
                <a:spLocks/>
              </p:cNvSpPr>
              <p:nvPr userDrawn="1"/>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5" name="Freeform 65">
                <a:extLst>
                  <a:ext uri="{FF2B5EF4-FFF2-40B4-BE49-F238E27FC236}">
                    <a16:creationId xmlns:a16="http://schemas.microsoft.com/office/drawing/2014/main" id="{F4B08B96-CDA2-4528-8F40-6E9C089E20B7}"/>
                  </a:ext>
                </a:extLst>
              </p:cNvPr>
              <p:cNvSpPr>
                <a:spLocks/>
              </p:cNvSpPr>
              <p:nvPr userDrawn="1"/>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6" name="Rectangle 225">
                <a:extLst>
                  <a:ext uri="{FF2B5EF4-FFF2-40B4-BE49-F238E27FC236}">
                    <a16:creationId xmlns:a16="http://schemas.microsoft.com/office/drawing/2014/main" id="{607FCEC3-32EF-4BE6-AF58-22B3AB421046}"/>
                  </a:ext>
                </a:extLst>
              </p:cNvPr>
              <p:cNvSpPr>
                <a:spLocks noChangeArrowheads="1"/>
              </p:cNvSpPr>
              <p:nvPr userDrawn="1"/>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7" name="Rectangle 226">
                <a:extLst>
                  <a:ext uri="{FF2B5EF4-FFF2-40B4-BE49-F238E27FC236}">
                    <a16:creationId xmlns:a16="http://schemas.microsoft.com/office/drawing/2014/main" id="{3946A66F-84B9-4824-909F-8D3FE781ED7D}"/>
                  </a:ext>
                </a:extLst>
              </p:cNvPr>
              <p:cNvSpPr>
                <a:spLocks noChangeArrowheads="1"/>
              </p:cNvSpPr>
              <p:nvPr userDrawn="1"/>
            </p:nvSpPr>
            <p:spPr bwMode="gray">
              <a:xfrm>
                <a:off x="7943307" y="5048112"/>
                <a:ext cx="43074" cy="91532"/>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8" name="Freeform 68">
                <a:extLst>
                  <a:ext uri="{FF2B5EF4-FFF2-40B4-BE49-F238E27FC236}">
                    <a16:creationId xmlns:a16="http://schemas.microsoft.com/office/drawing/2014/main" id="{DB8D30D0-9FFD-4163-A947-3717DC9CA45D}"/>
                  </a:ext>
                </a:extLst>
              </p:cNvPr>
              <p:cNvSpPr>
                <a:spLocks/>
              </p:cNvSpPr>
              <p:nvPr userDrawn="1"/>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9" name="Freeform 69">
                <a:extLst>
                  <a:ext uri="{FF2B5EF4-FFF2-40B4-BE49-F238E27FC236}">
                    <a16:creationId xmlns:a16="http://schemas.microsoft.com/office/drawing/2014/main" id="{6D2E9102-75E6-46A6-B593-59E00BE640BB}"/>
                  </a:ext>
                </a:extLst>
              </p:cNvPr>
              <p:cNvSpPr>
                <a:spLocks/>
              </p:cNvSpPr>
              <p:nvPr userDrawn="1"/>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0" name="Freeform 70">
                <a:extLst>
                  <a:ext uri="{FF2B5EF4-FFF2-40B4-BE49-F238E27FC236}">
                    <a16:creationId xmlns:a16="http://schemas.microsoft.com/office/drawing/2014/main" id="{5C50B6D6-D92D-4FB5-8C6D-FB17C7C25C42}"/>
                  </a:ext>
                </a:extLst>
              </p:cNvPr>
              <p:cNvSpPr>
                <a:spLocks/>
              </p:cNvSpPr>
              <p:nvPr userDrawn="1"/>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1" name="Rectangle 230">
                <a:extLst>
                  <a:ext uri="{FF2B5EF4-FFF2-40B4-BE49-F238E27FC236}">
                    <a16:creationId xmlns:a16="http://schemas.microsoft.com/office/drawing/2014/main" id="{1B351706-DB5C-4497-B457-A3950EA48875}"/>
                  </a:ext>
                </a:extLst>
              </p:cNvPr>
              <p:cNvSpPr>
                <a:spLocks noChangeArrowheads="1"/>
              </p:cNvSpPr>
              <p:nvPr userDrawn="1"/>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2" name="Freeform 72">
                <a:extLst>
                  <a:ext uri="{FF2B5EF4-FFF2-40B4-BE49-F238E27FC236}">
                    <a16:creationId xmlns:a16="http://schemas.microsoft.com/office/drawing/2014/main" id="{A2E6EFE7-48C5-43C5-AD3B-BEF071E06897}"/>
                  </a:ext>
                </a:extLst>
              </p:cNvPr>
              <p:cNvSpPr>
                <a:spLocks/>
              </p:cNvSpPr>
              <p:nvPr userDrawn="1"/>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3" name="Freeform 73">
                <a:extLst>
                  <a:ext uri="{FF2B5EF4-FFF2-40B4-BE49-F238E27FC236}">
                    <a16:creationId xmlns:a16="http://schemas.microsoft.com/office/drawing/2014/main" id="{7E4016BF-3E4F-4B72-A4B2-3C11F55487BF}"/>
                  </a:ext>
                </a:extLst>
              </p:cNvPr>
              <p:cNvSpPr>
                <a:spLocks/>
              </p:cNvSpPr>
              <p:nvPr userDrawn="1"/>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4" name="Rectangle 233">
                <a:extLst>
                  <a:ext uri="{FF2B5EF4-FFF2-40B4-BE49-F238E27FC236}">
                    <a16:creationId xmlns:a16="http://schemas.microsoft.com/office/drawing/2014/main" id="{19A9635F-AA77-466F-A3F5-70ED184F2066}"/>
                  </a:ext>
                </a:extLst>
              </p:cNvPr>
              <p:cNvSpPr>
                <a:spLocks noChangeArrowheads="1"/>
              </p:cNvSpPr>
              <p:nvPr userDrawn="1"/>
            </p:nvSpPr>
            <p:spPr bwMode="gray">
              <a:xfrm>
                <a:off x="9846644" y="6273032"/>
                <a:ext cx="26921" cy="56536"/>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5" name="Freeform 75">
                <a:extLst>
                  <a:ext uri="{FF2B5EF4-FFF2-40B4-BE49-F238E27FC236}">
                    <a16:creationId xmlns:a16="http://schemas.microsoft.com/office/drawing/2014/main" id="{D2F0FCAF-D9AA-4598-B6B8-B3D8CED12466}"/>
                  </a:ext>
                </a:extLst>
              </p:cNvPr>
              <p:cNvSpPr>
                <a:spLocks/>
              </p:cNvSpPr>
              <p:nvPr userDrawn="1"/>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6" name="Rectangle 235">
                <a:extLst>
                  <a:ext uri="{FF2B5EF4-FFF2-40B4-BE49-F238E27FC236}">
                    <a16:creationId xmlns:a16="http://schemas.microsoft.com/office/drawing/2014/main" id="{183C8235-2FD9-47BB-9D91-A293067540B9}"/>
                  </a:ext>
                </a:extLst>
              </p:cNvPr>
              <p:cNvSpPr>
                <a:spLocks noChangeArrowheads="1"/>
              </p:cNvSpPr>
              <p:nvPr userDrawn="1"/>
            </p:nvSpPr>
            <p:spPr bwMode="gray">
              <a:xfrm>
                <a:off x="10939649" y="4991577"/>
                <a:ext cx="966476" cy="573425"/>
              </a:xfrm>
              <a:prstGeom prst="rect">
                <a:avLst/>
              </a:prstGeom>
              <a:solidFill>
                <a:srgbClr val="D0482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237" name="Freeform 80">
                <a:extLst>
                  <a:ext uri="{FF2B5EF4-FFF2-40B4-BE49-F238E27FC236}">
                    <a16:creationId xmlns:a16="http://schemas.microsoft.com/office/drawing/2014/main" id="{985B5663-2DB1-46D8-BAC4-2524871106F0}"/>
                  </a:ext>
                </a:extLst>
              </p:cNvPr>
              <p:cNvSpPr>
                <a:spLocks/>
              </p:cNvSpPr>
              <p:nvPr userDrawn="1"/>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8" name="Rectangle 237">
                <a:extLst>
                  <a:ext uri="{FF2B5EF4-FFF2-40B4-BE49-F238E27FC236}">
                    <a16:creationId xmlns:a16="http://schemas.microsoft.com/office/drawing/2014/main" id="{6FD613C3-40D6-40E1-8F37-F1CDD12EBFDC}"/>
                  </a:ext>
                </a:extLst>
              </p:cNvPr>
              <p:cNvSpPr>
                <a:spLocks noChangeArrowheads="1"/>
              </p:cNvSpPr>
              <p:nvPr userDrawn="1"/>
            </p:nvSpPr>
            <p:spPr bwMode="gray">
              <a:xfrm>
                <a:off x="9897795" y="6079198"/>
                <a:ext cx="414588" cy="250369"/>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9" name="Freeform 83">
                <a:extLst>
                  <a:ext uri="{FF2B5EF4-FFF2-40B4-BE49-F238E27FC236}">
                    <a16:creationId xmlns:a16="http://schemas.microsoft.com/office/drawing/2014/main" id="{C197F68C-359F-40FB-97EC-4B7675F4410E}"/>
                  </a:ext>
                </a:extLst>
              </p:cNvPr>
              <p:cNvSpPr>
                <a:spLocks/>
              </p:cNvSpPr>
              <p:nvPr userDrawn="1"/>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40" name="Freeform 84">
                <a:extLst>
                  <a:ext uri="{FF2B5EF4-FFF2-40B4-BE49-F238E27FC236}">
                    <a16:creationId xmlns:a16="http://schemas.microsoft.com/office/drawing/2014/main" id="{DDD2FA0C-A12A-47E8-9CD6-341E72AA5A02}"/>
                  </a:ext>
                </a:extLst>
              </p:cNvPr>
              <p:cNvSpPr>
                <a:spLocks/>
              </p:cNvSpPr>
              <p:nvPr userDrawn="1"/>
            </p:nvSpPr>
            <p:spPr bwMode="gray">
              <a:xfrm>
                <a:off x="6931065" y="4480072"/>
                <a:ext cx="1012242" cy="756489"/>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241" name="Freeform 85">
                <a:extLst>
                  <a:ext uri="{FF2B5EF4-FFF2-40B4-BE49-F238E27FC236}">
                    <a16:creationId xmlns:a16="http://schemas.microsoft.com/office/drawing/2014/main" id="{925F5F78-DD94-48E7-86AA-54266C964DE9}"/>
                  </a:ext>
                </a:extLst>
              </p:cNvPr>
              <p:cNvSpPr>
                <a:spLocks/>
              </p:cNvSpPr>
              <p:nvPr userDrawn="1"/>
            </p:nvSpPr>
            <p:spPr bwMode="gray">
              <a:xfrm>
                <a:off x="7016288" y="4545006"/>
                <a:ext cx="854330" cy="670017"/>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D048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242" name="Freeform 86">
                <a:extLst>
                  <a:ext uri="{FF2B5EF4-FFF2-40B4-BE49-F238E27FC236}">
                    <a16:creationId xmlns:a16="http://schemas.microsoft.com/office/drawing/2014/main" id="{3A8FE7F3-E5DA-495F-A11B-FF2072CA829E}"/>
                  </a:ext>
                </a:extLst>
              </p:cNvPr>
              <p:cNvSpPr>
                <a:spLocks/>
              </p:cNvSpPr>
              <p:nvPr userDrawn="1"/>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grpSp>
        <p:pic>
          <p:nvPicPr>
            <p:cNvPr id="86" name="Picture 85">
              <a:extLst>
                <a:ext uri="{FF2B5EF4-FFF2-40B4-BE49-F238E27FC236}">
                  <a16:creationId xmlns:a16="http://schemas.microsoft.com/office/drawing/2014/main" id="{46FDB8A5-F07D-418B-B49D-426F2C370A6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086220" y="4568432"/>
              <a:ext cx="736358" cy="613092"/>
            </a:xfrm>
            <a:prstGeom prst="rect">
              <a:avLst/>
            </a:prstGeom>
          </p:spPr>
        </p:pic>
        <p:pic>
          <p:nvPicPr>
            <p:cNvPr id="87" name="Picture 86">
              <a:extLst>
                <a:ext uri="{FF2B5EF4-FFF2-40B4-BE49-F238E27FC236}">
                  <a16:creationId xmlns:a16="http://schemas.microsoft.com/office/drawing/2014/main" id="{77429991-F7EA-48DC-95B5-112281448DC0}"/>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136377" y="5038107"/>
              <a:ext cx="604035" cy="502920"/>
            </a:xfrm>
            <a:prstGeom prst="rect">
              <a:avLst/>
            </a:prstGeom>
          </p:spPr>
        </p:pic>
        <p:pic>
          <p:nvPicPr>
            <p:cNvPr id="104" name="Picture 103">
              <a:extLst>
                <a:ext uri="{FF2B5EF4-FFF2-40B4-BE49-F238E27FC236}">
                  <a16:creationId xmlns:a16="http://schemas.microsoft.com/office/drawing/2014/main" id="{A53321D3-0CFC-412A-9DF8-210DC852B4F9}"/>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980500" y="6106350"/>
              <a:ext cx="252597" cy="210312"/>
            </a:xfrm>
            <a:prstGeom prst="rect">
              <a:avLst/>
            </a:prstGeom>
          </p:spPr>
        </p:pic>
      </p:grpSp>
    </p:spTree>
    <p:extLst>
      <p:ext uri="{BB962C8B-B14F-4D97-AF65-F5344CB8AC3E}">
        <p14:creationId xmlns:p14="http://schemas.microsoft.com/office/powerpoint/2010/main" val="26787502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itle square photo">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sp>
        <p:nvSpPr>
          <p:cNvPr id="8" name="Rectangle 7"/>
          <p:cNvSpPr/>
          <p:nvPr userDrawn="1"/>
        </p:nvSpPr>
        <p:spPr bwMode="gray">
          <a:xfrm>
            <a:off x="5547610" y="0"/>
            <a:ext cx="6857027" cy="6858000"/>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4013" y="470067"/>
            <a:ext cx="1423303" cy="304828"/>
          </a:xfrm>
          <a:prstGeom prst="rect">
            <a:avLst/>
          </a:prstGeom>
        </p:spPr>
      </p:pic>
    </p:spTree>
    <p:extLst>
      <p:ext uri="{BB962C8B-B14F-4D97-AF65-F5344CB8AC3E}">
        <p14:creationId xmlns:p14="http://schemas.microsoft.com/office/powerpoint/2010/main" val="41151540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solidFill>
                  <a:schemeClr val="tx1"/>
                </a:solidFill>
              </a:defRPr>
            </a:lvl1pPr>
            <a:lvl2pPr marL="224097" indent="0">
              <a:buNone/>
              <a:defRPr>
                <a:solidFill>
                  <a:schemeClr val="tx1"/>
                </a:solidFill>
              </a:defRPr>
            </a:lvl2pPr>
            <a:lvl3pPr marL="448193" indent="0">
              <a:buNone/>
              <a:defRPr>
                <a:solidFill>
                  <a:schemeClr val="tx1"/>
                </a:solidFill>
              </a:defRPr>
            </a:lvl3pPr>
            <a:lvl4pPr marL="672290" indent="0">
              <a:buNone/>
              <a:defRPr>
                <a:solidFill>
                  <a:schemeClr val="tx1"/>
                </a:solidFill>
              </a:defRPr>
            </a:lvl4pPr>
            <a:lvl5pPr marL="896386" indent="0">
              <a:buNone/>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09826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8997057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326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24891132"/>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solidFill>
                  <a:schemeClr val="tx1"/>
                </a:solidFill>
                <a:latin typeface="+mn-lt"/>
              </a:defRPr>
            </a:lvl1pPr>
            <a:lvl2pPr marL="250553" indent="0">
              <a:buFont typeface="Wingdings" panose="05000000000000000000" pitchFamily="2" charset="2"/>
              <a:buNone/>
              <a:defRPr sz="2353" b="0">
                <a:solidFill>
                  <a:schemeClr val="tx1"/>
                </a:solidFill>
              </a:defRPr>
            </a:lvl2pPr>
            <a:lvl3pPr marL="441968" indent="0">
              <a:buFont typeface="Wingdings" panose="05000000000000000000" pitchFamily="2" charset="2"/>
              <a:buNone/>
              <a:tabLst/>
              <a:defRPr sz="2157" b="0">
                <a:solidFill>
                  <a:schemeClr val="tx1"/>
                </a:solidFill>
              </a:defRPr>
            </a:lvl3pPr>
            <a:lvl4pPr marL="639608" indent="0">
              <a:buFont typeface="Wingdings" panose="05000000000000000000" pitchFamily="2" charset="2"/>
              <a:buNone/>
              <a:defRPr sz="2157" b="0">
                <a:solidFill>
                  <a:schemeClr val="tx1"/>
                </a:solidFill>
              </a:defRPr>
            </a:lvl4pPr>
            <a:lvl5pPr marL="837250" indent="0">
              <a:buFont typeface="Wingdings" panose="05000000000000000000" pitchFamily="2" charset="2"/>
              <a:buNone/>
              <a:tabLst/>
              <a:defRPr sz="2157" b="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5"/>
            <a:ext cx="5378548" cy="2414153"/>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solidFill>
                  <a:schemeClr val="tx1"/>
                </a:solidFill>
                <a:latin typeface="+mn-lt"/>
                <a:ea typeface="+mn-ea"/>
                <a:cs typeface="+mn-cs"/>
              </a:defRPr>
            </a:lvl1pPr>
            <a:lvl2pPr marL="250553" indent="0">
              <a:buFont typeface="Arial" panose="020B0604020202020204" pitchFamily="34" charset="0"/>
              <a:buNone/>
              <a:defRPr lang="en-US" sz="2353" b="0" kern="1200" spc="0" baseline="0" dirty="0">
                <a:solidFill>
                  <a:schemeClr val="tx1"/>
                </a:solidFill>
                <a:latin typeface="+mn-lt"/>
                <a:ea typeface="+mn-ea"/>
                <a:cs typeface="+mn-cs"/>
              </a:defRPr>
            </a:lvl2pPr>
            <a:lvl3pPr marL="441968" indent="0">
              <a:buFont typeface="Arial" panose="020B0604020202020204" pitchFamily="34" charset="0"/>
              <a:buNone/>
              <a:tabLst/>
              <a:defRPr lang="en-US" sz="2157" b="0" kern="1200" spc="0" baseline="0" dirty="0">
                <a:solidFill>
                  <a:schemeClr val="tx1"/>
                </a:solidFill>
                <a:latin typeface="+mn-lt"/>
                <a:ea typeface="+mn-ea"/>
                <a:cs typeface="+mn-cs"/>
              </a:defRPr>
            </a:lvl3pPr>
            <a:lvl4pPr marL="639608" indent="0">
              <a:buFont typeface="Arial" panose="020B0604020202020204" pitchFamily="34" charset="0"/>
              <a:buNone/>
              <a:defRPr lang="en-US" sz="2157" b="0" kern="1200" spc="0" baseline="0" dirty="0">
                <a:solidFill>
                  <a:schemeClr val="tx1"/>
                </a:solidFill>
                <a:latin typeface="+mn-lt"/>
                <a:ea typeface="+mn-ea"/>
                <a:cs typeface="+mn-cs"/>
              </a:defRPr>
            </a:lvl4pPr>
            <a:lvl5pPr marL="837250" indent="0">
              <a:buFont typeface="Arial" panose="020B0604020202020204" pitchFamily="34" charset="0"/>
              <a:buNone/>
              <a:tabLst/>
              <a:defRPr lang="en-US" sz="2157" b="0" kern="1200" spc="0" baseline="0" dirty="0">
                <a:solidFill>
                  <a:schemeClr val="tx1"/>
                </a:soli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880586037"/>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solidFill>
                  <a:schemeClr val="tx1"/>
                </a:solidFill>
                <a:latin typeface="+mn-lt"/>
              </a:defRPr>
            </a:lvl1pPr>
            <a:lvl2pPr marL="418625" indent="-168072">
              <a:buFont typeface="Wingdings" panose="05000000000000000000" pitchFamily="2" charset="2"/>
              <a:buChar char=""/>
              <a:defRPr sz="2353" b="0">
                <a:solidFill>
                  <a:schemeClr val="tx1"/>
                </a:solidFill>
              </a:defRPr>
            </a:lvl2pPr>
            <a:lvl3pPr marL="627160" indent="-185191">
              <a:buFont typeface="Wingdings" panose="05000000000000000000" pitchFamily="2" charset="2"/>
              <a:buChar char=""/>
              <a:tabLst/>
              <a:defRPr sz="2157" b="0">
                <a:solidFill>
                  <a:schemeClr val="tx1"/>
                </a:solidFill>
              </a:defRPr>
            </a:lvl3pPr>
            <a:lvl4pPr marL="812350" indent="-172742">
              <a:buFont typeface="Wingdings" panose="05000000000000000000" pitchFamily="2" charset="2"/>
              <a:buChar char=""/>
              <a:defRPr sz="2157" b="0">
                <a:solidFill>
                  <a:schemeClr val="tx1"/>
                </a:solidFill>
              </a:defRPr>
            </a:lvl4pPr>
            <a:lvl5pPr marL="1003766" indent="-166517">
              <a:buFont typeface="Wingdings" panose="05000000000000000000" pitchFamily="2" charset="2"/>
              <a:buChar char=""/>
              <a:tabLst/>
              <a:defRPr sz="2157" b="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5"/>
            <a:ext cx="5378548" cy="2414153"/>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solidFill>
                  <a:schemeClr val="tx1"/>
                </a:solidFill>
                <a:latin typeface="+mn-lt"/>
                <a:ea typeface="+mn-ea"/>
                <a:cs typeface="+mn-cs"/>
              </a:defRPr>
            </a:lvl1pPr>
            <a:lvl2pPr marL="586698" indent="-336145">
              <a:defRPr lang="en-US" sz="2353" b="0" kern="1200" spc="0" baseline="0" dirty="0">
                <a:solidFill>
                  <a:schemeClr val="tx1"/>
                </a:solidFill>
                <a:latin typeface="+mn-lt"/>
                <a:ea typeface="+mn-ea"/>
                <a:cs typeface="+mn-cs"/>
              </a:defRPr>
            </a:lvl2pPr>
            <a:lvl3pPr marL="778113" indent="-336145">
              <a:tabLst/>
              <a:defRPr lang="en-US" sz="2157" b="0" kern="1200" spc="0" baseline="0" dirty="0">
                <a:solidFill>
                  <a:schemeClr val="tx1"/>
                </a:solidFill>
                <a:latin typeface="+mn-lt"/>
                <a:ea typeface="+mn-ea"/>
                <a:cs typeface="+mn-cs"/>
              </a:defRPr>
            </a:lvl3pPr>
            <a:lvl4pPr marL="975753" indent="-336145">
              <a:defRPr lang="en-US" sz="2157" b="0" kern="1200" spc="0" baseline="0" dirty="0">
                <a:solidFill>
                  <a:schemeClr val="tx1"/>
                </a:solidFill>
                <a:latin typeface="+mn-lt"/>
                <a:ea typeface="+mn-ea"/>
                <a:cs typeface="+mn-cs"/>
              </a:defRPr>
            </a:lvl4pPr>
            <a:lvl5pPr marL="1173395" indent="-336145">
              <a:tabLst/>
              <a:defRPr lang="en-US" sz="2157" b="0" kern="1200" spc="0" baseline="0" dirty="0">
                <a:solidFill>
                  <a:schemeClr val="tx1"/>
                </a:soli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1420299158"/>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763931672"/>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grpSp>
        <p:nvGrpSpPr>
          <p:cNvPr id="83" name="Group 82">
            <a:extLst>
              <a:ext uri="{FF2B5EF4-FFF2-40B4-BE49-F238E27FC236}">
                <a16:creationId xmlns:a16="http://schemas.microsoft.com/office/drawing/2014/main" id="{59A2C86A-7EAC-4D4F-8B16-57793A5D3C0B}"/>
              </a:ext>
            </a:extLst>
          </p:cNvPr>
          <p:cNvGrpSpPr/>
          <p:nvPr userDrawn="1"/>
        </p:nvGrpSpPr>
        <p:grpSpPr>
          <a:xfrm>
            <a:off x="5468357" y="4139517"/>
            <a:ext cx="6723644" cy="2716134"/>
            <a:chOff x="5789470" y="4224320"/>
            <a:chExt cx="6858467" cy="2770205"/>
          </a:xfrm>
        </p:grpSpPr>
        <p:grpSp>
          <p:nvGrpSpPr>
            <p:cNvPr id="84" name="Group 83">
              <a:extLst>
                <a:ext uri="{FF2B5EF4-FFF2-40B4-BE49-F238E27FC236}">
                  <a16:creationId xmlns:a16="http://schemas.microsoft.com/office/drawing/2014/main" id="{3FE489B8-1AF6-4600-9E80-7F3BBD376DAE}"/>
                </a:ext>
              </a:extLst>
            </p:cNvPr>
            <p:cNvGrpSpPr>
              <a:grpSpLocks noChangeAspect="1"/>
            </p:cNvGrpSpPr>
            <p:nvPr userDrawn="1"/>
          </p:nvGrpSpPr>
          <p:grpSpPr bwMode="gray">
            <a:xfrm>
              <a:off x="5789470" y="4224320"/>
              <a:ext cx="6858467" cy="2770205"/>
              <a:chOff x="5788926" y="4224320"/>
              <a:chExt cx="6858467" cy="2770205"/>
            </a:xfrm>
          </p:grpSpPr>
          <p:sp>
            <p:nvSpPr>
              <p:cNvPr id="88" name="Freeform: Shape 87">
                <a:extLst>
                  <a:ext uri="{FF2B5EF4-FFF2-40B4-BE49-F238E27FC236}">
                    <a16:creationId xmlns:a16="http://schemas.microsoft.com/office/drawing/2014/main" id="{511D0668-C2D5-49A4-95C6-2876A90160DF}"/>
                  </a:ext>
                </a:extLst>
              </p:cNvPr>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9" name="Freeform 6">
                <a:extLst>
                  <a:ext uri="{FF2B5EF4-FFF2-40B4-BE49-F238E27FC236}">
                    <a16:creationId xmlns:a16="http://schemas.microsoft.com/office/drawing/2014/main" id="{7F83AA1D-90D4-4C4D-A636-4B7678F1FC01}"/>
                  </a:ext>
                </a:extLst>
              </p:cNvPr>
              <p:cNvSpPr>
                <a:spLocks/>
              </p:cNvSpPr>
              <p:nvPr userDrawn="1"/>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90" name="Rectangle 89">
                <a:extLst>
                  <a:ext uri="{FF2B5EF4-FFF2-40B4-BE49-F238E27FC236}">
                    <a16:creationId xmlns:a16="http://schemas.microsoft.com/office/drawing/2014/main" id="{4A9108CE-BDAB-4166-8EC8-EF20C9BA1E7A}"/>
                  </a:ext>
                </a:extLst>
              </p:cNvPr>
              <p:cNvSpPr>
                <a:spLocks noChangeArrowheads="1"/>
              </p:cNvSpPr>
              <p:nvPr userDrawn="1"/>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1" name="Rectangle 90">
                <a:extLst>
                  <a:ext uri="{FF2B5EF4-FFF2-40B4-BE49-F238E27FC236}">
                    <a16:creationId xmlns:a16="http://schemas.microsoft.com/office/drawing/2014/main" id="{4EFE87EC-D69B-4F02-A1C4-1ADA933D6D5C}"/>
                  </a:ext>
                </a:extLst>
              </p:cNvPr>
              <p:cNvSpPr>
                <a:spLocks noChangeArrowheads="1"/>
              </p:cNvSpPr>
              <p:nvPr userDrawn="1"/>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2" name="Rectangle 91">
                <a:extLst>
                  <a:ext uri="{FF2B5EF4-FFF2-40B4-BE49-F238E27FC236}">
                    <a16:creationId xmlns:a16="http://schemas.microsoft.com/office/drawing/2014/main" id="{E8E252F3-06A3-4BF0-81D8-A640F731BEA2}"/>
                  </a:ext>
                </a:extLst>
              </p:cNvPr>
              <p:cNvSpPr>
                <a:spLocks noChangeArrowheads="1"/>
              </p:cNvSpPr>
              <p:nvPr userDrawn="1"/>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3" name="Rectangle 92">
                <a:extLst>
                  <a:ext uri="{FF2B5EF4-FFF2-40B4-BE49-F238E27FC236}">
                    <a16:creationId xmlns:a16="http://schemas.microsoft.com/office/drawing/2014/main" id="{764EF321-FFF0-43E1-9980-B6FBDA9B60C1}"/>
                  </a:ext>
                </a:extLst>
              </p:cNvPr>
              <p:cNvSpPr>
                <a:spLocks noChangeArrowheads="1"/>
              </p:cNvSpPr>
              <p:nvPr userDrawn="1"/>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4" name="Rectangle 93">
                <a:extLst>
                  <a:ext uri="{FF2B5EF4-FFF2-40B4-BE49-F238E27FC236}">
                    <a16:creationId xmlns:a16="http://schemas.microsoft.com/office/drawing/2014/main" id="{B0328D1B-6D4A-4A3D-BD0F-85E38F25DC3D}"/>
                  </a:ext>
                </a:extLst>
              </p:cNvPr>
              <p:cNvSpPr>
                <a:spLocks noChangeArrowheads="1"/>
              </p:cNvSpPr>
              <p:nvPr userDrawn="1"/>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5" name="Rectangle 94">
                <a:extLst>
                  <a:ext uri="{FF2B5EF4-FFF2-40B4-BE49-F238E27FC236}">
                    <a16:creationId xmlns:a16="http://schemas.microsoft.com/office/drawing/2014/main" id="{8A527ADA-E713-4837-8513-74FF1584FC1A}"/>
                  </a:ext>
                </a:extLst>
              </p:cNvPr>
              <p:cNvSpPr>
                <a:spLocks noChangeArrowheads="1"/>
              </p:cNvSpPr>
              <p:nvPr userDrawn="1"/>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6" name="Freeform 13">
                <a:extLst>
                  <a:ext uri="{FF2B5EF4-FFF2-40B4-BE49-F238E27FC236}">
                    <a16:creationId xmlns:a16="http://schemas.microsoft.com/office/drawing/2014/main" id="{BD4F5580-D9B0-4FFF-BA03-CCF92BCA7069}"/>
                  </a:ext>
                </a:extLst>
              </p:cNvPr>
              <p:cNvSpPr>
                <a:spLocks/>
              </p:cNvSpPr>
              <p:nvPr userDrawn="1"/>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7" name="Freeform 14">
                <a:extLst>
                  <a:ext uri="{FF2B5EF4-FFF2-40B4-BE49-F238E27FC236}">
                    <a16:creationId xmlns:a16="http://schemas.microsoft.com/office/drawing/2014/main" id="{CEC3CE8E-09FC-4292-8709-BDB91D066129}"/>
                  </a:ext>
                </a:extLst>
              </p:cNvPr>
              <p:cNvSpPr>
                <a:spLocks/>
              </p:cNvSpPr>
              <p:nvPr userDrawn="1"/>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8" name="Freeform 15">
                <a:extLst>
                  <a:ext uri="{FF2B5EF4-FFF2-40B4-BE49-F238E27FC236}">
                    <a16:creationId xmlns:a16="http://schemas.microsoft.com/office/drawing/2014/main" id="{83F11FC7-8A5A-4AAC-A98B-B552F3106031}"/>
                  </a:ext>
                </a:extLst>
              </p:cNvPr>
              <p:cNvSpPr>
                <a:spLocks/>
              </p:cNvSpPr>
              <p:nvPr userDrawn="1"/>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9" name="Freeform 16">
                <a:extLst>
                  <a:ext uri="{FF2B5EF4-FFF2-40B4-BE49-F238E27FC236}">
                    <a16:creationId xmlns:a16="http://schemas.microsoft.com/office/drawing/2014/main" id="{ABE16C56-D08A-4B15-A507-077A144E8177}"/>
                  </a:ext>
                </a:extLst>
              </p:cNvPr>
              <p:cNvSpPr>
                <a:spLocks/>
              </p:cNvSpPr>
              <p:nvPr userDrawn="1"/>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0" name="Freeform 17">
                <a:extLst>
                  <a:ext uri="{FF2B5EF4-FFF2-40B4-BE49-F238E27FC236}">
                    <a16:creationId xmlns:a16="http://schemas.microsoft.com/office/drawing/2014/main" id="{DFE87D74-DF62-4904-AB55-EA8018327872}"/>
                  </a:ext>
                </a:extLst>
              </p:cNvPr>
              <p:cNvSpPr>
                <a:spLocks/>
              </p:cNvSpPr>
              <p:nvPr userDrawn="1"/>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1" name="Freeform 18">
                <a:extLst>
                  <a:ext uri="{FF2B5EF4-FFF2-40B4-BE49-F238E27FC236}">
                    <a16:creationId xmlns:a16="http://schemas.microsoft.com/office/drawing/2014/main" id="{97EF7CCF-57EC-4648-AB47-5EC375D22E80}"/>
                  </a:ext>
                </a:extLst>
              </p:cNvPr>
              <p:cNvSpPr>
                <a:spLocks/>
              </p:cNvSpPr>
              <p:nvPr userDrawn="1"/>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2" name="Freeform 19">
                <a:extLst>
                  <a:ext uri="{FF2B5EF4-FFF2-40B4-BE49-F238E27FC236}">
                    <a16:creationId xmlns:a16="http://schemas.microsoft.com/office/drawing/2014/main" id="{DEEDEA0D-FB3A-4F2B-B9C0-162774823C2A}"/>
                  </a:ext>
                </a:extLst>
              </p:cNvPr>
              <p:cNvSpPr>
                <a:spLocks/>
              </p:cNvSpPr>
              <p:nvPr userDrawn="1"/>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3" name="Freeform 20">
                <a:extLst>
                  <a:ext uri="{FF2B5EF4-FFF2-40B4-BE49-F238E27FC236}">
                    <a16:creationId xmlns:a16="http://schemas.microsoft.com/office/drawing/2014/main" id="{4E1849C0-1536-4A41-AAA9-DB7E3FF2E195}"/>
                  </a:ext>
                </a:extLst>
              </p:cNvPr>
              <p:cNvSpPr>
                <a:spLocks/>
              </p:cNvSpPr>
              <p:nvPr userDrawn="1"/>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4" name="Oval 103">
                <a:extLst>
                  <a:ext uri="{FF2B5EF4-FFF2-40B4-BE49-F238E27FC236}">
                    <a16:creationId xmlns:a16="http://schemas.microsoft.com/office/drawing/2014/main" id="{EA993CC2-E013-4020-88FC-2A78001254D1}"/>
                  </a:ext>
                </a:extLst>
              </p:cNvPr>
              <p:cNvSpPr>
                <a:spLocks noChangeArrowheads="1"/>
              </p:cNvSpPr>
              <p:nvPr userDrawn="1"/>
            </p:nvSpPr>
            <p:spPr bwMode="gray">
              <a:xfrm>
                <a:off x="9203225" y="468198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5" name="Oval 104">
                <a:extLst>
                  <a:ext uri="{FF2B5EF4-FFF2-40B4-BE49-F238E27FC236}">
                    <a16:creationId xmlns:a16="http://schemas.microsoft.com/office/drawing/2014/main" id="{B75D9E4A-00D0-40DD-87C9-31011C925D69}"/>
                  </a:ext>
                </a:extLst>
              </p:cNvPr>
              <p:cNvSpPr>
                <a:spLocks noChangeArrowheads="1"/>
              </p:cNvSpPr>
              <p:nvPr userDrawn="1"/>
            </p:nvSpPr>
            <p:spPr bwMode="gray">
              <a:xfrm>
                <a:off x="9203225" y="4821973"/>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6" name="Oval 105">
                <a:extLst>
                  <a:ext uri="{FF2B5EF4-FFF2-40B4-BE49-F238E27FC236}">
                    <a16:creationId xmlns:a16="http://schemas.microsoft.com/office/drawing/2014/main" id="{D606A6A6-40EA-4D88-A4E2-5DE61C7A71C0}"/>
                  </a:ext>
                </a:extLst>
              </p:cNvPr>
              <p:cNvSpPr>
                <a:spLocks noChangeArrowheads="1"/>
              </p:cNvSpPr>
              <p:nvPr userDrawn="1"/>
            </p:nvSpPr>
            <p:spPr bwMode="gray">
              <a:xfrm>
                <a:off x="9203225" y="495927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7" name="Oval 106">
                <a:extLst>
                  <a:ext uri="{FF2B5EF4-FFF2-40B4-BE49-F238E27FC236}">
                    <a16:creationId xmlns:a16="http://schemas.microsoft.com/office/drawing/2014/main" id="{F76F23DA-7FD4-4E10-84B4-6668D977E1AB}"/>
                  </a:ext>
                </a:extLst>
              </p:cNvPr>
              <p:cNvSpPr>
                <a:spLocks noChangeArrowheads="1"/>
              </p:cNvSpPr>
              <p:nvPr userDrawn="1"/>
            </p:nvSpPr>
            <p:spPr bwMode="gray">
              <a:xfrm>
                <a:off x="9203225" y="509926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8" name="Freeform 25">
                <a:extLst>
                  <a:ext uri="{FF2B5EF4-FFF2-40B4-BE49-F238E27FC236}">
                    <a16:creationId xmlns:a16="http://schemas.microsoft.com/office/drawing/2014/main" id="{4CB1426B-E211-43A6-8156-52923829BF86}"/>
                  </a:ext>
                </a:extLst>
              </p:cNvPr>
              <p:cNvSpPr>
                <a:spLocks/>
              </p:cNvSpPr>
              <p:nvPr userDrawn="1"/>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9" name="Oval 108">
                <a:extLst>
                  <a:ext uri="{FF2B5EF4-FFF2-40B4-BE49-F238E27FC236}">
                    <a16:creationId xmlns:a16="http://schemas.microsoft.com/office/drawing/2014/main" id="{2BEB8798-F01D-473F-8154-F256BDB8F3B9}"/>
                  </a:ext>
                </a:extLst>
              </p:cNvPr>
              <p:cNvSpPr>
                <a:spLocks noChangeArrowheads="1"/>
              </p:cNvSpPr>
              <p:nvPr userDrawn="1"/>
            </p:nvSpPr>
            <p:spPr bwMode="gray">
              <a:xfrm>
                <a:off x="9203225" y="5376553"/>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0" name="Oval 109">
                <a:extLst>
                  <a:ext uri="{FF2B5EF4-FFF2-40B4-BE49-F238E27FC236}">
                    <a16:creationId xmlns:a16="http://schemas.microsoft.com/office/drawing/2014/main" id="{4F8A51E7-7B82-4EB2-9BB0-E67289E9CDB7}"/>
                  </a:ext>
                </a:extLst>
              </p:cNvPr>
              <p:cNvSpPr>
                <a:spLocks noChangeArrowheads="1"/>
              </p:cNvSpPr>
              <p:nvPr userDrawn="1"/>
            </p:nvSpPr>
            <p:spPr bwMode="gray">
              <a:xfrm>
                <a:off x="9203225" y="5513851"/>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1" name="Oval 110">
                <a:extLst>
                  <a:ext uri="{FF2B5EF4-FFF2-40B4-BE49-F238E27FC236}">
                    <a16:creationId xmlns:a16="http://schemas.microsoft.com/office/drawing/2014/main" id="{3CA7F338-199C-4185-9849-899AB0C8AE5F}"/>
                  </a:ext>
                </a:extLst>
              </p:cNvPr>
              <p:cNvSpPr>
                <a:spLocks noChangeArrowheads="1"/>
              </p:cNvSpPr>
              <p:nvPr userDrawn="1"/>
            </p:nvSpPr>
            <p:spPr bwMode="gray">
              <a:xfrm>
                <a:off x="9203225" y="5653841"/>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2" name="Freeform 29">
                <a:extLst>
                  <a:ext uri="{FF2B5EF4-FFF2-40B4-BE49-F238E27FC236}">
                    <a16:creationId xmlns:a16="http://schemas.microsoft.com/office/drawing/2014/main" id="{BE09CA33-D1A5-4092-92CB-B67EA7826AC7}"/>
                  </a:ext>
                </a:extLst>
              </p:cNvPr>
              <p:cNvSpPr>
                <a:spLocks/>
              </p:cNvSpPr>
              <p:nvPr userDrawn="1"/>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3" name="Oval 112">
                <a:extLst>
                  <a:ext uri="{FF2B5EF4-FFF2-40B4-BE49-F238E27FC236}">
                    <a16:creationId xmlns:a16="http://schemas.microsoft.com/office/drawing/2014/main" id="{529E7749-4E00-465F-9EF1-BAA9C869CD72}"/>
                  </a:ext>
                </a:extLst>
              </p:cNvPr>
              <p:cNvSpPr>
                <a:spLocks noChangeArrowheads="1"/>
              </p:cNvSpPr>
              <p:nvPr userDrawn="1"/>
            </p:nvSpPr>
            <p:spPr bwMode="gray">
              <a:xfrm>
                <a:off x="9203225" y="579114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4" name="Rectangle 113">
                <a:extLst>
                  <a:ext uri="{FF2B5EF4-FFF2-40B4-BE49-F238E27FC236}">
                    <a16:creationId xmlns:a16="http://schemas.microsoft.com/office/drawing/2014/main" id="{3A0077F4-3F18-4DB1-9AB1-37A3D9FC32CE}"/>
                  </a:ext>
                </a:extLst>
              </p:cNvPr>
              <p:cNvSpPr>
                <a:spLocks noChangeArrowheads="1"/>
              </p:cNvSpPr>
              <p:nvPr userDrawn="1"/>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5" name="Freeform 32">
                <a:extLst>
                  <a:ext uri="{FF2B5EF4-FFF2-40B4-BE49-F238E27FC236}">
                    <a16:creationId xmlns:a16="http://schemas.microsoft.com/office/drawing/2014/main" id="{3A5B7D77-90A5-40E6-9A2D-64654E4A100D}"/>
                  </a:ext>
                </a:extLst>
              </p:cNvPr>
              <p:cNvSpPr>
                <a:spLocks/>
              </p:cNvSpPr>
              <p:nvPr userDrawn="1"/>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6" name="Freeform 33">
                <a:extLst>
                  <a:ext uri="{FF2B5EF4-FFF2-40B4-BE49-F238E27FC236}">
                    <a16:creationId xmlns:a16="http://schemas.microsoft.com/office/drawing/2014/main" id="{786B8398-E492-4E9E-BF07-4743B46CB5A5}"/>
                  </a:ext>
                </a:extLst>
              </p:cNvPr>
              <p:cNvSpPr>
                <a:spLocks/>
              </p:cNvSpPr>
              <p:nvPr userDrawn="1"/>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7" name="Freeform 34">
                <a:extLst>
                  <a:ext uri="{FF2B5EF4-FFF2-40B4-BE49-F238E27FC236}">
                    <a16:creationId xmlns:a16="http://schemas.microsoft.com/office/drawing/2014/main" id="{DE6DF825-9E9B-448C-A306-13AB6B34427A}"/>
                  </a:ext>
                </a:extLst>
              </p:cNvPr>
              <p:cNvSpPr>
                <a:spLocks/>
              </p:cNvSpPr>
              <p:nvPr userDrawn="1"/>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8" name="Freeform 35">
                <a:extLst>
                  <a:ext uri="{FF2B5EF4-FFF2-40B4-BE49-F238E27FC236}">
                    <a16:creationId xmlns:a16="http://schemas.microsoft.com/office/drawing/2014/main" id="{43199998-DE10-448F-945B-84B41F360B4B}"/>
                  </a:ext>
                </a:extLst>
              </p:cNvPr>
              <p:cNvSpPr>
                <a:spLocks/>
              </p:cNvSpPr>
              <p:nvPr userDrawn="1"/>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9" name="Freeform 36">
                <a:extLst>
                  <a:ext uri="{FF2B5EF4-FFF2-40B4-BE49-F238E27FC236}">
                    <a16:creationId xmlns:a16="http://schemas.microsoft.com/office/drawing/2014/main" id="{07591D14-6A6B-4A0E-9249-F865481331C4}"/>
                  </a:ext>
                </a:extLst>
              </p:cNvPr>
              <p:cNvSpPr>
                <a:spLocks/>
              </p:cNvSpPr>
              <p:nvPr userDrawn="1"/>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0" name="Freeform 37">
                <a:extLst>
                  <a:ext uri="{FF2B5EF4-FFF2-40B4-BE49-F238E27FC236}">
                    <a16:creationId xmlns:a16="http://schemas.microsoft.com/office/drawing/2014/main" id="{971F1A08-EB40-43F2-B2F8-873282CEAB80}"/>
                  </a:ext>
                </a:extLst>
              </p:cNvPr>
              <p:cNvSpPr>
                <a:spLocks/>
              </p:cNvSpPr>
              <p:nvPr userDrawn="1"/>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1" name="Freeform 38">
                <a:extLst>
                  <a:ext uri="{FF2B5EF4-FFF2-40B4-BE49-F238E27FC236}">
                    <a16:creationId xmlns:a16="http://schemas.microsoft.com/office/drawing/2014/main" id="{C9B9291E-0D81-4179-A94E-C0CD8C71B880}"/>
                  </a:ext>
                </a:extLst>
              </p:cNvPr>
              <p:cNvSpPr>
                <a:spLocks/>
              </p:cNvSpPr>
              <p:nvPr userDrawn="1"/>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2" name="Freeform 39">
                <a:extLst>
                  <a:ext uri="{FF2B5EF4-FFF2-40B4-BE49-F238E27FC236}">
                    <a16:creationId xmlns:a16="http://schemas.microsoft.com/office/drawing/2014/main" id="{ACB5F053-9962-4F76-ABB8-A958BE7CA6AE}"/>
                  </a:ext>
                </a:extLst>
              </p:cNvPr>
              <p:cNvSpPr>
                <a:spLocks/>
              </p:cNvSpPr>
              <p:nvPr userDrawn="1"/>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3" name="Oval 122">
                <a:extLst>
                  <a:ext uri="{FF2B5EF4-FFF2-40B4-BE49-F238E27FC236}">
                    <a16:creationId xmlns:a16="http://schemas.microsoft.com/office/drawing/2014/main" id="{A440987D-FAF9-457A-9328-0174D80ED6FC}"/>
                  </a:ext>
                </a:extLst>
              </p:cNvPr>
              <p:cNvSpPr>
                <a:spLocks noChangeArrowheads="1"/>
              </p:cNvSpPr>
              <p:nvPr userDrawn="1"/>
            </p:nvSpPr>
            <p:spPr bwMode="gray">
              <a:xfrm>
                <a:off x="9889718" y="499157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4" name="Oval 123">
                <a:extLst>
                  <a:ext uri="{FF2B5EF4-FFF2-40B4-BE49-F238E27FC236}">
                    <a16:creationId xmlns:a16="http://schemas.microsoft.com/office/drawing/2014/main" id="{62641C66-5DA3-49AB-B64B-205AF587AE91}"/>
                  </a:ext>
                </a:extLst>
              </p:cNvPr>
              <p:cNvSpPr>
                <a:spLocks noChangeArrowheads="1"/>
              </p:cNvSpPr>
              <p:nvPr userDrawn="1"/>
            </p:nvSpPr>
            <p:spPr bwMode="gray">
              <a:xfrm>
                <a:off x="9889718" y="5131568"/>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5" name="Oval 124">
                <a:extLst>
                  <a:ext uri="{FF2B5EF4-FFF2-40B4-BE49-F238E27FC236}">
                    <a16:creationId xmlns:a16="http://schemas.microsoft.com/office/drawing/2014/main" id="{607546CC-4D5E-430F-868C-6D252A07AC96}"/>
                  </a:ext>
                </a:extLst>
              </p:cNvPr>
              <p:cNvSpPr>
                <a:spLocks noChangeArrowheads="1"/>
              </p:cNvSpPr>
              <p:nvPr userDrawn="1"/>
            </p:nvSpPr>
            <p:spPr bwMode="gray">
              <a:xfrm>
                <a:off x="9889718" y="5268867"/>
                <a:ext cx="45767" cy="45767"/>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6" name="Oval 125">
                <a:extLst>
                  <a:ext uri="{FF2B5EF4-FFF2-40B4-BE49-F238E27FC236}">
                    <a16:creationId xmlns:a16="http://schemas.microsoft.com/office/drawing/2014/main" id="{C446B10F-7A7C-4917-A01C-14F3E9EA5360}"/>
                  </a:ext>
                </a:extLst>
              </p:cNvPr>
              <p:cNvSpPr>
                <a:spLocks noChangeArrowheads="1"/>
              </p:cNvSpPr>
              <p:nvPr userDrawn="1"/>
            </p:nvSpPr>
            <p:spPr bwMode="gray">
              <a:xfrm>
                <a:off x="9889718" y="5406165"/>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7" name="Oval 126">
                <a:extLst>
                  <a:ext uri="{FF2B5EF4-FFF2-40B4-BE49-F238E27FC236}">
                    <a16:creationId xmlns:a16="http://schemas.microsoft.com/office/drawing/2014/main" id="{71522F5D-F273-47BD-B15A-C8780C569B67}"/>
                  </a:ext>
                </a:extLst>
              </p:cNvPr>
              <p:cNvSpPr>
                <a:spLocks noChangeArrowheads="1"/>
              </p:cNvSpPr>
              <p:nvPr userDrawn="1"/>
            </p:nvSpPr>
            <p:spPr bwMode="gray">
              <a:xfrm>
                <a:off x="9889718" y="5546156"/>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8" name="Oval 127">
                <a:extLst>
                  <a:ext uri="{FF2B5EF4-FFF2-40B4-BE49-F238E27FC236}">
                    <a16:creationId xmlns:a16="http://schemas.microsoft.com/office/drawing/2014/main" id="{D29E6970-A0A1-49F3-A79B-3E8A656280AD}"/>
                  </a:ext>
                </a:extLst>
              </p:cNvPr>
              <p:cNvSpPr>
                <a:spLocks noChangeArrowheads="1"/>
              </p:cNvSpPr>
              <p:nvPr userDrawn="1"/>
            </p:nvSpPr>
            <p:spPr bwMode="gray">
              <a:xfrm>
                <a:off x="9889718" y="5683456"/>
                <a:ext cx="45767" cy="45767"/>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9" name="Oval 128">
                <a:extLst>
                  <a:ext uri="{FF2B5EF4-FFF2-40B4-BE49-F238E27FC236}">
                    <a16:creationId xmlns:a16="http://schemas.microsoft.com/office/drawing/2014/main" id="{4F5CE6E8-2D50-48D4-95BC-DD11C28E8B13}"/>
                  </a:ext>
                </a:extLst>
              </p:cNvPr>
              <p:cNvSpPr>
                <a:spLocks noChangeArrowheads="1"/>
              </p:cNvSpPr>
              <p:nvPr userDrawn="1"/>
            </p:nvSpPr>
            <p:spPr bwMode="gray">
              <a:xfrm>
                <a:off x="9889718" y="582344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0" name="Oval 129">
                <a:extLst>
                  <a:ext uri="{FF2B5EF4-FFF2-40B4-BE49-F238E27FC236}">
                    <a16:creationId xmlns:a16="http://schemas.microsoft.com/office/drawing/2014/main" id="{1E2B566A-E7AC-481F-BC97-32D3923A7055}"/>
                  </a:ext>
                </a:extLst>
              </p:cNvPr>
              <p:cNvSpPr>
                <a:spLocks noChangeArrowheads="1"/>
              </p:cNvSpPr>
              <p:nvPr userDrawn="1"/>
            </p:nvSpPr>
            <p:spPr bwMode="gray">
              <a:xfrm>
                <a:off x="9889718" y="5960744"/>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1" name="Freeform 48">
                <a:extLst>
                  <a:ext uri="{FF2B5EF4-FFF2-40B4-BE49-F238E27FC236}">
                    <a16:creationId xmlns:a16="http://schemas.microsoft.com/office/drawing/2014/main" id="{62260D8A-ADC1-46D9-9905-1FC91F6EF938}"/>
                  </a:ext>
                </a:extLst>
              </p:cNvPr>
              <p:cNvSpPr>
                <a:spLocks/>
              </p:cNvSpPr>
              <p:nvPr userDrawn="1"/>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2" name="Oval 131">
                <a:extLst>
                  <a:ext uri="{FF2B5EF4-FFF2-40B4-BE49-F238E27FC236}">
                    <a16:creationId xmlns:a16="http://schemas.microsoft.com/office/drawing/2014/main" id="{0AC62D01-CDEA-47A9-9775-640542F37CA9}"/>
                  </a:ext>
                </a:extLst>
              </p:cNvPr>
              <p:cNvSpPr>
                <a:spLocks noChangeArrowheads="1"/>
              </p:cNvSpPr>
              <p:nvPr userDrawn="1"/>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3" name="Freeform 50">
                <a:extLst>
                  <a:ext uri="{FF2B5EF4-FFF2-40B4-BE49-F238E27FC236}">
                    <a16:creationId xmlns:a16="http://schemas.microsoft.com/office/drawing/2014/main" id="{0C9EEC98-5DC1-4F6F-9D96-3EF7F3B07240}"/>
                  </a:ext>
                </a:extLst>
              </p:cNvPr>
              <p:cNvSpPr>
                <a:spLocks/>
              </p:cNvSpPr>
              <p:nvPr userDrawn="1"/>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4" name="Oval 133">
                <a:extLst>
                  <a:ext uri="{FF2B5EF4-FFF2-40B4-BE49-F238E27FC236}">
                    <a16:creationId xmlns:a16="http://schemas.microsoft.com/office/drawing/2014/main" id="{C8FDA0EF-5637-41A8-911A-1045DAE3D0F5}"/>
                  </a:ext>
                </a:extLst>
              </p:cNvPr>
              <p:cNvSpPr>
                <a:spLocks noChangeArrowheads="1"/>
              </p:cNvSpPr>
              <p:nvPr userDrawn="1"/>
            </p:nvSpPr>
            <p:spPr bwMode="gray">
              <a:xfrm>
                <a:off x="9203225" y="5928439"/>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5" name="Rectangle 134">
                <a:extLst>
                  <a:ext uri="{FF2B5EF4-FFF2-40B4-BE49-F238E27FC236}">
                    <a16:creationId xmlns:a16="http://schemas.microsoft.com/office/drawing/2014/main" id="{8574CC2E-FD7F-4CCF-91A0-3BDD62F7D122}"/>
                  </a:ext>
                </a:extLst>
              </p:cNvPr>
              <p:cNvSpPr>
                <a:spLocks noChangeArrowheads="1"/>
              </p:cNvSpPr>
              <p:nvPr userDrawn="1"/>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6" name="Freeform 53">
                <a:extLst>
                  <a:ext uri="{FF2B5EF4-FFF2-40B4-BE49-F238E27FC236}">
                    <a16:creationId xmlns:a16="http://schemas.microsoft.com/office/drawing/2014/main" id="{882875D9-1239-481C-B32E-F294B362A21D}"/>
                  </a:ext>
                </a:extLst>
              </p:cNvPr>
              <p:cNvSpPr>
                <a:spLocks/>
              </p:cNvSpPr>
              <p:nvPr userDrawn="1"/>
            </p:nvSpPr>
            <p:spPr bwMode="gray">
              <a:xfrm>
                <a:off x="10772739" y="5917670"/>
                <a:ext cx="1243765" cy="621882"/>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7" name="Freeform 55">
                <a:extLst>
                  <a:ext uri="{FF2B5EF4-FFF2-40B4-BE49-F238E27FC236}">
                    <a16:creationId xmlns:a16="http://schemas.microsoft.com/office/drawing/2014/main" id="{4A015C18-0779-4C8D-97FA-827C04BCCD23}"/>
                  </a:ext>
                </a:extLst>
              </p:cNvPr>
              <p:cNvSpPr>
                <a:spLocks/>
              </p:cNvSpPr>
              <p:nvPr userDrawn="1"/>
            </p:nvSpPr>
            <p:spPr bwMode="gray">
              <a:xfrm>
                <a:off x="11198092" y="5990359"/>
                <a:ext cx="1449301" cy="697263"/>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38" name="Freeform 59">
                <a:extLst>
                  <a:ext uri="{FF2B5EF4-FFF2-40B4-BE49-F238E27FC236}">
                    <a16:creationId xmlns:a16="http://schemas.microsoft.com/office/drawing/2014/main" id="{74B3437C-6C61-4615-8601-38A751827B97}"/>
                  </a:ext>
                </a:extLst>
              </p:cNvPr>
              <p:cNvSpPr>
                <a:spLocks/>
              </p:cNvSpPr>
              <p:nvPr userDrawn="1"/>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9" name="Freeform 60">
                <a:extLst>
                  <a:ext uri="{FF2B5EF4-FFF2-40B4-BE49-F238E27FC236}">
                    <a16:creationId xmlns:a16="http://schemas.microsoft.com/office/drawing/2014/main" id="{7EEFB72C-5898-4419-AD38-58C22150C297}"/>
                  </a:ext>
                </a:extLst>
              </p:cNvPr>
              <p:cNvSpPr>
                <a:spLocks/>
              </p:cNvSpPr>
              <p:nvPr userDrawn="1"/>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0" name="Rectangle 139">
                <a:extLst>
                  <a:ext uri="{FF2B5EF4-FFF2-40B4-BE49-F238E27FC236}">
                    <a16:creationId xmlns:a16="http://schemas.microsoft.com/office/drawing/2014/main" id="{CB945D0D-3E4C-45A1-85D7-B4DACE1B883F}"/>
                  </a:ext>
                </a:extLst>
              </p:cNvPr>
              <p:cNvSpPr>
                <a:spLocks noChangeArrowheads="1"/>
              </p:cNvSpPr>
              <p:nvPr userDrawn="1"/>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1" name="Freeform 62">
                <a:extLst>
                  <a:ext uri="{FF2B5EF4-FFF2-40B4-BE49-F238E27FC236}">
                    <a16:creationId xmlns:a16="http://schemas.microsoft.com/office/drawing/2014/main" id="{F252316E-7D81-4F02-B32C-D5CA5544143D}"/>
                  </a:ext>
                </a:extLst>
              </p:cNvPr>
              <p:cNvSpPr>
                <a:spLocks/>
              </p:cNvSpPr>
              <p:nvPr userDrawn="1"/>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42" name="Rectangle 141">
                <a:extLst>
                  <a:ext uri="{FF2B5EF4-FFF2-40B4-BE49-F238E27FC236}">
                    <a16:creationId xmlns:a16="http://schemas.microsoft.com/office/drawing/2014/main" id="{8619C649-DF29-47CA-BA62-277EE0154057}"/>
                  </a:ext>
                </a:extLst>
              </p:cNvPr>
              <p:cNvSpPr>
                <a:spLocks noChangeArrowheads="1"/>
              </p:cNvSpPr>
              <p:nvPr userDrawn="1"/>
            </p:nvSpPr>
            <p:spPr bwMode="gray">
              <a:xfrm>
                <a:off x="10840041" y="5481545"/>
                <a:ext cx="43074" cy="91532"/>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3" name="Freeform 64">
                <a:extLst>
                  <a:ext uri="{FF2B5EF4-FFF2-40B4-BE49-F238E27FC236}">
                    <a16:creationId xmlns:a16="http://schemas.microsoft.com/office/drawing/2014/main" id="{B11BB5AF-AEC4-4E5B-8C20-307D6B498976}"/>
                  </a:ext>
                </a:extLst>
              </p:cNvPr>
              <p:cNvSpPr>
                <a:spLocks/>
              </p:cNvSpPr>
              <p:nvPr userDrawn="1"/>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4" name="Freeform 65">
                <a:extLst>
                  <a:ext uri="{FF2B5EF4-FFF2-40B4-BE49-F238E27FC236}">
                    <a16:creationId xmlns:a16="http://schemas.microsoft.com/office/drawing/2014/main" id="{3784137C-176C-47E7-B650-11F8B890428C}"/>
                  </a:ext>
                </a:extLst>
              </p:cNvPr>
              <p:cNvSpPr>
                <a:spLocks/>
              </p:cNvSpPr>
              <p:nvPr userDrawn="1"/>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5" name="Rectangle 144">
                <a:extLst>
                  <a:ext uri="{FF2B5EF4-FFF2-40B4-BE49-F238E27FC236}">
                    <a16:creationId xmlns:a16="http://schemas.microsoft.com/office/drawing/2014/main" id="{0D38EAC0-58CB-4A84-86B2-65478C77C80D}"/>
                  </a:ext>
                </a:extLst>
              </p:cNvPr>
              <p:cNvSpPr>
                <a:spLocks noChangeArrowheads="1"/>
              </p:cNvSpPr>
              <p:nvPr userDrawn="1"/>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6" name="Rectangle 145">
                <a:extLst>
                  <a:ext uri="{FF2B5EF4-FFF2-40B4-BE49-F238E27FC236}">
                    <a16:creationId xmlns:a16="http://schemas.microsoft.com/office/drawing/2014/main" id="{45C9CDC7-A0E7-4E5B-A976-24E477D1D5A6}"/>
                  </a:ext>
                </a:extLst>
              </p:cNvPr>
              <p:cNvSpPr>
                <a:spLocks noChangeArrowheads="1"/>
              </p:cNvSpPr>
              <p:nvPr userDrawn="1"/>
            </p:nvSpPr>
            <p:spPr bwMode="gray">
              <a:xfrm>
                <a:off x="7943307" y="5048112"/>
                <a:ext cx="43074" cy="91532"/>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7" name="Freeform 68">
                <a:extLst>
                  <a:ext uri="{FF2B5EF4-FFF2-40B4-BE49-F238E27FC236}">
                    <a16:creationId xmlns:a16="http://schemas.microsoft.com/office/drawing/2014/main" id="{267F83C6-AB3E-4FC1-9F3C-22AF66A351AD}"/>
                  </a:ext>
                </a:extLst>
              </p:cNvPr>
              <p:cNvSpPr>
                <a:spLocks/>
              </p:cNvSpPr>
              <p:nvPr userDrawn="1"/>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8" name="Freeform 69">
                <a:extLst>
                  <a:ext uri="{FF2B5EF4-FFF2-40B4-BE49-F238E27FC236}">
                    <a16:creationId xmlns:a16="http://schemas.microsoft.com/office/drawing/2014/main" id="{6841DFC7-8423-455D-A354-D4499C5760F9}"/>
                  </a:ext>
                </a:extLst>
              </p:cNvPr>
              <p:cNvSpPr>
                <a:spLocks/>
              </p:cNvSpPr>
              <p:nvPr userDrawn="1"/>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9" name="Freeform 70">
                <a:extLst>
                  <a:ext uri="{FF2B5EF4-FFF2-40B4-BE49-F238E27FC236}">
                    <a16:creationId xmlns:a16="http://schemas.microsoft.com/office/drawing/2014/main" id="{3D55415C-470D-4FF5-83D1-EA4ACE60E17E}"/>
                  </a:ext>
                </a:extLst>
              </p:cNvPr>
              <p:cNvSpPr>
                <a:spLocks/>
              </p:cNvSpPr>
              <p:nvPr userDrawn="1"/>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0" name="Rectangle 149">
                <a:extLst>
                  <a:ext uri="{FF2B5EF4-FFF2-40B4-BE49-F238E27FC236}">
                    <a16:creationId xmlns:a16="http://schemas.microsoft.com/office/drawing/2014/main" id="{2E7E8E7D-7365-4C57-88EF-833F732DAB18}"/>
                  </a:ext>
                </a:extLst>
              </p:cNvPr>
              <p:cNvSpPr>
                <a:spLocks noChangeArrowheads="1"/>
              </p:cNvSpPr>
              <p:nvPr userDrawn="1"/>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1" name="Freeform 72">
                <a:extLst>
                  <a:ext uri="{FF2B5EF4-FFF2-40B4-BE49-F238E27FC236}">
                    <a16:creationId xmlns:a16="http://schemas.microsoft.com/office/drawing/2014/main" id="{1F047912-F43E-4768-9CFA-7707BAE271A2}"/>
                  </a:ext>
                </a:extLst>
              </p:cNvPr>
              <p:cNvSpPr>
                <a:spLocks/>
              </p:cNvSpPr>
              <p:nvPr userDrawn="1"/>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2" name="Freeform 73">
                <a:extLst>
                  <a:ext uri="{FF2B5EF4-FFF2-40B4-BE49-F238E27FC236}">
                    <a16:creationId xmlns:a16="http://schemas.microsoft.com/office/drawing/2014/main" id="{F2B98ABE-0FE0-4BAA-AD5E-1E2B373B12F6}"/>
                  </a:ext>
                </a:extLst>
              </p:cNvPr>
              <p:cNvSpPr>
                <a:spLocks/>
              </p:cNvSpPr>
              <p:nvPr userDrawn="1"/>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3" name="Rectangle 152">
                <a:extLst>
                  <a:ext uri="{FF2B5EF4-FFF2-40B4-BE49-F238E27FC236}">
                    <a16:creationId xmlns:a16="http://schemas.microsoft.com/office/drawing/2014/main" id="{39137D4B-843B-44CF-B572-0F6702D179B3}"/>
                  </a:ext>
                </a:extLst>
              </p:cNvPr>
              <p:cNvSpPr>
                <a:spLocks noChangeArrowheads="1"/>
              </p:cNvSpPr>
              <p:nvPr userDrawn="1"/>
            </p:nvSpPr>
            <p:spPr bwMode="gray">
              <a:xfrm>
                <a:off x="9846644" y="6273032"/>
                <a:ext cx="26921" cy="56536"/>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4" name="Freeform 75">
                <a:extLst>
                  <a:ext uri="{FF2B5EF4-FFF2-40B4-BE49-F238E27FC236}">
                    <a16:creationId xmlns:a16="http://schemas.microsoft.com/office/drawing/2014/main" id="{925CBBF1-8534-4833-8ECD-56DFFB139E1A}"/>
                  </a:ext>
                </a:extLst>
              </p:cNvPr>
              <p:cNvSpPr>
                <a:spLocks/>
              </p:cNvSpPr>
              <p:nvPr userDrawn="1"/>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5" name="Rectangle 154">
                <a:extLst>
                  <a:ext uri="{FF2B5EF4-FFF2-40B4-BE49-F238E27FC236}">
                    <a16:creationId xmlns:a16="http://schemas.microsoft.com/office/drawing/2014/main" id="{CE790602-2651-429C-B806-CDEEC255FA97}"/>
                  </a:ext>
                </a:extLst>
              </p:cNvPr>
              <p:cNvSpPr>
                <a:spLocks noChangeArrowheads="1"/>
              </p:cNvSpPr>
              <p:nvPr userDrawn="1"/>
            </p:nvSpPr>
            <p:spPr bwMode="gray">
              <a:xfrm>
                <a:off x="10939649" y="4991577"/>
                <a:ext cx="966476" cy="573425"/>
              </a:xfrm>
              <a:prstGeom prst="rect">
                <a:avLst/>
              </a:prstGeom>
              <a:solidFill>
                <a:srgbClr val="D0482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56" name="Freeform 80">
                <a:extLst>
                  <a:ext uri="{FF2B5EF4-FFF2-40B4-BE49-F238E27FC236}">
                    <a16:creationId xmlns:a16="http://schemas.microsoft.com/office/drawing/2014/main" id="{8F662064-5E21-47F5-ACCE-0C1FC498F221}"/>
                  </a:ext>
                </a:extLst>
              </p:cNvPr>
              <p:cNvSpPr>
                <a:spLocks/>
              </p:cNvSpPr>
              <p:nvPr userDrawn="1"/>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7" name="Rectangle 156">
                <a:extLst>
                  <a:ext uri="{FF2B5EF4-FFF2-40B4-BE49-F238E27FC236}">
                    <a16:creationId xmlns:a16="http://schemas.microsoft.com/office/drawing/2014/main" id="{9C41563B-20E6-47BD-B20E-41270C17BECB}"/>
                  </a:ext>
                </a:extLst>
              </p:cNvPr>
              <p:cNvSpPr>
                <a:spLocks noChangeArrowheads="1"/>
              </p:cNvSpPr>
              <p:nvPr userDrawn="1"/>
            </p:nvSpPr>
            <p:spPr bwMode="gray">
              <a:xfrm>
                <a:off x="9897795" y="6079198"/>
                <a:ext cx="414588" cy="250369"/>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8" name="Freeform 83">
                <a:extLst>
                  <a:ext uri="{FF2B5EF4-FFF2-40B4-BE49-F238E27FC236}">
                    <a16:creationId xmlns:a16="http://schemas.microsoft.com/office/drawing/2014/main" id="{9AB1EA48-8DCA-4E2B-A250-ACC531B9D864}"/>
                  </a:ext>
                </a:extLst>
              </p:cNvPr>
              <p:cNvSpPr>
                <a:spLocks/>
              </p:cNvSpPr>
              <p:nvPr userDrawn="1"/>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9" name="Freeform 84">
                <a:extLst>
                  <a:ext uri="{FF2B5EF4-FFF2-40B4-BE49-F238E27FC236}">
                    <a16:creationId xmlns:a16="http://schemas.microsoft.com/office/drawing/2014/main" id="{D51E83CC-0A05-430A-994B-549A2F9C3F64}"/>
                  </a:ext>
                </a:extLst>
              </p:cNvPr>
              <p:cNvSpPr>
                <a:spLocks/>
              </p:cNvSpPr>
              <p:nvPr userDrawn="1"/>
            </p:nvSpPr>
            <p:spPr bwMode="gray">
              <a:xfrm>
                <a:off x="6931065" y="4480072"/>
                <a:ext cx="1012242" cy="756489"/>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60" name="Freeform 85">
                <a:extLst>
                  <a:ext uri="{FF2B5EF4-FFF2-40B4-BE49-F238E27FC236}">
                    <a16:creationId xmlns:a16="http://schemas.microsoft.com/office/drawing/2014/main" id="{D1796824-B340-474C-AAAA-336B554B94A8}"/>
                  </a:ext>
                </a:extLst>
              </p:cNvPr>
              <p:cNvSpPr>
                <a:spLocks/>
              </p:cNvSpPr>
              <p:nvPr userDrawn="1"/>
            </p:nvSpPr>
            <p:spPr bwMode="gray">
              <a:xfrm>
                <a:off x="7016288" y="4545006"/>
                <a:ext cx="854330" cy="670017"/>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D048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61" name="Freeform 86">
                <a:extLst>
                  <a:ext uri="{FF2B5EF4-FFF2-40B4-BE49-F238E27FC236}">
                    <a16:creationId xmlns:a16="http://schemas.microsoft.com/office/drawing/2014/main" id="{312BE5FF-B9D5-4217-8154-0AC572F971B2}"/>
                  </a:ext>
                </a:extLst>
              </p:cNvPr>
              <p:cNvSpPr>
                <a:spLocks/>
              </p:cNvSpPr>
              <p:nvPr userDrawn="1"/>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grpSp>
        <p:pic>
          <p:nvPicPr>
            <p:cNvPr id="85" name="Picture 84">
              <a:extLst>
                <a:ext uri="{FF2B5EF4-FFF2-40B4-BE49-F238E27FC236}">
                  <a16:creationId xmlns:a16="http://schemas.microsoft.com/office/drawing/2014/main" id="{3EA2E3AC-7B91-411E-BF36-183C548B844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086220" y="4568432"/>
              <a:ext cx="736358" cy="613092"/>
            </a:xfrm>
            <a:prstGeom prst="rect">
              <a:avLst/>
            </a:prstGeom>
          </p:spPr>
        </p:pic>
        <p:pic>
          <p:nvPicPr>
            <p:cNvPr id="86" name="Picture 85">
              <a:extLst>
                <a:ext uri="{FF2B5EF4-FFF2-40B4-BE49-F238E27FC236}">
                  <a16:creationId xmlns:a16="http://schemas.microsoft.com/office/drawing/2014/main" id="{448FCCB0-5E9B-4A54-AD6C-FD1E6399957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136377" y="5038107"/>
              <a:ext cx="604035" cy="502920"/>
            </a:xfrm>
            <a:prstGeom prst="rect">
              <a:avLst/>
            </a:prstGeom>
          </p:spPr>
        </p:pic>
        <p:pic>
          <p:nvPicPr>
            <p:cNvPr id="87" name="Picture 86">
              <a:extLst>
                <a:ext uri="{FF2B5EF4-FFF2-40B4-BE49-F238E27FC236}">
                  <a16:creationId xmlns:a16="http://schemas.microsoft.com/office/drawing/2014/main" id="{D99B6305-862C-430C-93B5-33B5D5CBB324}"/>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980500" y="6106350"/>
              <a:ext cx="252597" cy="210312"/>
            </a:xfrm>
            <a:prstGeom prst="rect">
              <a:avLst/>
            </a:prstGeom>
          </p:spPr>
        </p:pic>
      </p:grpSp>
    </p:spTree>
    <p:extLst>
      <p:ext uri="{BB962C8B-B14F-4D97-AF65-F5344CB8AC3E}">
        <p14:creationId xmlns:p14="http://schemas.microsoft.com/office/powerpoint/2010/main" val="20934151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solidFill>
                  <a:schemeClr val="bg1"/>
                </a:solidFill>
                <a:effectLst/>
                <a:latin typeface="+mj-lt"/>
                <a:ea typeface="+mn-ea"/>
                <a:cs typeface="Segoe UI" pitchFamily="34" charset="0"/>
              </a:defRPr>
            </a:lvl1pPr>
          </a:lstStyle>
          <a:p>
            <a:r>
              <a:rPr lang="en-US" dirty="0"/>
              <a:t>Video title</a:t>
            </a:r>
          </a:p>
        </p:txBody>
      </p:sp>
      <p:grpSp>
        <p:nvGrpSpPr>
          <p:cNvPr id="161" name="Group 160">
            <a:extLst>
              <a:ext uri="{FF2B5EF4-FFF2-40B4-BE49-F238E27FC236}">
                <a16:creationId xmlns:a16="http://schemas.microsoft.com/office/drawing/2014/main" id="{C60D3D10-9A75-4B8C-9E60-B5FE137332AF}"/>
              </a:ext>
            </a:extLst>
          </p:cNvPr>
          <p:cNvGrpSpPr/>
          <p:nvPr userDrawn="1"/>
        </p:nvGrpSpPr>
        <p:grpSpPr>
          <a:xfrm>
            <a:off x="5468357" y="4139517"/>
            <a:ext cx="6723644" cy="2716134"/>
            <a:chOff x="5789470" y="4224320"/>
            <a:chExt cx="6858467" cy="2770205"/>
          </a:xfrm>
        </p:grpSpPr>
        <p:grpSp>
          <p:nvGrpSpPr>
            <p:cNvPr id="162" name="Group 161">
              <a:extLst>
                <a:ext uri="{FF2B5EF4-FFF2-40B4-BE49-F238E27FC236}">
                  <a16:creationId xmlns:a16="http://schemas.microsoft.com/office/drawing/2014/main" id="{F0817D12-3B57-4345-9AD5-7A39B0BE088C}"/>
                </a:ext>
              </a:extLst>
            </p:cNvPr>
            <p:cNvGrpSpPr>
              <a:grpSpLocks noChangeAspect="1"/>
            </p:cNvGrpSpPr>
            <p:nvPr userDrawn="1"/>
          </p:nvGrpSpPr>
          <p:grpSpPr bwMode="gray">
            <a:xfrm>
              <a:off x="5789470" y="4224320"/>
              <a:ext cx="6858467" cy="2770205"/>
              <a:chOff x="5788926" y="4224320"/>
              <a:chExt cx="6858467" cy="2770205"/>
            </a:xfrm>
          </p:grpSpPr>
          <p:sp>
            <p:nvSpPr>
              <p:cNvPr id="166" name="Freeform: Shape 165">
                <a:extLst>
                  <a:ext uri="{FF2B5EF4-FFF2-40B4-BE49-F238E27FC236}">
                    <a16:creationId xmlns:a16="http://schemas.microsoft.com/office/drawing/2014/main" id="{3A8A2184-8FAA-45A2-8FC0-02AE0A775439}"/>
                  </a:ext>
                </a:extLst>
              </p:cNvPr>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67" name="Freeform 6">
                <a:extLst>
                  <a:ext uri="{FF2B5EF4-FFF2-40B4-BE49-F238E27FC236}">
                    <a16:creationId xmlns:a16="http://schemas.microsoft.com/office/drawing/2014/main" id="{67CED8AF-DC4B-440A-8329-50612FC3BEB4}"/>
                  </a:ext>
                </a:extLst>
              </p:cNvPr>
              <p:cNvSpPr>
                <a:spLocks/>
              </p:cNvSpPr>
              <p:nvPr userDrawn="1"/>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68" name="Rectangle 167">
                <a:extLst>
                  <a:ext uri="{FF2B5EF4-FFF2-40B4-BE49-F238E27FC236}">
                    <a16:creationId xmlns:a16="http://schemas.microsoft.com/office/drawing/2014/main" id="{C4810A1F-57C2-4CF5-B3E3-E1E3EE1B73AC}"/>
                  </a:ext>
                </a:extLst>
              </p:cNvPr>
              <p:cNvSpPr>
                <a:spLocks noChangeArrowheads="1"/>
              </p:cNvSpPr>
              <p:nvPr userDrawn="1"/>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9" name="Rectangle 168">
                <a:extLst>
                  <a:ext uri="{FF2B5EF4-FFF2-40B4-BE49-F238E27FC236}">
                    <a16:creationId xmlns:a16="http://schemas.microsoft.com/office/drawing/2014/main" id="{CCF8047C-BC37-4DEA-9D4A-6D8E0997C1E5}"/>
                  </a:ext>
                </a:extLst>
              </p:cNvPr>
              <p:cNvSpPr>
                <a:spLocks noChangeArrowheads="1"/>
              </p:cNvSpPr>
              <p:nvPr userDrawn="1"/>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0" name="Rectangle 169">
                <a:extLst>
                  <a:ext uri="{FF2B5EF4-FFF2-40B4-BE49-F238E27FC236}">
                    <a16:creationId xmlns:a16="http://schemas.microsoft.com/office/drawing/2014/main" id="{DCE834DE-0750-4647-9284-3709CE7E36AB}"/>
                  </a:ext>
                </a:extLst>
              </p:cNvPr>
              <p:cNvSpPr>
                <a:spLocks noChangeArrowheads="1"/>
              </p:cNvSpPr>
              <p:nvPr userDrawn="1"/>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1" name="Rectangle 170">
                <a:extLst>
                  <a:ext uri="{FF2B5EF4-FFF2-40B4-BE49-F238E27FC236}">
                    <a16:creationId xmlns:a16="http://schemas.microsoft.com/office/drawing/2014/main" id="{975987D4-847D-4976-A4B8-AA1A8B6AF72F}"/>
                  </a:ext>
                </a:extLst>
              </p:cNvPr>
              <p:cNvSpPr>
                <a:spLocks noChangeArrowheads="1"/>
              </p:cNvSpPr>
              <p:nvPr userDrawn="1"/>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2" name="Rectangle 171">
                <a:extLst>
                  <a:ext uri="{FF2B5EF4-FFF2-40B4-BE49-F238E27FC236}">
                    <a16:creationId xmlns:a16="http://schemas.microsoft.com/office/drawing/2014/main" id="{48FBA96B-499E-4B00-B065-B04FF7AF5F9A}"/>
                  </a:ext>
                </a:extLst>
              </p:cNvPr>
              <p:cNvSpPr>
                <a:spLocks noChangeArrowheads="1"/>
              </p:cNvSpPr>
              <p:nvPr userDrawn="1"/>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3" name="Rectangle 172">
                <a:extLst>
                  <a:ext uri="{FF2B5EF4-FFF2-40B4-BE49-F238E27FC236}">
                    <a16:creationId xmlns:a16="http://schemas.microsoft.com/office/drawing/2014/main" id="{AF825427-953E-4BD8-99CB-DFC8DB66F3A2}"/>
                  </a:ext>
                </a:extLst>
              </p:cNvPr>
              <p:cNvSpPr>
                <a:spLocks noChangeArrowheads="1"/>
              </p:cNvSpPr>
              <p:nvPr userDrawn="1"/>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4" name="Freeform 13">
                <a:extLst>
                  <a:ext uri="{FF2B5EF4-FFF2-40B4-BE49-F238E27FC236}">
                    <a16:creationId xmlns:a16="http://schemas.microsoft.com/office/drawing/2014/main" id="{18E83000-8A18-4E78-AD35-2772B62DE13C}"/>
                  </a:ext>
                </a:extLst>
              </p:cNvPr>
              <p:cNvSpPr>
                <a:spLocks/>
              </p:cNvSpPr>
              <p:nvPr userDrawn="1"/>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5" name="Freeform 14">
                <a:extLst>
                  <a:ext uri="{FF2B5EF4-FFF2-40B4-BE49-F238E27FC236}">
                    <a16:creationId xmlns:a16="http://schemas.microsoft.com/office/drawing/2014/main" id="{4DB6BA67-C947-415B-AC2E-1E776BC017A6}"/>
                  </a:ext>
                </a:extLst>
              </p:cNvPr>
              <p:cNvSpPr>
                <a:spLocks/>
              </p:cNvSpPr>
              <p:nvPr userDrawn="1"/>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6" name="Freeform 15">
                <a:extLst>
                  <a:ext uri="{FF2B5EF4-FFF2-40B4-BE49-F238E27FC236}">
                    <a16:creationId xmlns:a16="http://schemas.microsoft.com/office/drawing/2014/main" id="{0CC44CBF-B95D-4C33-B48B-4F18C5EA2AED}"/>
                  </a:ext>
                </a:extLst>
              </p:cNvPr>
              <p:cNvSpPr>
                <a:spLocks/>
              </p:cNvSpPr>
              <p:nvPr userDrawn="1"/>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7" name="Freeform 16">
                <a:extLst>
                  <a:ext uri="{FF2B5EF4-FFF2-40B4-BE49-F238E27FC236}">
                    <a16:creationId xmlns:a16="http://schemas.microsoft.com/office/drawing/2014/main" id="{55DB8711-DC5E-470A-9D33-353406A8AF73}"/>
                  </a:ext>
                </a:extLst>
              </p:cNvPr>
              <p:cNvSpPr>
                <a:spLocks/>
              </p:cNvSpPr>
              <p:nvPr userDrawn="1"/>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8" name="Freeform 17">
                <a:extLst>
                  <a:ext uri="{FF2B5EF4-FFF2-40B4-BE49-F238E27FC236}">
                    <a16:creationId xmlns:a16="http://schemas.microsoft.com/office/drawing/2014/main" id="{2F8A780B-353A-426C-9F5D-A1FA6888D6A2}"/>
                  </a:ext>
                </a:extLst>
              </p:cNvPr>
              <p:cNvSpPr>
                <a:spLocks/>
              </p:cNvSpPr>
              <p:nvPr userDrawn="1"/>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9" name="Freeform 18">
                <a:extLst>
                  <a:ext uri="{FF2B5EF4-FFF2-40B4-BE49-F238E27FC236}">
                    <a16:creationId xmlns:a16="http://schemas.microsoft.com/office/drawing/2014/main" id="{B4B4E25D-7E1D-4448-94E7-01F444266F61}"/>
                  </a:ext>
                </a:extLst>
              </p:cNvPr>
              <p:cNvSpPr>
                <a:spLocks/>
              </p:cNvSpPr>
              <p:nvPr userDrawn="1"/>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0" name="Freeform 19">
                <a:extLst>
                  <a:ext uri="{FF2B5EF4-FFF2-40B4-BE49-F238E27FC236}">
                    <a16:creationId xmlns:a16="http://schemas.microsoft.com/office/drawing/2014/main" id="{58A1A564-5AD0-4A5C-97EA-C780AFFCF358}"/>
                  </a:ext>
                </a:extLst>
              </p:cNvPr>
              <p:cNvSpPr>
                <a:spLocks/>
              </p:cNvSpPr>
              <p:nvPr userDrawn="1"/>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1" name="Freeform 20">
                <a:extLst>
                  <a:ext uri="{FF2B5EF4-FFF2-40B4-BE49-F238E27FC236}">
                    <a16:creationId xmlns:a16="http://schemas.microsoft.com/office/drawing/2014/main" id="{F73F75F2-C76F-4137-83F8-71878194DDA6}"/>
                  </a:ext>
                </a:extLst>
              </p:cNvPr>
              <p:cNvSpPr>
                <a:spLocks/>
              </p:cNvSpPr>
              <p:nvPr userDrawn="1"/>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2" name="Oval 181">
                <a:extLst>
                  <a:ext uri="{FF2B5EF4-FFF2-40B4-BE49-F238E27FC236}">
                    <a16:creationId xmlns:a16="http://schemas.microsoft.com/office/drawing/2014/main" id="{BFD33456-8A0D-424B-9202-3EC2293F0DC5}"/>
                  </a:ext>
                </a:extLst>
              </p:cNvPr>
              <p:cNvSpPr>
                <a:spLocks noChangeArrowheads="1"/>
              </p:cNvSpPr>
              <p:nvPr userDrawn="1"/>
            </p:nvSpPr>
            <p:spPr bwMode="gray">
              <a:xfrm>
                <a:off x="9203225" y="468198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3" name="Oval 182">
                <a:extLst>
                  <a:ext uri="{FF2B5EF4-FFF2-40B4-BE49-F238E27FC236}">
                    <a16:creationId xmlns:a16="http://schemas.microsoft.com/office/drawing/2014/main" id="{47AE42B9-A057-4B26-9B10-E8C7C97695FF}"/>
                  </a:ext>
                </a:extLst>
              </p:cNvPr>
              <p:cNvSpPr>
                <a:spLocks noChangeArrowheads="1"/>
              </p:cNvSpPr>
              <p:nvPr userDrawn="1"/>
            </p:nvSpPr>
            <p:spPr bwMode="gray">
              <a:xfrm>
                <a:off x="9203225" y="4821973"/>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4" name="Oval 183">
                <a:extLst>
                  <a:ext uri="{FF2B5EF4-FFF2-40B4-BE49-F238E27FC236}">
                    <a16:creationId xmlns:a16="http://schemas.microsoft.com/office/drawing/2014/main" id="{22CF41D1-2E50-4606-BA1C-5572DC11BCC4}"/>
                  </a:ext>
                </a:extLst>
              </p:cNvPr>
              <p:cNvSpPr>
                <a:spLocks noChangeArrowheads="1"/>
              </p:cNvSpPr>
              <p:nvPr userDrawn="1"/>
            </p:nvSpPr>
            <p:spPr bwMode="gray">
              <a:xfrm>
                <a:off x="9203225" y="495927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5" name="Oval 184">
                <a:extLst>
                  <a:ext uri="{FF2B5EF4-FFF2-40B4-BE49-F238E27FC236}">
                    <a16:creationId xmlns:a16="http://schemas.microsoft.com/office/drawing/2014/main" id="{EC492C70-EFE2-4E60-A33B-384AAFB6C829}"/>
                  </a:ext>
                </a:extLst>
              </p:cNvPr>
              <p:cNvSpPr>
                <a:spLocks noChangeArrowheads="1"/>
              </p:cNvSpPr>
              <p:nvPr userDrawn="1"/>
            </p:nvSpPr>
            <p:spPr bwMode="gray">
              <a:xfrm>
                <a:off x="9203225" y="509926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6" name="Freeform 25">
                <a:extLst>
                  <a:ext uri="{FF2B5EF4-FFF2-40B4-BE49-F238E27FC236}">
                    <a16:creationId xmlns:a16="http://schemas.microsoft.com/office/drawing/2014/main" id="{AFE5AAC0-63B4-4A75-BEE6-5C5CBCC83B35}"/>
                  </a:ext>
                </a:extLst>
              </p:cNvPr>
              <p:cNvSpPr>
                <a:spLocks/>
              </p:cNvSpPr>
              <p:nvPr userDrawn="1"/>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7" name="Oval 186">
                <a:extLst>
                  <a:ext uri="{FF2B5EF4-FFF2-40B4-BE49-F238E27FC236}">
                    <a16:creationId xmlns:a16="http://schemas.microsoft.com/office/drawing/2014/main" id="{9C95AE09-14AE-432B-85F8-E95431EE7219}"/>
                  </a:ext>
                </a:extLst>
              </p:cNvPr>
              <p:cNvSpPr>
                <a:spLocks noChangeArrowheads="1"/>
              </p:cNvSpPr>
              <p:nvPr userDrawn="1"/>
            </p:nvSpPr>
            <p:spPr bwMode="gray">
              <a:xfrm>
                <a:off x="9203225" y="5376553"/>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8" name="Oval 187">
                <a:extLst>
                  <a:ext uri="{FF2B5EF4-FFF2-40B4-BE49-F238E27FC236}">
                    <a16:creationId xmlns:a16="http://schemas.microsoft.com/office/drawing/2014/main" id="{FC8713AD-5D99-4C94-B911-1DA14D6E41E3}"/>
                  </a:ext>
                </a:extLst>
              </p:cNvPr>
              <p:cNvSpPr>
                <a:spLocks noChangeArrowheads="1"/>
              </p:cNvSpPr>
              <p:nvPr userDrawn="1"/>
            </p:nvSpPr>
            <p:spPr bwMode="gray">
              <a:xfrm>
                <a:off x="9203225" y="5513851"/>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9" name="Oval 188">
                <a:extLst>
                  <a:ext uri="{FF2B5EF4-FFF2-40B4-BE49-F238E27FC236}">
                    <a16:creationId xmlns:a16="http://schemas.microsoft.com/office/drawing/2014/main" id="{8A77A2C1-85C8-4128-ACD3-805A90E3F277}"/>
                  </a:ext>
                </a:extLst>
              </p:cNvPr>
              <p:cNvSpPr>
                <a:spLocks noChangeArrowheads="1"/>
              </p:cNvSpPr>
              <p:nvPr userDrawn="1"/>
            </p:nvSpPr>
            <p:spPr bwMode="gray">
              <a:xfrm>
                <a:off x="9203225" y="5653841"/>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0" name="Freeform 29">
                <a:extLst>
                  <a:ext uri="{FF2B5EF4-FFF2-40B4-BE49-F238E27FC236}">
                    <a16:creationId xmlns:a16="http://schemas.microsoft.com/office/drawing/2014/main" id="{56D9C0F4-15C3-4323-A0CA-CDD0719A828B}"/>
                  </a:ext>
                </a:extLst>
              </p:cNvPr>
              <p:cNvSpPr>
                <a:spLocks/>
              </p:cNvSpPr>
              <p:nvPr userDrawn="1"/>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1" name="Oval 190">
                <a:extLst>
                  <a:ext uri="{FF2B5EF4-FFF2-40B4-BE49-F238E27FC236}">
                    <a16:creationId xmlns:a16="http://schemas.microsoft.com/office/drawing/2014/main" id="{24D73467-EA48-4FA2-8AB7-3239849D800F}"/>
                  </a:ext>
                </a:extLst>
              </p:cNvPr>
              <p:cNvSpPr>
                <a:spLocks noChangeArrowheads="1"/>
              </p:cNvSpPr>
              <p:nvPr userDrawn="1"/>
            </p:nvSpPr>
            <p:spPr bwMode="gray">
              <a:xfrm>
                <a:off x="9203225" y="579114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2" name="Rectangle 191">
                <a:extLst>
                  <a:ext uri="{FF2B5EF4-FFF2-40B4-BE49-F238E27FC236}">
                    <a16:creationId xmlns:a16="http://schemas.microsoft.com/office/drawing/2014/main" id="{9A3C95A1-B363-45A6-BDA3-2CECBD2882C1}"/>
                  </a:ext>
                </a:extLst>
              </p:cNvPr>
              <p:cNvSpPr>
                <a:spLocks noChangeArrowheads="1"/>
              </p:cNvSpPr>
              <p:nvPr userDrawn="1"/>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3" name="Freeform 32">
                <a:extLst>
                  <a:ext uri="{FF2B5EF4-FFF2-40B4-BE49-F238E27FC236}">
                    <a16:creationId xmlns:a16="http://schemas.microsoft.com/office/drawing/2014/main" id="{A6B81D85-D82C-436F-833E-3C9A85EC1906}"/>
                  </a:ext>
                </a:extLst>
              </p:cNvPr>
              <p:cNvSpPr>
                <a:spLocks/>
              </p:cNvSpPr>
              <p:nvPr userDrawn="1"/>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4" name="Freeform 33">
                <a:extLst>
                  <a:ext uri="{FF2B5EF4-FFF2-40B4-BE49-F238E27FC236}">
                    <a16:creationId xmlns:a16="http://schemas.microsoft.com/office/drawing/2014/main" id="{8F1CC3DD-67DD-430C-8000-CA56F0EB99E8}"/>
                  </a:ext>
                </a:extLst>
              </p:cNvPr>
              <p:cNvSpPr>
                <a:spLocks/>
              </p:cNvSpPr>
              <p:nvPr userDrawn="1"/>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5" name="Freeform 34">
                <a:extLst>
                  <a:ext uri="{FF2B5EF4-FFF2-40B4-BE49-F238E27FC236}">
                    <a16:creationId xmlns:a16="http://schemas.microsoft.com/office/drawing/2014/main" id="{A7B150E2-1F06-461E-86E7-85E4CF24D56A}"/>
                  </a:ext>
                </a:extLst>
              </p:cNvPr>
              <p:cNvSpPr>
                <a:spLocks/>
              </p:cNvSpPr>
              <p:nvPr userDrawn="1"/>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6" name="Freeform 35">
                <a:extLst>
                  <a:ext uri="{FF2B5EF4-FFF2-40B4-BE49-F238E27FC236}">
                    <a16:creationId xmlns:a16="http://schemas.microsoft.com/office/drawing/2014/main" id="{C68BDCC7-26BB-4B39-9713-7D15819C8DFD}"/>
                  </a:ext>
                </a:extLst>
              </p:cNvPr>
              <p:cNvSpPr>
                <a:spLocks/>
              </p:cNvSpPr>
              <p:nvPr userDrawn="1"/>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7" name="Freeform 36">
                <a:extLst>
                  <a:ext uri="{FF2B5EF4-FFF2-40B4-BE49-F238E27FC236}">
                    <a16:creationId xmlns:a16="http://schemas.microsoft.com/office/drawing/2014/main" id="{BC7E4D62-3E29-4576-B7DA-3660356D71FA}"/>
                  </a:ext>
                </a:extLst>
              </p:cNvPr>
              <p:cNvSpPr>
                <a:spLocks/>
              </p:cNvSpPr>
              <p:nvPr userDrawn="1"/>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8" name="Freeform 37">
                <a:extLst>
                  <a:ext uri="{FF2B5EF4-FFF2-40B4-BE49-F238E27FC236}">
                    <a16:creationId xmlns:a16="http://schemas.microsoft.com/office/drawing/2014/main" id="{73478B60-8546-4F86-83F9-D5E17D67EB7C}"/>
                  </a:ext>
                </a:extLst>
              </p:cNvPr>
              <p:cNvSpPr>
                <a:spLocks/>
              </p:cNvSpPr>
              <p:nvPr userDrawn="1"/>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9" name="Freeform 38">
                <a:extLst>
                  <a:ext uri="{FF2B5EF4-FFF2-40B4-BE49-F238E27FC236}">
                    <a16:creationId xmlns:a16="http://schemas.microsoft.com/office/drawing/2014/main" id="{424D80FE-B092-45C4-92EB-23A817ABA4D7}"/>
                  </a:ext>
                </a:extLst>
              </p:cNvPr>
              <p:cNvSpPr>
                <a:spLocks/>
              </p:cNvSpPr>
              <p:nvPr userDrawn="1"/>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0" name="Freeform 39">
                <a:extLst>
                  <a:ext uri="{FF2B5EF4-FFF2-40B4-BE49-F238E27FC236}">
                    <a16:creationId xmlns:a16="http://schemas.microsoft.com/office/drawing/2014/main" id="{F92A89EE-EC11-4915-ACEC-0DA06365448C}"/>
                  </a:ext>
                </a:extLst>
              </p:cNvPr>
              <p:cNvSpPr>
                <a:spLocks/>
              </p:cNvSpPr>
              <p:nvPr userDrawn="1"/>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1" name="Oval 200">
                <a:extLst>
                  <a:ext uri="{FF2B5EF4-FFF2-40B4-BE49-F238E27FC236}">
                    <a16:creationId xmlns:a16="http://schemas.microsoft.com/office/drawing/2014/main" id="{EBFE75F9-C1CD-4734-89DE-FBAC81D11488}"/>
                  </a:ext>
                </a:extLst>
              </p:cNvPr>
              <p:cNvSpPr>
                <a:spLocks noChangeArrowheads="1"/>
              </p:cNvSpPr>
              <p:nvPr userDrawn="1"/>
            </p:nvSpPr>
            <p:spPr bwMode="gray">
              <a:xfrm>
                <a:off x="9889718" y="499157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2" name="Oval 201">
                <a:extLst>
                  <a:ext uri="{FF2B5EF4-FFF2-40B4-BE49-F238E27FC236}">
                    <a16:creationId xmlns:a16="http://schemas.microsoft.com/office/drawing/2014/main" id="{A7E42769-703F-43F5-A412-7376625B1F5E}"/>
                  </a:ext>
                </a:extLst>
              </p:cNvPr>
              <p:cNvSpPr>
                <a:spLocks noChangeArrowheads="1"/>
              </p:cNvSpPr>
              <p:nvPr userDrawn="1"/>
            </p:nvSpPr>
            <p:spPr bwMode="gray">
              <a:xfrm>
                <a:off x="9889718" y="5131568"/>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3" name="Oval 202">
                <a:extLst>
                  <a:ext uri="{FF2B5EF4-FFF2-40B4-BE49-F238E27FC236}">
                    <a16:creationId xmlns:a16="http://schemas.microsoft.com/office/drawing/2014/main" id="{8F704F27-17CC-4C60-8328-3B6AAFC02BE1}"/>
                  </a:ext>
                </a:extLst>
              </p:cNvPr>
              <p:cNvSpPr>
                <a:spLocks noChangeArrowheads="1"/>
              </p:cNvSpPr>
              <p:nvPr userDrawn="1"/>
            </p:nvSpPr>
            <p:spPr bwMode="gray">
              <a:xfrm>
                <a:off x="9889718" y="5268867"/>
                <a:ext cx="45767" cy="45767"/>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4" name="Oval 203">
                <a:extLst>
                  <a:ext uri="{FF2B5EF4-FFF2-40B4-BE49-F238E27FC236}">
                    <a16:creationId xmlns:a16="http://schemas.microsoft.com/office/drawing/2014/main" id="{F467073E-B416-49DC-8FA3-6C3F2FDFB667}"/>
                  </a:ext>
                </a:extLst>
              </p:cNvPr>
              <p:cNvSpPr>
                <a:spLocks noChangeArrowheads="1"/>
              </p:cNvSpPr>
              <p:nvPr userDrawn="1"/>
            </p:nvSpPr>
            <p:spPr bwMode="gray">
              <a:xfrm>
                <a:off x="9889718" y="5406165"/>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5" name="Oval 204">
                <a:extLst>
                  <a:ext uri="{FF2B5EF4-FFF2-40B4-BE49-F238E27FC236}">
                    <a16:creationId xmlns:a16="http://schemas.microsoft.com/office/drawing/2014/main" id="{BCD5F6EA-A0EF-49BC-B82F-6C7555480747}"/>
                  </a:ext>
                </a:extLst>
              </p:cNvPr>
              <p:cNvSpPr>
                <a:spLocks noChangeArrowheads="1"/>
              </p:cNvSpPr>
              <p:nvPr userDrawn="1"/>
            </p:nvSpPr>
            <p:spPr bwMode="gray">
              <a:xfrm>
                <a:off x="9889718" y="5546156"/>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6" name="Oval 205">
                <a:extLst>
                  <a:ext uri="{FF2B5EF4-FFF2-40B4-BE49-F238E27FC236}">
                    <a16:creationId xmlns:a16="http://schemas.microsoft.com/office/drawing/2014/main" id="{B3BC85F2-70A7-462C-B755-B4EB075CF762}"/>
                  </a:ext>
                </a:extLst>
              </p:cNvPr>
              <p:cNvSpPr>
                <a:spLocks noChangeArrowheads="1"/>
              </p:cNvSpPr>
              <p:nvPr userDrawn="1"/>
            </p:nvSpPr>
            <p:spPr bwMode="gray">
              <a:xfrm>
                <a:off x="9889718" y="5683456"/>
                <a:ext cx="45767" cy="45767"/>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7" name="Oval 206">
                <a:extLst>
                  <a:ext uri="{FF2B5EF4-FFF2-40B4-BE49-F238E27FC236}">
                    <a16:creationId xmlns:a16="http://schemas.microsoft.com/office/drawing/2014/main" id="{AC58FBC6-DA83-472F-98E4-D52473D52351}"/>
                  </a:ext>
                </a:extLst>
              </p:cNvPr>
              <p:cNvSpPr>
                <a:spLocks noChangeArrowheads="1"/>
              </p:cNvSpPr>
              <p:nvPr userDrawn="1"/>
            </p:nvSpPr>
            <p:spPr bwMode="gray">
              <a:xfrm>
                <a:off x="9889718" y="582344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8" name="Oval 207">
                <a:extLst>
                  <a:ext uri="{FF2B5EF4-FFF2-40B4-BE49-F238E27FC236}">
                    <a16:creationId xmlns:a16="http://schemas.microsoft.com/office/drawing/2014/main" id="{E56A0B1D-EC9E-47E5-BC43-56E42889110E}"/>
                  </a:ext>
                </a:extLst>
              </p:cNvPr>
              <p:cNvSpPr>
                <a:spLocks noChangeArrowheads="1"/>
              </p:cNvSpPr>
              <p:nvPr userDrawn="1"/>
            </p:nvSpPr>
            <p:spPr bwMode="gray">
              <a:xfrm>
                <a:off x="9889718" y="5960744"/>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9" name="Freeform 48">
                <a:extLst>
                  <a:ext uri="{FF2B5EF4-FFF2-40B4-BE49-F238E27FC236}">
                    <a16:creationId xmlns:a16="http://schemas.microsoft.com/office/drawing/2014/main" id="{43872BAE-86E2-43A5-A602-9EB2DBB64B2E}"/>
                  </a:ext>
                </a:extLst>
              </p:cNvPr>
              <p:cNvSpPr>
                <a:spLocks/>
              </p:cNvSpPr>
              <p:nvPr userDrawn="1"/>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0" name="Oval 209">
                <a:extLst>
                  <a:ext uri="{FF2B5EF4-FFF2-40B4-BE49-F238E27FC236}">
                    <a16:creationId xmlns:a16="http://schemas.microsoft.com/office/drawing/2014/main" id="{FF6E22FB-D49F-4956-9C80-EF7F82F05305}"/>
                  </a:ext>
                </a:extLst>
              </p:cNvPr>
              <p:cNvSpPr>
                <a:spLocks noChangeArrowheads="1"/>
              </p:cNvSpPr>
              <p:nvPr userDrawn="1"/>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1" name="Freeform 50">
                <a:extLst>
                  <a:ext uri="{FF2B5EF4-FFF2-40B4-BE49-F238E27FC236}">
                    <a16:creationId xmlns:a16="http://schemas.microsoft.com/office/drawing/2014/main" id="{C48622BD-9B47-480D-8396-8088AF666384}"/>
                  </a:ext>
                </a:extLst>
              </p:cNvPr>
              <p:cNvSpPr>
                <a:spLocks/>
              </p:cNvSpPr>
              <p:nvPr userDrawn="1"/>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2" name="Oval 211">
                <a:extLst>
                  <a:ext uri="{FF2B5EF4-FFF2-40B4-BE49-F238E27FC236}">
                    <a16:creationId xmlns:a16="http://schemas.microsoft.com/office/drawing/2014/main" id="{253A15D9-4283-42F2-B307-AFF2634719D1}"/>
                  </a:ext>
                </a:extLst>
              </p:cNvPr>
              <p:cNvSpPr>
                <a:spLocks noChangeArrowheads="1"/>
              </p:cNvSpPr>
              <p:nvPr userDrawn="1"/>
            </p:nvSpPr>
            <p:spPr bwMode="gray">
              <a:xfrm>
                <a:off x="9203225" y="5928439"/>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3" name="Rectangle 212">
                <a:extLst>
                  <a:ext uri="{FF2B5EF4-FFF2-40B4-BE49-F238E27FC236}">
                    <a16:creationId xmlns:a16="http://schemas.microsoft.com/office/drawing/2014/main" id="{5966DFD7-E4BC-45E7-B976-45CD255D3F4C}"/>
                  </a:ext>
                </a:extLst>
              </p:cNvPr>
              <p:cNvSpPr>
                <a:spLocks noChangeArrowheads="1"/>
              </p:cNvSpPr>
              <p:nvPr userDrawn="1"/>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4" name="Freeform 53">
                <a:extLst>
                  <a:ext uri="{FF2B5EF4-FFF2-40B4-BE49-F238E27FC236}">
                    <a16:creationId xmlns:a16="http://schemas.microsoft.com/office/drawing/2014/main" id="{300A7D9C-0A59-45C4-B04B-448C0C1CCA78}"/>
                  </a:ext>
                </a:extLst>
              </p:cNvPr>
              <p:cNvSpPr>
                <a:spLocks/>
              </p:cNvSpPr>
              <p:nvPr userDrawn="1"/>
            </p:nvSpPr>
            <p:spPr bwMode="gray">
              <a:xfrm>
                <a:off x="10772739" y="5917670"/>
                <a:ext cx="1243765" cy="621882"/>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5" name="Freeform 55">
                <a:extLst>
                  <a:ext uri="{FF2B5EF4-FFF2-40B4-BE49-F238E27FC236}">
                    <a16:creationId xmlns:a16="http://schemas.microsoft.com/office/drawing/2014/main" id="{5203B2FB-E158-4277-B1AB-7CFA97310276}"/>
                  </a:ext>
                </a:extLst>
              </p:cNvPr>
              <p:cNvSpPr>
                <a:spLocks/>
              </p:cNvSpPr>
              <p:nvPr userDrawn="1"/>
            </p:nvSpPr>
            <p:spPr bwMode="gray">
              <a:xfrm>
                <a:off x="11198092" y="5990359"/>
                <a:ext cx="1449301" cy="697263"/>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216" name="Freeform 59">
                <a:extLst>
                  <a:ext uri="{FF2B5EF4-FFF2-40B4-BE49-F238E27FC236}">
                    <a16:creationId xmlns:a16="http://schemas.microsoft.com/office/drawing/2014/main" id="{69E9A61B-1293-4767-85BB-BD063A7951D9}"/>
                  </a:ext>
                </a:extLst>
              </p:cNvPr>
              <p:cNvSpPr>
                <a:spLocks/>
              </p:cNvSpPr>
              <p:nvPr userDrawn="1"/>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7" name="Freeform 60">
                <a:extLst>
                  <a:ext uri="{FF2B5EF4-FFF2-40B4-BE49-F238E27FC236}">
                    <a16:creationId xmlns:a16="http://schemas.microsoft.com/office/drawing/2014/main" id="{CDA8809E-6BB7-4AC5-BA37-090E0114C6F2}"/>
                  </a:ext>
                </a:extLst>
              </p:cNvPr>
              <p:cNvSpPr>
                <a:spLocks/>
              </p:cNvSpPr>
              <p:nvPr userDrawn="1"/>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8" name="Rectangle 217">
                <a:extLst>
                  <a:ext uri="{FF2B5EF4-FFF2-40B4-BE49-F238E27FC236}">
                    <a16:creationId xmlns:a16="http://schemas.microsoft.com/office/drawing/2014/main" id="{01202EBA-F1A5-420D-9998-6C6BB5701811}"/>
                  </a:ext>
                </a:extLst>
              </p:cNvPr>
              <p:cNvSpPr>
                <a:spLocks noChangeArrowheads="1"/>
              </p:cNvSpPr>
              <p:nvPr userDrawn="1"/>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9" name="Freeform 62">
                <a:extLst>
                  <a:ext uri="{FF2B5EF4-FFF2-40B4-BE49-F238E27FC236}">
                    <a16:creationId xmlns:a16="http://schemas.microsoft.com/office/drawing/2014/main" id="{C9631B17-F8FA-4B5E-A526-6E58F1B0D9AB}"/>
                  </a:ext>
                </a:extLst>
              </p:cNvPr>
              <p:cNvSpPr>
                <a:spLocks/>
              </p:cNvSpPr>
              <p:nvPr userDrawn="1"/>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220" name="Rectangle 219">
                <a:extLst>
                  <a:ext uri="{FF2B5EF4-FFF2-40B4-BE49-F238E27FC236}">
                    <a16:creationId xmlns:a16="http://schemas.microsoft.com/office/drawing/2014/main" id="{75B416B6-4A23-4038-AF1B-6F5A93C9BEC8}"/>
                  </a:ext>
                </a:extLst>
              </p:cNvPr>
              <p:cNvSpPr>
                <a:spLocks noChangeArrowheads="1"/>
              </p:cNvSpPr>
              <p:nvPr userDrawn="1"/>
            </p:nvSpPr>
            <p:spPr bwMode="gray">
              <a:xfrm>
                <a:off x="10840041" y="5481545"/>
                <a:ext cx="43074" cy="91532"/>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1" name="Freeform 64">
                <a:extLst>
                  <a:ext uri="{FF2B5EF4-FFF2-40B4-BE49-F238E27FC236}">
                    <a16:creationId xmlns:a16="http://schemas.microsoft.com/office/drawing/2014/main" id="{B60DBD62-90AE-4C45-B814-6088E21206C5}"/>
                  </a:ext>
                </a:extLst>
              </p:cNvPr>
              <p:cNvSpPr>
                <a:spLocks/>
              </p:cNvSpPr>
              <p:nvPr userDrawn="1"/>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2" name="Freeform 65">
                <a:extLst>
                  <a:ext uri="{FF2B5EF4-FFF2-40B4-BE49-F238E27FC236}">
                    <a16:creationId xmlns:a16="http://schemas.microsoft.com/office/drawing/2014/main" id="{EF8F2B8B-FAF1-4D0E-9C4F-BD0CBD283AD6}"/>
                  </a:ext>
                </a:extLst>
              </p:cNvPr>
              <p:cNvSpPr>
                <a:spLocks/>
              </p:cNvSpPr>
              <p:nvPr userDrawn="1"/>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3" name="Rectangle 222">
                <a:extLst>
                  <a:ext uri="{FF2B5EF4-FFF2-40B4-BE49-F238E27FC236}">
                    <a16:creationId xmlns:a16="http://schemas.microsoft.com/office/drawing/2014/main" id="{C3F9AE66-49BC-4CC5-96E7-EE3F56DD5EBA}"/>
                  </a:ext>
                </a:extLst>
              </p:cNvPr>
              <p:cNvSpPr>
                <a:spLocks noChangeArrowheads="1"/>
              </p:cNvSpPr>
              <p:nvPr userDrawn="1"/>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4" name="Rectangle 223">
                <a:extLst>
                  <a:ext uri="{FF2B5EF4-FFF2-40B4-BE49-F238E27FC236}">
                    <a16:creationId xmlns:a16="http://schemas.microsoft.com/office/drawing/2014/main" id="{CAEE64D5-3C4B-4F98-A941-FBCF6E3FD72C}"/>
                  </a:ext>
                </a:extLst>
              </p:cNvPr>
              <p:cNvSpPr>
                <a:spLocks noChangeArrowheads="1"/>
              </p:cNvSpPr>
              <p:nvPr userDrawn="1"/>
            </p:nvSpPr>
            <p:spPr bwMode="gray">
              <a:xfrm>
                <a:off x="7943307" y="5048112"/>
                <a:ext cx="43074" cy="91532"/>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5" name="Freeform 68">
                <a:extLst>
                  <a:ext uri="{FF2B5EF4-FFF2-40B4-BE49-F238E27FC236}">
                    <a16:creationId xmlns:a16="http://schemas.microsoft.com/office/drawing/2014/main" id="{0EF9A87B-56E1-4430-8847-8C7AC0B0EE71}"/>
                  </a:ext>
                </a:extLst>
              </p:cNvPr>
              <p:cNvSpPr>
                <a:spLocks/>
              </p:cNvSpPr>
              <p:nvPr userDrawn="1"/>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6" name="Freeform 69">
                <a:extLst>
                  <a:ext uri="{FF2B5EF4-FFF2-40B4-BE49-F238E27FC236}">
                    <a16:creationId xmlns:a16="http://schemas.microsoft.com/office/drawing/2014/main" id="{E4C1337D-B9D0-48AE-BC0D-22560FF71707}"/>
                  </a:ext>
                </a:extLst>
              </p:cNvPr>
              <p:cNvSpPr>
                <a:spLocks/>
              </p:cNvSpPr>
              <p:nvPr userDrawn="1"/>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7" name="Freeform 70">
                <a:extLst>
                  <a:ext uri="{FF2B5EF4-FFF2-40B4-BE49-F238E27FC236}">
                    <a16:creationId xmlns:a16="http://schemas.microsoft.com/office/drawing/2014/main" id="{C578DC3A-7131-4AF0-97FF-ACF4E0508B62}"/>
                  </a:ext>
                </a:extLst>
              </p:cNvPr>
              <p:cNvSpPr>
                <a:spLocks/>
              </p:cNvSpPr>
              <p:nvPr userDrawn="1"/>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8" name="Rectangle 227">
                <a:extLst>
                  <a:ext uri="{FF2B5EF4-FFF2-40B4-BE49-F238E27FC236}">
                    <a16:creationId xmlns:a16="http://schemas.microsoft.com/office/drawing/2014/main" id="{B267A13E-5474-4FCE-9121-A7BD89E75524}"/>
                  </a:ext>
                </a:extLst>
              </p:cNvPr>
              <p:cNvSpPr>
                <a:spLocks noChangeArrowheads="1"/>
              </p:cNvSpPr>
              <p:nvPr userDrawn="1"/>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9" name="Freeform 72">
                <a:extLst>
                  <a:ext uri="{FF2B5EF4-FFF2-40B4-BE49-F238E27FC236}">
                    <a16:creationId xmlns:a16="http://schemas.microsoft.com/office/drawing/2014/main" id="{C0806179-4FB5-4C43-A9A4-B44655E2CDFD}"/>
                  </a:ext>
                </a:extLst>
              </p:cNvPr>
              <p:cNvSpPr>
                <a:spLocks/>
              </p:cNvSpPr>
              <p:nvPr userDrawn="1"/>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0" name="Freeform 73">
                <a:extLst>
                  <a:ext uri="{FF2B5EF4-FFF2-40B4-BE49-F238E27FC236}">
                    <a16:creationId xmlns:a16="http://schemas.microsoft.com/office/drawing/2014/main" id="{49D4CFF6-5332-40D6-9E30-F45880C45222}"/>
                  </a:ext>
                </a:extLst>
              </p:cNvPr>
              <p:cNvSpPr>
                <a:spLocks/>
              </p:cNvSpPr>
              <p:nvPr userDrawn="1"/>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1" name="Rectangle 230">
                <a:extLst>
                  <a:ext uri="{FF2B5EF4-FFF2-40B4-BE49-F238E27FC236}">
                    <a16:creationId xmlns:a16="http://schemas.microsoft.com/office/drawing/2014/main" id="{2A2EFEED-D1E2-4FD9-A138-552DE67E47A4}"/>
                  </a:ext>
                </a:extLst>
              </p:cNvPr>
              <p:cNvSpPr>
                <a:spLocks noChangeArrowheads="1"/>
              </p:cNvSpPr>
              <p:nvPr userDrawn="1"/>
            </p:nvSpPr>
            <p:spPr bwMode="gray">
              <a:xfrm>
                <a:off x="9846644" y="6273032"/>
                <a:ext cx="26921" cy="56536"/>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2" name="Freeform 75">
                <a:extLst>
                  <a:ext uri="{FF2B5EF4-FFF2-40B4-BE49-F238E27FC236}">
                    <a16:creationId xmlns:a16="http://schemas.microsoft.com/office/drawing/2014/main" id="{A348E330-4BA5-49B5-89E0-E1F407E91408}"/>
                  </a:ext>
                </a:extLst>
              </p:cNvPr>
              <p:cNvSpPr>
                <a:spLocks/>
              </p:cNvSpPr>
              <p:nvPr userDrawn="1"/>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3" name="Rectangle 232">
                <a:extLst>
                  <a:ext uri="{FF2B5EF4-FFF2-40B4-BE49-F238E27FC236}">
                    <a16:creationId xmlns:a16="http://schemas.microsoft.com/office/drawing/2014/main" id="{D0DD5A38-4FF2-4B4D-B83B-0F3572C0E80C}"/>
                  </a:ext>
                </a:extLst>
              </p:cNvPr>
              <p:cNvSpPr>
                <a:spLocks noChangeArrowheads="1"/>
              </p:cNvSpPr>
              <p:nvPr userDrawn="1"/>
            </p:nvSpPr>
            <p:spPr bwMode="gray">
              <a:xfrm>
                <a:off x="10939649" y="4991577"/>
                <a:ext cx="966476" cy="573425"/>
              </a:xfrm>
              <a:prstGeom prst="rect">
                <a:avLst/>
              </a:prstGeom>
              <a:solidFill>
                <a:srgbClr val="D0482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234" name="Freeform 80">
                <a:extLst>
                  <a:ext uri="{FF2B5EF4-FFF2-40B4-BE49-F238E27FC236}">
                    <a16:creationId xmlns:a16="http://schemas.microsoft.com/office/drawing/2014/main" id="{223C58EE-7F78-4839-9651-128AC8AC33C1}"/>
                  </a:ext>
                </a:extLst>
              </p:cNvPr>
              <p:cNvSpPr>
                <a:spLocks/>
              </p:cNvSpPr>
              <p:nvPr userDrawn="1"/>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5" name="Rectangle 234">
                <a:extLst>
                  <a:ext uri="{FF2B5EF4-FFF2-40B4-BE49-F238E27FC236}">
                    <a16:creationId xmlns:a16="http://schemas.microsoft.com/office/drawing/2014/main" id="{3B495461-35B6-459E-8442-FACDF94D1FBD}"/>
                  </a:ext>
                </a:extLst>
              </p:cNvPr>
              <p:cNvSpPr>
                <a:spLocks noChangeArrowheads="1"/>
              </p:cNvSpPr>
              <p:nvPr userDrawn="1"/>
            </p:nvSpPr>
            <p:spPr bwMode="gray">
              <a:xfrm>
                <a:off x="9897795" y="6079198"/>
                <a:ext cx="414588" cy="250369"/>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6" name="Freeform 83">
                <a:extLst>
                  <a:ext uri="{FF2B5EF4-FFF2-40B4-BE49-F238E27FC236}">
                    <a16:creationId xmlns:a16="http://schemas.microsoft.com/office/drawing/2014/main" id="{574BED13-3C44-442A-92B0-CF608E1702E8}"/>
                  </a:ext>
                </a:extLst>
              </p:cNvPr>
              <p:cNvSpPr>
                <a:spLocks/>
              </p:cNvSpPr>
              <p:nvPr userDrawn="1"/>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7" name="Freeform 84">
                <a:extLst>
                  <a:ext uri="{FF2B5EF4-FFF2-40B4-BE49-F238E27FC236}">
                    <a16:creationId xmlns:a16="http://schemas.microsoft.com/office/drawing/2014/main" id="{6F70A388-A268-4892-AEAE-57359D7F83B9}"/>
                  </a:ext>
                </a:extLst>
              </p:cNvPr>
              <p:cNvSpPr>
                <a:spLocks/>
              </p:cNvSpPr>
              <p:nvPr userDrawn="1"/>
            </p:nvSpPr>
            <p:spPr bwMode="gray">
              <a:xfrm>
                <a:off x="6931065" y="4480072"/>
                <a:ext cx="1012242" cy="756489"/>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238" name="Freeform 85">
                <a:extLst>
                  <a:ext uri="{FF2B5EF4-FFF2-40B4-BE49-F238E27FC236}">
                    <a16:creationId xmlns:a16="http://schemas.microsoft.com/office/drawing/2014/main" id="{4962D301-DB32-4D6F-97F7-A3DF6B361598}"/>
                  </a:ext>
                </a:extLst>
              </p:cNvPr>
              <p:cNvSpPr>
                <a:spLocks/>
              </p:cNvSpPr>
              <p:nvPr userDrawn="1"/>
            </p:nvSpPr>
            <p:spPr bwMode="gray">
              <a:xfrm>
                <a:off x="7016288" y="4545006"/>
                <a:ext cx="854330" cy="670017"/>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D048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239" name="Freeform 86">
                <a:extLst>
                  <a:ext uri="{FF2B5EF4-FFF2-40B4-BE49-F238E27FC236}">
                    <a16:creationId xmlns:a16="http://schemas.microsoft.com/office/drawing/2014/main" id="{EC2C46A8-CA4A-4456-AD7C-45BD98246AAC}"/>
                  </a:ext>
                </a:extLst>
              </p:cNvPr>
              <p:cNvSpPr>
                <a:spLocks/>
              </p:cNvSpPr>
              <p:nvPr userDrawn="1"/>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grpSp>
        <p:pic>
          <p:nvPicPr>
            <p:cNvPr id="163" name="Picture 162">
              <a:extLst>
                <a:ext uri="{FF2B5EF4-FFF2-40B4-BE49-F238E27FC236}">
                  <a16:creationId xmlns:a16="http://schemas.microsoft.com/office/drawing/2014/main" id="{CE4705FC-5B86-4965-A6D1-886825B30DB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086220" y="4568432"/>
              <a:ext cx="736358" cy="613092"/>
            </a:xfrm>
            <a:prstGeom prst="rect">
              <a:avLst/>
            </a:prstGeom>
          </p:spPr>
        </p:pic>
        <p:pic>
          <p:nvPicPr>
            <p:cNvPr id="164" name="Picture 163">
              <a:extLst>
                <a:ext uri="{FF2B5EF4-FFF2-40B4-BE49-F238E27FC236}">
                  <a16:creationId xmlns:a16="http://schemas.microsoft.com/office/drawing/2014/main" id="{813EC1FF-C494-475E-AFAD-D1E3C108A5D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136377" y="5038107"/>
              <a:ext cx="604035" cy="502920"/>
            </a:xfrm>
            <a:prstGeom prst="rect">
              <a:avLst/>
            </a:prstGeom>
          </p:spPr>
        </p:pic>
        <p:pic>
          <p:nvPicPr>
            <p:cNvPr id="165" name="Picture 164">
              <a:extLst>
                <a:ext uri="{FF2B5EF4-FFF2-40B4-BE49-F238E27FC236}">
                  <a16:creationId xmlns:a16="http://schemas.microsoft.com/office/drawing/2014/main" id="{AE46182C-D272-4961-80BE-15E356DDBCBC}"/>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980500" y="6106350"/>
              <a:ext cx="252597" cy="210312"/>
            </a:xfrm>
            <a:prstGeom prst="rect">
              <a:avLst/>
            </a:prstGeom>
          </p:spPr>
        </p:pic>
      </p:grpSp>
    </p:spTree>
    <p:extLst>
      <p:ext uri="{BB962C8B-B14F-4D97-AF65-F5344CB8AC3E}">
        <p14:creationId xmlns:p14="http://schemas.microsoft.com/office/powerpoint/2010/main" val="12092413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grpSp>
        <p:nvGrpSpPr>
          <p:cNvPr id="82" name="Group 81">
            <a:extLst>
              <a:ext uri="{FF2B5EF4-FFF2-40B4-BE49-F238E27FC236}">
                <a16:creationId xmlns:a16="http://schemas.microsoft.com/office/drawing/2014/main" id="{C3963000-F91C-4D9B-B983-AFD60801B0A9}"/>
              </a:ext>
            </a:extLst>
          </p:cNvPr>
          <p:cNvGrpSpPr/>
          <p:nvPr userDrawn="1"/>
        </p:nvGrpSpPr>
        <p:grpSpPr>
          <a:xfrm>
            <a:off x="5468357" y="4139517"/>
            <a:ext cx="6723644" cy="2716134"/>
            <a:chOff x="5789470" y="4224320"/>
            <a:chExt cx="6858467" cy="2770205"/>
          </a:xfrm>
        </p:grpSpPr>
        <p:grpSp>
          <p:nvGrpSpPr>
            <p:cNvPr id="83" name="Group 82">
              <a:extLst>
                <a:ext uri="{FF2B5EF4-FFF2-40B4-BE49-F238E27FC236}">
                  <a16:creationId xmlns:a16="http://schemas.microsoft.com/office/drawing/2014/main" id="{92A3C992-D3CD-4FF3-A099-E59D7BAFBAD7}"/>
                </a:ext>
              </a:extLst>
            </p:cNvPr>
            <p:cNvGrpSpPr>
              <a:grpSpLocks noChangeAspect="1"/>
            </p:cNvGrpSpPr>
            <p:nvPr userDrawn="1"/>
          </p:nvGrpSpPr>
          <p:grpSpPr bwMode="gray">
            <a:xfrm>
              <a:off x="5789470" y="4224320"/>
              <a:ext cx="6858467" cy="2770205"/>
              <a:chOff x="5788926" y="4224320"/>
              <a:chExt cx="6858467" cy="2770205"/>
            </a:xfrm>
          </p:grpSpPr>
          <p:sp>
            <p:nvSpPr>
              <p:cNvPr id="87" name="Freeform: Shape 86">
                <a:extLst>
                  <a:ext uri="{FF2B5EF4-FFF2-40B4-BE49-F238E27FC236}">
                    <a16:creationId xmlns:a16="http://schemas.microsoft.com/office/drawing/2014/main" id="{2BC0C1E6-13F4-4476-9706-8E2F1859E53C}"/>
                  </a:ext>
                </a:extLst>
              </p:cNvPr>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8" name="Freeform 6">
                <a:extLst>
                  <a:ext uri="{FF2B5EF4-FFF2-40B4-BE49-F238E27FC236}">
                    <a16:creationId xmlns:a16="http://schemas.microsoft.com/office/drawing/2014/main" id="{86C13A96-1DC4-4390-9BB3-60BA856DE50C}"/>
                  </a:ext>
                </a:extLst>
              </p:cNvPr>
              <p:cNvSpPr>
                <a:spLocks/>
              </p:cNvSpPr>
              <p:nvPr userDrawn="1"/>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89" name="Rectangle 88">
                <a:extLst>
                  <a:ext uri="{FF2B5EF4-FFF2-40B4-BE49-F238E27FC236}">
                    <a16:creationId xmlns:a16="http://schemas.microsoft.com/office/drawing/2014/main" id="{FA6FFFB3-AA4D-49CA-880D-84C00E4B217D}"/>
                  </a:ext>
                </a:extLst>
              </p:cNvPr>
              <p:cNvSpPr>
                <a:spLocks noChangeArrowheads="1"/>
              </p:cNvSpPr>
              <p:nvPr userDrawn="1"/>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0" name="Rectangle 89">
                <a:extLst>
                  <a:ext uri="{FF2B5EF4-FFF2-40B4-BE49-F238E27FC236}">
                    <a16:creationId xmlns:a16="http://schemas.microsoft.com/office/drawing/2014/main" id="{21429DF9-7E77-49F0-8C13-F59A9D4E5A6F}"/>
                  </a:ext>
                </a:extLst>
              </p:cNvPr>
              <p:cNvSpPr>
                <a:spLocks noChangeArrowheads="1"/>
              </p:cNvSpPr>
              <p:nvPr userDrawn="1"/>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1" name="Rectangle 90">
                <a:extLst>
                  <a:ext uri="{FF2B5EF4-FFF2-40B4-BE49-F238E27FC236}">
                    <a16:creationId xmlns:a16="http://schemas.microsoft.com/office/drawing/2014/main" id="{2EFDFCC8-E1CE-427E-906C-68E883C5C3AB}"/>
                  </a:ext>
                </a:extLst>
              </p:cNvPr>
              <p:cNvSpPr>
                <a:spLocks noChangeArrowheads="1"/>
              </p:cNvSpPr>
              <p:nvPr userDrawn="1"/>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2" name="Rectangle 91">
                <a:extLst>
                  <a:ext uri="{FF2B5EF4-FFF2-40B4-BE49-F238E27FC236}">
                    <a16:creationId xmlns:a16="http://schemas.microsoft.com/office/drawing/2014/main" id="{12A04AE3-C356-41BC-B306-6833AA1076FD}"/>
                  </a:ext>
                </a:extLst>
              </p:cNvPr>
              <p:cNvSpPr>
                <a:spLocks noChangeArrowheads="1"/>
              </p:cNvSpPr>
              <p:nvPr userDrawn="1"/>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3" name="Rectangle 92">
                <a:extLst>
                  <a:ext uri="{FF2B5EF4-FFF2-40B4-BE49-F238E27FC236}">
                    <a16:creationId xmlns:a16="http://schemas.microsoft.com/office/drawing/2014/main" id="{054C3F0D-C038-4ABD-AC0E-DDB8AE612C9D}"/>
                  </a:ext>
                </a:extLst>
              </p:cNvPr>
              <p:cNvSpPr>
                <a:spLocks noChangeArrowheads="1"/>
              </p:cNvSpPr>
              <p:nvPr userDrawn="1"/>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4" name="Rectangle 93">
                <a:extLst>
                  <a:ext uri="{FF2B5EF4-FFF2-40B4-BE49-F238E27FC236}">
                    <a16:creationId xmlns:a16="http://schemas.microsoft.com/office/drawing/2014/main" id="{101754BA-9CD4-49F4-9299-5D028A5C2286}"/>
                  </a:ext>
                </a:extLst>
              </p:cNvPr>
              <p:cNvSpPr>
                <a:spLocks noChangeArrowheads="1"/>
              </p:cNvSpPr>
              <p:nvPr userDrawn="1"/>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5" name="Freeform 13">
                <a:extLst>
                  <a:ext uri="{FF2B5EF4-FFF2-40B4-BE49-F238E27FC236}">
                    <a16:creationId xmlns:a16="http://schemas.microsoft.com/office/drawing/2014/main" id="{6759B8A7-ACAD-4994-8C35-5C036B6BD763}"/>
                  </a:ext>
                </a:extLst>
              </p:cNvPr>
              <p:cNvSpPr>
                <a:spLocks/>
              </p:cNvSpPr>
              <p:nvPr userDrawn="1"/>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6" name="Freeform 14">
                <a:extLst>
                  <a:ext uri="{FF2B5EF4-FFF2-40B4-BE49-F238E27FC236}">
                    <a16:creationId xmlns:a16="http://schemas.microsoft.com/office/drawing/2014/main" id="{428F985F-5586-420B-A27A-4FACBC34743F}"/>
                  </a:ext>
                </a:extLst>
              </p:cNvPr>
              <p:cNvSpPr>
                <a:spLocks/>
              </p:cNvSpPr>
              <p:nvPr userDrawn="1"/>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7" name="Freeform 15">
                <a:extLst>
                  <a:ext uri="{FF2B5EF4-FFF2-40B4-BE49-F238E27FC236}">
                    <a16:creationId xmlns:a16="http://schemas.microsoft.com/office/drawing/2014/main" id="{B1C5AD91-A6D8-4147-90F2-CEF89583A2BC}"/>
                  </a:ext>
                </a:extLst>
              </p:cNvPr>
              <p:cNvSpPr>
                <a:spLocks/>
              </p:cNvSpPr>
              <p:nvPr userDrawn="1"/>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8" name="Freeform 16">
                <a:extLst>
                  <a:ext uri="{FF2B5EF4-FFF2-40B4-BE49-F238E27FC236}">
                    <a16:creationId xmlns:a16="http://schemas.microsoft.com/office/drawing/2014/main" id="{E82BBECD-3419-4441-9066-66FE2A807AD4}"/>
                  </a:ext>
                </a:extLst>
              </p:cNvPr>
              <p:cNvSpPr>
                <a:spLocks/>
              </p:cNvSpPr>
              <p:nvPr userDrawn="1"/>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9" name="Freeform 17">
                <a:extLst>
                  <a:ext uri="{FF2B5EF4-FFF2-40B4-BE49-F238E27FC236}">
                    <a16:creationId xmlns:a16="http://schemas.microsoft.com/office/drawing/2014/main" id="{8E6DA5D8-E3BD-4266-A58A-A5436034387F}"/>
                  </a:ext>
                </a:extLst>
              </p:cNvPr>
              <p:cNvSpPr>
                <a:spLocks/>
              </p:cNvSpPr>
              <p:nvPr userDrawn="1"/>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0" name="Freeform 18">
                <a:extLst>
                  <a:ext uri="{FF2B5EF4-FFF2-40B4-BE49-F238E27FC236}">
                    <a16:creationId xmlns:a16="http://schemas.microsoft.com/office/drawing/2014/main" id="{F99D9FB5-EC20-47B5-A4A2-CB5565B6E114}"/>
                  </a:ext>
                </a:extLst>
              </p:cNvPr>
              <p:cNvSpPr>
                <a:spLocks/>
              </p:cNvSpPr>
              <p:nvPr userDrawn="1"/>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1" name="Freeform 19">
                <a:extLst>
                  <a:ext uri="{FF2B5EF4-FFF2-40B4-BE49-F238E27FC236}">
                    <a16:creationId xmlns:a16="http://schemas.microsoft.com/office/drawing/2014/main" id="{72753D06-A837-48F1-ACBF-C41E8DA67101}"/>
                  </a:ext>
                </a:extLst>
              </p:cNvPr>
              <p:cNvSpPr>
                <a:spLocks/>
              </p:cNvSpPr>
              <p:nvPr userDrawn="1"/>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2" name="Freeform 20">
                <a:extLst>
                  <a:ext uri="{FF2B5EF4-FFF2-40B4-BE49-F238E27FC236}">
                    <a16:creationId xmlns:a16="http://schemas.microsoft.com/office/drawing/2014/main" id="{4C0F2AA0-BD81-4650-82C7-06C922396877}"/>
                  </a:ext>
                </a:extLst>
              </p:cNvPr>
              <p:cNvSpPr>
                <a:spLocks/>
              </p:cNvSpPr>
              <p:nvPr userDrawn="1"/>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3" name="Oval 102">
                <a:extLst>
                  <a:ext uri="{FF2B5EF4-FFF2-40B4-BE49-F238E27FC236}">
                    <a16:creationId xmlns:a16="http://schemas.microsoft.com/office/drawing/2014/main" id="{DA0B10D1-BA53-4FFF-8C62-2AEF1FCAA0F8}"/>
                  </a:ext>
                </a:extLst>
              </p:cNvPr>
              <p:cNvSpPr>
                <a:spLocks noChangeArrowheads="1"/>
              </p:cNvSpPr>
              <p:nvPr userDrawn="1"/>
            </p:nvSpPr>
            <p:spPr bwMode="gray">
              <a:xfrm>
                <a:off x="9203225" y="468198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4" name="Oval 103">
                <a:extLst>
                  <a:ext uri="{FF2B5EF4-FFF2-40B4-BE49-F238E27FC236}">
                    <a16:creationId xmlns:a16="http://schemas.microsoft.com/office/drawing/2014/main" id="{2612C330-A45C-4C10-96BF-F9F70EBBCB7C}"/>
                  </a:ext>
                </a:extLst>
              </p:cNvPr>
              <p:cNvSpPr>
                <a:spLocks noChangeArrowheads="1"/>
              </p:cNvSpPr>
              <p:nvPr userDrawn="1"/>
            </p:nvSpPr>
            <p:spPr bwMode="gray">
              <a:xfrm>
                <a:off x="9203225" y="4821973"/>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5" name="Oval 104">
                <a:extLst>
                  <a:ext uri="{FF2B5EF4-FFF2-40B4-BE49-F238E27FC236}">
                    <a16:creationId xmlns:a16="http://schemas.microsoft.com/office/drawing/2014/main" id="{F7ADE268-621F-4EDC-9EAF-2FC730B0B5D9}"/>
                  </a:ext>
                </a:extLst>
              </p:cNvPr>
              <p:cNvSpPr>
                <a:spLocks noChangeArrowheads="1"/>
              </p:cNvSpPr>
              <p:nvPr userDrawn="1"/>
            </p:nvSpPr>
            <p:spPr bwMode="gray">
              <a:xfrm>
                <a:off x="9203225" y="495927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6" name="Oval 105">
                <a:extLst>
                  <a:ext uri="{FF2B5EF4-FFF2-40B4-BE49-F238E27FC236}">
                    <a16:creationId xmlns:a16="http://schemas.microsoft.com/office/drawing/2014/main" id="{18877468-4B23-4D56-B10F-0D6828AD1F83}"/>
                  </a:ext>
                </a:extLst>
              </p:cNvPr>
              <p:cNvSpPr>
                <a:spLocks noChangeArrowheads="1"/>
              </p:cNvSpPr>
              <p:nvPr userDrawn="1"/>
            </p:nvSpPr>
            <p:spPr bwMode="gray">
              <a:xfrm>
                <a:off x="9203225" y="509926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7" name="Freeform 25">
                <a:extLst>
                  <a:ext uri="{FF2B5EF4-FFF2-40B4-BE49-F238E27FC236}">
                    <a16:creationId xmlns:a16="http://schemas.microsoft.com/office/drawing/2014/main" id="{0D9C0A28-2B78-4D93-B657-5CD5F7D186B4}"/>
                  </a:ext>
                </a:extLst>
              </p:cNvPr>
              <p:cNvSpPr>
                <a:spLocks/>
              </p:cNvSpPr>
              <p:nvPr userDrawn="1"/>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8" name="Oval 107">
                <a:extLst>
                  <a:ext uri="{FF2B5EF4-FFF2-40B4-BE49-F238E27FC236}">
                    <a16:creationId xmlns:a16="http://schemas.microsoft.com/office/drawing/2014/main" id="{AE09FC56-6821-47FC-8FC7-2F0029474887}"/>
                  </a:ext>
                </a:extLst>
              </p:cNvPr>
              <p:cNvSpPr>
                <a:spLocks noChangeArrowheads="1"/>
              </p:cNvSpPr>
              <p:nvPr userDrawn="1"/>
            </p:nvSpPr>
            <p:spPr bwMode="gray">
              <a:xfrm>
                <a:off x="9203225" y="5376553"/>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9" name="Oval 108">
                <a:extLst>
                  <a:ext uri="{FF2B5EF4-FFF2-40B4-BE49-F238E27FC236}">
                    <a16:creationId xmlns:a16="http://schemas.microsoft.com/office/drawing/2014/main" id="{43F9E2EE-FD3D-44B8-8995-2C99EBEE98D8}"/>
                  </a:ext>
                </a:extLst>
              </p:cNvPr>
              <p:cNvSpPr>
                <a:spLocks noChangeArrowheads="1"/>
              </p:cNvSpPr>
              <p:nvPr userDrawn="1"/>
            </p:nvSpPr>
            <p:spPr bwMode="gray">
              <a:xfrm>
                <a:off x="9203225" y="5513851"/>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0" name="Oval 109">
                <a:extLst>
                  <a:ext uri="{FF2B5EF4-FFF2-40B4-BE49-F238E27FC236}">
                    <a16:creationId xmlns:a16="http://schemas.microsoft.com/office/drawing/2014/main" id="{271DE23B-1AAA-4E6C-86F6-2E2CB9962088}"/>
                  </a:ext>
                </a:extLst>
              </p:cNvPr>
              <p:cNvSpPr>
                <a:spLocks noChangeArrowheads="1"/>
              </p:cNvSpPr>
              <p:nvPr userDrawn="1"/>
            </p:nvSpPr>
            <p:spPr bwMode="gray">
              <a:xfrm>
                <a:off x="9203225" y="5653841"/>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1" name="Freeform 29">
                <a:extLst>
                  <a:ext uri="{FF2B5EF4-FFF2-40B4-BE49-F238E27FC236}">
                    <a16:creationId xmlns:a16="http://schemas.microsoft.com/office/drawing/2014/main" id="{BF22106E-6818-4E4E-8B23-4092B370D020}"/>
                  </a:ext>
                </a:extLst>
              </p:cNvPr>
              <p:cNvSpPr>
                <a:spLocks/>
              </p:cNvSpPr>
              <p:nvPr userDrawn="1"/>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2" name="Oval 111">
                <a:extLst>
                  <a:ext uri="{FF2B5EF4-FFF2-40B4-BE49-F238E27FC236}">
                    <a16:creationId xmlns:a16="http://schemas.microsoft.com/office/drawing/2014/main" id="{3B043737-7C08-4103-A972-D6C27D01333B}"/>
                  </a:ext>
                </a:extLst>
              </p:cNvPr>
              <p:cNvSpPr>
                <a:spLocks noChangeArrowheads="1"/>
              </p:cNvSpPr>
              <p:nvPr userDrawn="1"/>
            </p:nvSpPr>
            <p:spPr bwMode="gray">
              <a:xfrm>
                <a:off x="9203225" y="579114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3" name="Rectangle 112">
                <a:extLst>
                  <a:ext uri="{FF2B5EF4-FFF2-40B4-BE49-F238E27FC236}">
                    <a16:creationId xmlns:a16="http://schemas.microsoft.com/office/drawing/2014/main" id="{450978F9-6BAD-4605-A51B-BECE12A06569}"/>
                  </a:ext>
                </a:extLst>
              </p:cNvPr>
              <p:cNvSpPr>
                <a:spLocks noChangeArrowheads="1"/>
              </p:cNvSpPr>
              <p:nvPr userDrawn="1"/>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4" name="Freeform 32">
                <a:extLst>
                  <a:ext uri="{FF2B5EF4-FFF2-40B4-BE49-F238E27FC236}">
                    <a16:creationId xmlns:a16="http://schemas.microsoft.com/office/drawing/2014/main" id="{1B56E46C-F6EF-45E7-8DD4-34AD877D4AE1}"/>
                  </a:ext>
                </a:extLst>
              </p:cNvPr>
              <p:cNvSpPr>
                <a:spLocks/>
              </p:cNvSpPr>
              <p:nvPr userDrawn="1"/>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5" name="Freeform 33">
                <a:extLst>
                  <a:ext uri="{FF2B5EF4-FFF2-40B4-BE49-F238E27FC236}">
                    <a16:creationId xmlns:a16="http://schemas.microsoft.com/office/drawing/2014/main" id="{66881CB7-22B6-443B-97B3-12BEA7EC4D0C}"/>
                  </a:ext>
                </a:extLst>
              </p:cNvPr>
              <p:cNvSpPr>
                <a:spLocks/>
              </p:cNvSpPr>
              <p:nvPr userDrawn="1"/>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6" name="Freeform 34">
                <a:extLst>
                  <a:ext uri="{FF2B5EF4-FFF2-40B4-BE49-F238E27FC236}">
                    <a16:creationId xmlns:a16="http://schemas.microsoft.com/office/drawing/2014/main" id="{4C97B99A-9988-48B5-B633-24904429B5C5}"/>
                  </a:ext>
                </a:extLst>
              </p:cNvPr>
              <p:cNvSpPr>
                <a:spLocks/>
              </p:cNvSpPr>
              <p:nvPr userDrawn="1"/>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7" name="Freeform 35">
                <a:extLst>
                  <a:ext uri="{FF2B5EF4-FFF2-40B4-BE49-F238E27FC236}">
                    <a16:creationId xmlns:a16="http://schemas.microsoft.com/office/drawing/2014/main" id="{292A9BC6-1BC1-401E-A904-37F2B5B9A033}"/>
                  </a:ext>
                </a:extLst>
              </p:cNvPr>
              <p:cNvSpPr>
                <a:spLocks/>
              </p:cNvSpPr>
              <p:nvPr userDrawn="1"/>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8" name="Freeform 36">
                <a:extLst>
                  <a:ext uri="{FF2B5EF4-FFF2-40B4-BE49-F238E27FC236}">
                    <a16:creationId xmlns:a16="http://schemas.microsoft.com/office/drawing/2014/main" id="{A2EED1B8-6A77-4EA4-98FD-356346A68D12}"/>
                  </a:ext>
                </a:extLst>
              </p:cNvPr>
              <p:cNvSpPr>
                <a:spLocks/>
              </p:cNvSpPr>
              <p:nvPr userDrawn="1"/>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9" name="Freeform 37">
                <a:extLst>
                  <a:ext uri="{FF2B5EF4-FFF2-40B4-BE49-F238E27FC236}">
                    <a16:creationId xmlns:a16="http://schemas.microsoft.com/office/drawing/2014/main" id="{7FEAB4D7-D623-49D8-A7FC-E39C7C000524}"/>
                  </a:ext>
                </a:extLst>
              </p:cNvPr>
              <p:cNvSpPr>
                <a:spLocks/>
              </p:cNvSpPr>
              <p:nvPr userDrawn="1"/>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0" name="Freeform 38">
                <a:extLst>
                  <a:ext uri="{FF2B5EF4-FFF2-40B4-BE49-F238E27FC236}">
                    <a16:creationId xmlns:a16="http://schemas.microsoft.com/office/drawing/2014/main" id="{5757BC31-8050-49A0-8A36-356806A73CD4}"/>
                  </a:ext>
                </a:extLst>
              </p:cNvPr>
              <p:cNvSpPr>
                <a:spLocks/>
              </p:cNvSpPr>
              <p:nvPr userDrawn="1"/>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1" name="Freeform 39">
                <a:extLst>
                  <a:ext uri="{FF2B5EF4-FFF2-40B4-BE49-F238E27FC236}">
                    <a16:creationId xmlns:a16="http://schemas.microsoft.com/office/drawing/2014/main" id="{947DF2BD-E5EA-4DA2-B48F-81135892A4E3}"/>
                  </a:ext>
                </a:extLst>
              </p:cNvPr>
              <p:cNvSpPr>
                <a:spLocks/>
              </p:cNvSpPr>
              <p:nvPr userDrawn="1"/>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2" name="Oval 121">
                <a:extLst>
                  <a:ext uri="{FF2B5EF4-FFF2-40B4-BE49-F238E27FC236}">
                    <a16:creationId xmlns:a16="http://schemas.microsoft.com/office/drawing/2014/main" id="{A46DCB54-EE28-4E51-BA06-9541609C16BC}"/>
                  </a:ext>
                </a:extLst>
              </p:cNvPr>
              <p:cNvSpPr>
                <a:spLocks noChangeArrowheads="1"/>
              </p:cNvSpPr>
              <p:nvPr userDrawn="1"/>
            </p:nvSpPr>
            <p:spPr bwMode="gray">
              <a:xfrm>
                <a:off x="9889718" y="499157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3" name="Oval 122">
                <a:extLst>
                  <a:ext uri="{FF2B5EF4-FFF2-40B4-BE49-F238E27FC236}">
                    <a16:creationId xmlns:a16="http://schemas.microsoft.com/office/drawing/2014/main" id="{9B3062DE-E2C1-41BC-95EF-07C19D0288AD}"/>
                  </a:ext>
                </a:extLst>
              </p:cNvPr>
              <p:cNvSpPr>
                <a:spLocks noChangeArrowheads="1"/>
              </p:cNvSpPr>
              <p:nvPr userDrawn="1"/>
            </p:nvSpPr>
            <p:spPr bwMode="gray">
              <a:xfrm>
                <a:off x="9889718" y="5131568"/>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4" name="Oval 123">
                <a:extLst>
                  <a:ext uri="{FF2B5EF4-FFF2-40B4-BE49-F238E27FC236}">
                    <a16:creationId xmlns:a16="http://schemas.microsoft.com/office/drawing/2014/main" id="{DB91B7F1-0C0A-40E3-941D-C7D471100F97}"/>
                  </a:ext>
                </a:extLst>
              </p:cNvPr>
              <p:cNvSpPr>
                <a:spLocks noChangeArrowheads="1"/>
              </p:cNvSpPr>
              <p:nvPr userDrawn="1"/>
            </p:nvSpPr>
            <p:spPr bwMode="gray">
              <a:xfrm>
                <a:off x="9889718" y="5268867"/>
                <a:ext cx="45767" cy="45767"/>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5" name="Oval 124">
                <a:extLst>
                  <a:ext uri="{FF2B5EF4-FFF2-40B4-BE49-F238E27FC236}">
                    <a16:creationId xmlns:a16="http://schemas.microsoft.com/office/drawing/2014/main" id="{5BB0CC25-FB84-4EAD-91AB-C2AE2E62B96B}"/>
                  </a:ext>
                </a:extLst>
              </p:cNvPr>
              <p:cNvSpPr>
                <a:spLocks noChangeArrowheads="1"/>
              </p:cNvSpPr>
              <p:nvPr userDrawn="1"/>
            </p:nvSpPr>
            <p:spPr bwMode="gray">
              <a:xfrm>
                <a:off x="9889718" y="5406165"/>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6" name="Oval 125">
                <a:extLst>
                  <a:ext uri="{FF2B5EF4-FFF2-40B4-BE49-F238E27FC236}">
                    <a16:creationId xmlns:a16="http://schemas.microsoft.com/office/drawing/2014/main" id="{DCC48F03-3076-46E7-87DA-B975C2756E4F}"/>
                  </a:ext>
                </a:extLst>
              </p:cNvPr>
              <p:cNvSpPr>
                <a:spLocks noChangeArrowheads="1"/>
              </p:cNvSpPr>
              <p:nvPr userDrawn="1"/>
            </p:nvSpPr>
            <p:spPr bwMode="gray">
              <a:xfrm>
                <a:off x="9889718" y="5546156"/>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7" name="Oval 126">
                <a:extLst>
                  <a:ext uri="{FF2B5EF4-FFF2-40B4-BE49-F238E27FC236}">
                    <a16:creationId xmlns:a16="http://schemas.microsoft.com/office/drawing/2014/main" id="{06769420-88C6-4B3A-9E9B-1DEEC17F9239}"/>
                  </a:ext>
                </a:extLst>
              </p:cNvPr>
              <p:cNvSpPr>
                <a:spLocks noChangeArrowheads="1"/>
              </p:cNvSpPr>
              <p:nvPr userDrawn="1"/>
            </p:nvSpPr>
            <p:spPr bwMode="gray">
              <a:xfrm>
                <a:off x="9889718" y="5683456"/>
                <a:ext cx="45767" cy="45767"/>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8" name="Oval 127">
                <a:extLst>
                  <a:ext uri="{FF2B5EF4-FFF2-40B4-BE49-F238E27FC236}">
                    <a16:creationId xmlns:a16="http://schemas.microsoft.com/office/drawing/2014/main" id="{0919F2C4-4414-4562-BC09-3A74441C79A0}"/>
                  </a:ext>
                </a:extLst>
              </p:cNvPr>
              <p:cNvSpPr>
                <a:spLocks noChangeArrowheads="1"/>
              </p:cNvSpPr>
              <p:nvPr userDrawn="1"/>
            </p:nvSpPr>
            <p:spPr bwMode="gray">
              <a:xfrm>
                <a:off x="9889718" y="582344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9" name="Oval 128">
                <a:extLst>
                  <a:ext uri="{FF2B5EF4-FFF2-40B4-BE49-F238E27FC236}">
                    <a16:creationId xmlns:a16="http://schemas.microsoft.com/office/drawing/2014/main" id="{C760F144-44B2-45FB-BC00-6A11B2352B8D}"/>
                  </a:ext>
                </a:extLst>
              </p:cNvPr>
              <p:cNvSpPr>
                <a:spLocks noChangeArrowheads="1"/>
              </p:cNvSpPr>
              <p:nvPr userDrawn="1"/>
            </p:nvSpPr>
            <p:spPr bwMode="gray">
              <a:xfrm>
                <a:off x="9889718" y="5960744"/>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0" name="Freeform 48">
                <a:extLst>
                  <a:ext uri="{FF2B5EF4-FFF2-40B4-BE49-F238E27FC236}">
                    <a16:creationId xmlns:a16="http://schemas.microsoft.com/office/drawing/2014/main" id="{F4ECC6E5-A5EB-46D5-89BE-53BD4810AFD4}"/>
                  </a:ext>
                </a:extLst>
              </p:cNvPr>
              <p:cNvSpPr>
                <a:spLocks/>
              </p:cNvSpPr>
              <p:nvPr userDrawn="1"/>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1" name="Oval 130">
                <a:extLst>
                  <a:ext uri="{FF2B5EF4-FFF2-40B4-BE49-F238E27FC236}">
                    <a16:creationId xmlns:a16="http://schemas.microsoft.com/office/drawing/2014/main" id="{460FB30C-0207-44EB-9E5E-C6792386DDE1}"/>
                  </a:ext>
                </a:extLst>
              </p:cNvPr>
              <p:cNvSpPr>
                <a:spLocks noChangeArrowheads="1"/>
              </p:cNvSpPr>
              <p:nvPr userDrawn="1"/>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2" name="Freeform 50">
                <a:extLst>
                  <a:ext uri="{FF2B5EF4-FFF2-40B4-BE49-F238E27FC236}">
                    <a16:creationId xmlns:a16="http://schemas.microsoft.com/office/drawing/2014/main" id="{3F7256A5-3F84-4130-9EA5-8DE93264ACE1}"/>
                  </a:ext>
                </a:extLst>
              </p:cNvPr>
              <p:cNvSpPr>
                <a:spLocks/>
              </p:cNvSpPr>
              <p:nvPr userDrawn="1"/>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3" name="Oval 132">
                <a:extLst>
                  <a:ext uri="{FF2B5EF4-FFF2-40B4-BE49-F238E27FC236}">
                    <a16:creationId xmlns:a16="http://schemas.microsoft.com/office/drawing/2014/main" id="{AF262B7F-6420-4641-A4DC-1E41B16E303C}"/>
                  </a:ext>
                </a:extLst>
              </p:cNvPr>
              <p:cNvSpPr>
                <a:spLocks noChangeArrowheads="1"/>
              </p:cNvSpPr>
              <p:nvPr userDrawn="1"/>
            </p:nvSpPr>
            <p:spPr bwMode="gray">
              <a:xfrm>
                <a:off x="9203225" y="5928439"/>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4" name="Rectangle 133">
                <a:extLst>
                  <a:ext uri="{FF2B5EF4-FFF2-40B4-BE49-F238E27FC236}">
                    <a16:creationId xmlns:a16="http://schemas.microsoft.com/office/drawing/2014/main" id="{6648C072-5C6C-48C2-8B5F-639735D7ACD2}"/>
                  </a:ext>
                </a:extLst>
              </p:cNvPr>
              <p:cNvSpPr>
                <a:spLocks noChangeArrowheads="1"/>
              </p:cNvSpPr>
              <p:nvPr userDrawn="1"/>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5" name="Freeform 53">
                <a:extLst>
                  <a:ext uri="{FF2B5EF4-FFF2-40B4-BE49-F238E27FC236}">
                    <a16:creationId xmlns:a16="http://schemas.microsoft.com/office/drawing/2014/main" id="{04A3092D-329E-474B-9D47-C25E32C2297F}"/>
                  </a:ext>
                </a:extLst>
              </p:cNvPr>
              <p:cNvSpPr>
                <a:spLocks/>
              </p:cNvSpPr>
              <p:nvPr userDrawn="1"/>
            </p:nvSpPr>
            <p:spPr bwMode="gray">
              <a:xfrm>
                <a:off x="10772739" y="5917670"/>
                <a:ext cx="1243765" cy="621882"/>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6" name="Freeform 55">
                <a:extLst>
                  <a:ext uri="{FF2B5EF4-FFF2-40B4-BE49-F238E27FC236}">
                    <a16:creationId xmlns:a16="http://schemas.microsoft.com/office/drawing/2014/main" id="{B53D536B-5ED8-4828-872C-DF1ADA130D41}"/>
                  </a:ext>
                </a:extLst>
              </p:cNvPr>
              <p:cNvSpPr>
                <a:spLocks/>
              </p:cNvSpPr>
              <p:nvPr userDrawn="1"/>
            </p:nvSpPr>
            <p:spPr bwMode="gray">
              <a:xfrm>
                <a:off x="11198092" y="5990359"/>
                <a:ext cx="1449301" cy="697263"/>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37" name="Freeform 59">
                <a:extLst>
                  <a:ext uri="{FF2B5EF4-FFF2-40B4-BE49-F238E27FC236}">
                    <a16:creationId xmlns:a16="http://schemas.microsoft.com/office/drawing/2014/main" id="{BCEB0A85-A31D-420C-A498-2376899083C5}"/>
                  </a:ext>
                </a:extLst>
              </p:cNvPr>
              <p:cNvSpPr>
                <a:spLocks/>
              </p:cNvSpPr>
              <p:nvPr userDrawn="1"/>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8" name="Freeform 60">
                <a:extLst>
                  <a:ext uri="{FF2B5EF4-FFF2-40B4-BE49-F238E27FC236}">
                    <a16:creationId xmlns:a16="http://schemas.microsoft.com/office/drawing/2014/main" id="{E0A85934-4759-40BD-AE41-D759337A2759}"/>
                  </a:ext>
                </a:extLst>
              </p:cNvPr>
              <p:cNvSpPr>
                <a:spLocks/>
              </p:cNvSpPr>
              <p:nvPr userDrawn="1"/>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9" name="Rectangle 138">
                <a:extLst>
                  <a:ext uri="{FF2B5EF4-FFF2-40B4-BE49-F238E27FC236}">
                    <a16:creationId xmlns:a16="http://schemas.microsoft.com/office/drawing/2014/main" id="{BDD7C752-BD6E-483F-9AEB-D86E9BB9A02B}"/>
                  </a:ext>
                </a:extLst>
              </p:cNvPr>
              <p:cNvSpPr>
                <a:spLocks noChangeArrowheads="1"/>
              </p:cNvSpPr>
              <p:nvPr userDrawn="1"/>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0" name="Freeform 62">
                <a:extLst>
                  <a:ext uri="{FF2B5EF4-FFF2-40B4-BE49-F238E27FC236}">
                    <a16:creationId xmlns:a16="http://schemas.microsoft.com/office/drawing/2014/main" id="{0351BCBD-522A-4103-ADFE-23522BF7401F}"/>
                  </a:ext>
                </a:extLst>
              </p:cNvPr>
              <p:cNvSpPr>
                <a:spLocks/>
              </p:cNvSpPr>
              <p:nvPr userDrawn="1"/>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41" name="Rectangle 140">
                <a:extLst>
                  <a:ext uri="{FF2B5EF4-FFF2-40B4-BE49-F238E27FC236}">
                    <a16:creationId xmlns:a16="http://schemas.microsoft.com/office/drawing/2014/main" id="{5E410F93-6648-4A83-B3CF-A5C3C12007F7}"/>
                  </a:ext>
                </a:extLst>
              </p:cNvPr>
              <p:cNvSpPr>
                <a:spLocks noChangeArrowheads="1"/>
              </p:cNvSpPr>
              <p:nvPr userDrawn="1"/>
            </p:nvSpPr>
            <p:spPr bwMode="gray">
              <a:xfrm>
                <a:off x="10840041" y="5481545"/>
                <a:ext cx="43074" cy="91532"/>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2" name="Freeform 64">
                <a:extLst>
                  <a:ext uri="{FF2B5EF4-FFF2-40B4-BE49-F238E27FC236}">
                    <a16:creationId xmlns:a16="http://schemas.microsoft.com/office/drawing/2014/main" id="{C81FA598-A0B3-44B6-AB22-49E2C17715E6}"/>
                  </a:ext>
                </a:extLst>
              </p:cNvPr>
              <p:cNvSpPr>
                <a:spLocks/>
              </p:cNvSpPr>
              <p:nvPr userDrawn="1"/>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3" name="Freeform 65">
                <a:extLst>
                  <a:ext uri="{FF2B5EF4-FFF2-40B4-BE49-F238E27FC236}">
                    <a16:creationId xmlns:a16="http://schemas.microsoft.com/office/drawing/2014/main" id="{84B71087-8FC0-4CE4-94BD-F5F3CBD2D297}"/>
                  </a:ext>
                </a:extLst>
              </p:cNvPr>
              <p:cNvSpPr>
                <a:spLocks/>
              </p:cNvSpPr>
              <p:nvPr userDrawn="1"/>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4" name="Rectangle 143">
                <a:extLst>
                  <a:ext uri="{FF2B5EF4-FFF2-40B4-BE49-F238E27FC236}">
                    <a16:creationId xmlns:a16="http://schemas.microsoft.com/office/drawing/2014/main" id="{66E20E85-961E-4E4C-9223-A4952D3164BA}"/>
                  </a:ext>
                </a:extLst>
              </p:cNvPr>
              <p:cNvSpPr>
                <a:spLocks noChangeArrowheads="1"/>
              </p:cNvSpPr>
              <p:nvPr userDrawn="1"/>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5" name="Rectangle 144">
                <a:extLst>
                  <a:ext uri="{FF2B5EF4-FFF2-40B4-BE49-F238E27FC236}">
                    <a16:creationId xmlns:a16="http://schemas.microsoft.com/office/drawing/2014/main" id="{B3F8E92C-A81B-4672-8371-B2E54206B903}"/>
                  </a:ext>
                </a:extLst>
              </p:cNvPr>
              <p:cNvSpPr>
                <a:spLocks noChangeArrowheads="1"/>
              </p:cNvSpPr>
              <p:nvPr userDrawn="1"/>
            </p:nvSpPr>
            <p:spPr bwMode="gray">
              <a:xfrm>
                <a:off x="7943307" y="5048112"/>
                <a:ext cx="43074" cy="91532"/>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6" name="Freeform 68">
                <a:extLst>
                  <a:ext uri="{FF2B5EF4-FFF2-40B4-BE49-F238E27FC236}">
                    <a16:creationId xmlns:a16="http://schemas.microsoft.com/office/drawing/2014/main" id="{F4059822-CE27-4CEB-9D20-5F1AC3637DE6}"/>
                  </a:ext>
                </a:extLst>
              </p:cNvPr>
              <p:cNvSpPr>
                <a:spLocks/>
              </p:cNvSpPr>
              <p:nvPr userDrawn="1"/>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7" name="Freeform 69">
                <a:extLst>
                  <a:ext uri="{FF2B5EF4-FFF2-40B4-BE49-F238E27FC236}">
                    <a16:creationId xmlns:a16="http://schemas.microsoft.com/office/drawing/2014/main" id="{AC57A572-BEAD-4737-8DD9-36A3776C7BA2}"/>
                  </a:ext>
                </a:extLst>
              </p:cNvPr>
              <p:cNvSpPr>
                <a:spLocks/>
              </p:cNvSpPr>
              <p:nvPr userDrawn="1"/>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8" name="Freeform 70">
                <a:extLst>
                  <a:ext uri="{FF2B5EF4-FFF2-40B4-BE49-F238E27FC236}">
                    <a16:creationId xmlns:a16="http://schemas.microsoft.com/office/drawing/2014/main" id="{45DE3373-225F-461B-9D24-46AC6D4AD81E}"/>
                  </a:ext>
                </a:extLst>
              </p:cNvPr>
              <p:cNvSpPr>
                <a:spLocks/>
              </p:cNvSpPr>
              <p:nvPr userDrawn="1"/>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9" name="Rectangle 148">
                <a:extLst>
                  <a:ext uri="{FF2B5EF4-FFF2-40B4-BE49-F238E27FC236}">
                    <a16:creationId xmlns:a16="http://schemas.microsoft.com/office/drawing/2014/main" id="{1B659661-D37A-4B7E-855D-EAD5309484A0}"/>
                  </a:ext>
                </a:extLst>
              </p:cNvPr>
              <p:cNvSpPr>
                <a:spLocks noChangeArrowheads="1"/>
              </p:cNvSpPr>
              <p:nvPr userDrawn="1"/>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0" name="Freeform 72">
                <a:extLst>
                  <a:ext uri="{FF2B5EF4-FFF2-40B4-BE49-F238E27FC236}">
                    <a16:creationId xmlns:a16="http://schemas.microsoft.com/office/drawing/2014/main" id="{7ED29502-A5CC-483B-9D53-9EB4F5B4A92E}"/>
                  </a:ext>
                </a:extLst>
              </p:cNvPr>
              <p:cNvSpPr>
                <a:spLocks/>
              </p:cNvSpPr>
              <p:nvPr userDrawn="1"/>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1" name="Freeform 73">
                <a:extLst>
                  <a:ext uri="{FF2B5EF4-FFF2-40B4-BE49-F238E27FC236}">
                    <a16:creationId xmlns:a16="http://schemas.microsoft.com/office/drawing/2014/main" id="{5B1ED106-37D8-4CDD-9BFA-F62D97BFD9FD}"/>
                  </a:ext>
                </a:extLst>
              </p:cNvPr>
              <p:cNvSpPr>
                <a:spLocks/>
              </p:cNvSpPr>
              <p:nvPr userDrawn="1"/>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2" name="Rectangle 151">
                <a:extLst>
                  <a:ext uri="{FF2B5EF4-FFF2-40B4-BE49-F238E27FC236}">
                    <a16:creationId xmlns:a16="http://schemas.microsoft.com/office/drawing/2014/main" id="{F97E26E2-0BA6-43DA-822E-D8B3381901B4}"/>
                  </a:ext>
                </a:extLst>
              </p:cNvPr>
              <p:cNvSpPr>
                <a:spLocks noChangeArrowheads="1"/>
              </p:cNvSpPr>
              <p:nvPr userDrawn="1"/>
            </p:nvSpPr>
            <p:spPr bwMode="gray">
              <a:xfrm>
                <a:off x="9846644" y="6273032"/>
                <a:ext cx="26921" cy="56536"/>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3" name="Freeform 75">
                <a:extLst>
                  <a:ext uri="{FF2B5EF4-FFF2-40B4-BE49-F238E27FC236}">
                    <a16:creationId xmlns:a16="http://schemas.microsoft.com/office/drawing/2014/main" id="{2529967A-0E0B-428E-AEB2-0C2A24898E48}"/>
                  </a:ext>
                </a:extLst>
              </p:cNvPr>
              <p:cNvSpPr>
                <a:spLocks/>
              </p:cNvSpPr>
              <p:nvPr userDrawn="1"/>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4" name="Rectangle 153">
                <a:extLst>
                  <a:ext uri="{FF2B5EF4-FFF2-40B4-BE49-F238E27FC236}">
                    <a16:creationId xmlns:a16="http://schemas.microsoft.com/office/drawing/2014/main" id="{55E76401-56A1-42CA-95B2-73A3D796B3C0}"/>
                  </a:ext>
                </a:extLst>
              </p:cNvPr>
              <p:cNvSpPr>
                <a:spLocks noChangeArrowheads="1"/>
              </p:cNvSpPr>
              <p:nvPr userDrawn="1"/>
            </p:nvSpPr>
            <p:spPr bwMode="gray">
              <a:xfrm>
                <a:off x="10939649" y="4991577"/>
                <a:ext cx="966476" cy="573425"/>
              </a:xfrm>
              <a:prstGeom prst="rect">
                <a:avLst/>
              </a:prstGeom>
              <a:solidFill>
                <a:srgbClr val="D0482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55" name="Freeform 80">
                <a:extLst>
                  <a:ext uri="{FF2B5EF4-FFF2-40B4-BE49-F238E27FC236}">
                    <a16:creationId xmlns:a16="http://schemas.microsoft.com/office/drawing/2014/main" id="{A7C5B9F8-D006-459E-80F0-5DE7EA2745B2}"/>
                  </a:ext>
                </a:extLst>
              </p:cNvPr>
              <p:cNvSpPr>
                <a:spLocks/>
              </p:cNvSpPr>
              <p:nvPr userDrawn="1"/>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6" name="Rectangle 155">
                <a:extLst>
                  <a:ext uri="{FF2B5EF4-FFF2-40B4-BE49-F238E27FC236}">
                    <a16:creationId xmlns:a16="http://schemas.microsoft.com/office/drawing/2014/main" id="{5018B7FF-061C-40DD-907B-5105B3D11A31}"/>
                  </a:ext>
                </a:extLst>
              </p:cNvPr>
              <p:cNvSpPr>
                <a:spLocks noChangeArrowheads="1"/>
              </p:cNvSpPr>
              <p:nvPr userDrawn="1"/>
            </p:nvSpPr>
            <p:spPr bwMode="gray">
              <a:xfrm>
                <a:off x="9897795" y="6079198"/>
                <a:ext cx="414588" cy="250369"/>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7" name="Freeform 83">
                <a:extLst>
                  <a:ext uri="{FF2B5EF4-FFF2-40B4-BE49-F238E27FC236}">
                    <a16:creationId xmlns:a16="http://schemas.microsoft.com/office/drawing/2014/main" id="{7E92BB9F-B7CB-499A-AE7A-F22031D94990}"/>
                  </a:ext>
                </a:extLst>
              </p:cNvPr>
              <p:cNvSpPr>
                <a:spLocks/>
              </p:cNvSpPr>
              <p:nvPr userDrawn="1"/>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8" name="Freeform 84">
                <a:extLst>
                  <a:ext uri="{FF2B5EF4-FFF2-40B4-BE49-F238E27FC236}">
                    <a16:creationId xmlns:a16="http://schemas.microsoft.com/office/drawing/2014/main" id="{7E02A2A5-0B91-4015-8D5F-BD4BE9521EB7}"/>
                  </a:ext>
                </a:extLst>
              </p:cNvPr>
              <p:cNvSpPr>
                <a:spLocks/>
              </p:cNvSpPr>
              <p:nvPr userDrawn="1"/>
            </p:nvSpPr>
            <p:spPr bwMode="gray">
              <a:xfrm>
                <a:off x="6931065" y="4480072"/>
                <a:ext cx="1012242" cy="756489"/>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59" name="Freeform 85">
                <a:extLst>
                  <a:ext uri="{FF2B5EF4-FFF2-40B4-BE49-F238E27FC236}">
                    <a16:creationId xmlns:a16="http://schemas.microsoft.com/office/drawing/2014/main" id="{C6DD0C20-2142-460F-BC12-429C2E5064B1}"/>
                  </a:ext>
                </a:extLst>
              </p:cNvPr>
              <p:cNvSpPr>
                <a:spLocks/>
              </p:cNvSpPr>
              <p:nvPr userDrawn="1"/>
            </p:nvSpPr>
            <p:spPr bwMode="gray">
              <a:xfrm>
                <a:off x="7016288" y="4545006"/>
                <a:ext cx="854330" cy="670017"/>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D048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60" name="Freeform 86">
                <a:extLst>
                  <a:ext uri="{FF2B5EF4-FFF2-40B4-BE49-F238E27FC236}">
                    <a16:creationId xmlns:a16="http://schemas.microsoft.com/office/drawing/2014/main" id="{EB2EB6F8-364E-425E-970B-54BFE0651F78}"/>
                  </a:ext>
                </a:extLst>
              </p:cNvPr>
              <p:cNvSpPr>
                <a:spLocks/>
              </p:cNvSpPr>
              <p:nvPr userDrawn="1"/>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grpSp>
        <p:pic>
          <p:nvPicPr>
            <p:cNvPr id="84" name="Picture 83">
              <a:extLst>
                <a:ext uri="{FF2B5EF4-FFF2-40B4-BE49-F238E27FC236}">
                  <a16:creationId xmlns:a16="http://schemas.microsoft.com/office/drawing/2014/main" id="{8AB7910C-DAEF-4067-8EDA-A859C2FE175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086220" y="4568432"/>
              <a:ext cx="736358" cy="613092"/>
            </a:xfrm>
            <a:prstGeom prst="rect">
              <a:avLst/>
            </a:prstGeom>
          </p:spPr>
        </p:pic>
        <p:pic>
          <p:nvPicPr>
            <p:cNvPr id="85" name="Picture 84">
              <a:extLst>
                <a:ext uri="{FF2B5EF4-FFF2-40B4-BE49-F238E27FC236}">
                  <a16:creationId xmlns:a16="http://schemas.microsoft.com/office/drawing/2014/main" id="{C9DE6B58-396C-40E8-AB10-3AABF49B475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136377" y="5038107"/>
              <a:ext cx="604035" cy="502920"/>
            </a:xfrm>
            <a:prstGeom prst="rect">
              <a:avLst/>
            </a:prstGeom>
          </p:spPr>
        </p:pic>
        <p:pic>
          <p:nvPicPr>
            <p:cNvPr id="86" name="Picture 85">
              <a:extLst>
                <a:ext uri="{FF2B5EF4-FFF2-40B4-BE49-F238E27FC236}">
                  <a16:creationId xmlns:a16="http://schemas.microsoft.com/office/drawing/2014/main" id="{E8AFE8E6-EC4B-4CC5-A10E-CF8636A6535A}"/>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980500" y="6106350"/>
              <a:ext cx="252597" cy="210312"/>
            </a:xfrm>
            <a:prstGeom prst="rect">
              <a:avLst/>
            </a:prstGeom>
          </p:spPr>
        </p:pic>
      </p:grpSp>
    </p:spTree>
    <p:extLst>
      <p:ext uri="{BB962C8B-B14F-4D97-AF65-F5344CB8AC3E}">
        <p14:creationId xmlns:p14="http://schemas.microsoft.com/office/powerpoint/2010/main" val="467538734"/>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1">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solidFill>
                  <a:schemeClr val="bg1"/>
                </a:solidFill>
              </a:defRPr>
            </a:lvl1pPr>
          </a:lstStyle>
          <a:p>
            <a:r>
              <a:rPr lang="en-US" dirty="0"/>
              <a:t>Section title</a:t>
            </a:r>
          </a:p>
        </p:txBody>
      </p:sp>
      <p:grpSp>
        <p:nvGrpSpPr>
          <p:cNvPr id="82" name="Group 81">
            <a:extLst>
              <a:ext uri="{FF2B5EF4-FFF2-40B4-BE49-F238E27FC236}">
                <a16:creationId xmlns:a16="http://schemas.microsoft.com/office/drawing/2014/main" id="{B8D817D8-603E-4A44-B7EE-404690F616CD}"/>
              </a:ext>
            </a:extLst>
          </p:cNvPr>
          <p:cNvGrpSpPr/>
          <p:nvPr userDrawn="1"/>
        </p:nvGrpSpPr>
        <p:grpSpPr>
          <a:xfrm>
            <a:off x="5468357" y="4139517"/>
            <a:ext cx="6723644" cy="2716134"/>
            <a:chOff x="5789470" y="4224320"/>
            <a:chExt cx="6858467" cy="2770205"/>
          </a:xfrm>
        </p:grpSpPr>
        <p:grpSp>
          <p:nvGrpSpPr>
            <p:cNvPr id="83" name="Group 82">
              <a:extLst>
                <a:ext uri="{FF2B5EF4-FFF2-40B4-BE49-F238E27FC236}">
                  <a16:creationId xmlns:a16="http://schemas.microsoft.com/office/drawing/2014/main" id="{80A439C4-4217-4499-BCB3-5F400345C80E}"/>
                </a:ext>
              </a:extLst>
            </p:cNvPr>
            <p:cNvGrpSpPr>
              <a:grpSpLocks noChangeAspect="1"/>
            </p:cNvGrpSpPr>
            <p:nvPr userDrawn="1"/>
          </p:nvGrpSpPr>
          <p:grpSpPr bwMode="gray">
            <a:xfrm>
              <a:off x="5789470" y="4224320"/>
              <a:ext cx="6858467" cy="2770205"/>
              <a:chOff x="5788926" y="4224320"/>
              <a:chExt cx="6858467" cy="2770205"/>
            </a:xfrm>
          </p:grpSpPr>
          <p:sp>
            <p:nvSpPr>
              <p:cNvPr id="87" name="Freeform: Shape 86">
                <a:extLst>
                  <a:ext uri="{FF2B5EF4-FFF2-40B4-BE49-F238E27FC236}">
                    <a16:creationId xmlns:a16="http://schemas.microsoft.com/office/drawing/2014/main" id="{DCC4A063-A694-4D66-8DD4-F47721D33F43}"/>
                  </a:ext>
                </a:extLst>
              </p:cNvPr>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8" name="Freeform 6">
                <a:extLst>
                  <a:ext uri="{FF2B5EF4-FFF2-40B4-BE49-F238E27FC236}">
                    <a16:creationId xmlns:a16="http://schemas.microsoft.com/office/drawing/2014/main" id="{3964BAE4-5A7F-4487-B8BD-092B593FE3E5}"/>
                  </a:ext>
                </a:extLst>
              </p:cNvPr>
              <p:cNvSpPr>
                <a:spLocks/>
              </p:cNvSpPr>
              <p:nvPr userDrawn="1"/>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89" name="Rectangle 88">
                <a:extLst>
                  <a:ext uri="{FF2B5EF4-FFF2-40B4-BE49-F238E27FC236}">
                    <a16:creationId xmlns:a16="http://schemas.microsoft.com/office/drawing/2014/main" id="{3F2C5A1F-3D9D-41CD-BB20-D9972DA28FCF}"/>
                  </a:ext>
                </a:extLst>
              </p:cNvPr>
              <p:cNvSpPr>
                <a:spLocks noChangeArrowheads="1"/>
              </p:cNvSpPr>
              <p:nvPr userDrawn="1"/>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0" name="Rectangle 89">
                <a:extLst>
                  <a:ext uri="{FF2B5EF4-FFF2-40B4-BE49-F238E27FC236}">
                    <a16:creationId xmlns:a16="http://schemas.microsoft.com/office/drawing/2014/main" id="{FC98F995-7E03-4E9A-AE30-AA4155BF7219}"/>
                  </a:ext>
                </a:extLst>
              </p:cNvPr>
              <p:cNvSpPr>
                <a:spLocks noChangeArrowheads="1"/>
              </p:cNvSpPr>
              <p:nvPr userDrawn="1"/>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1" name="Rectangle 90">
                <a:extLst>
                  <a:ext uri="{FF2B5EF4-FFF2-40B4-BE49-F238E27FC236}">
                    <a16:creationId xmlns:a16="http://schemas.microsoft.com/office/drawing/2014/main" id="{0B9BEF86-D2E3-426D-9EB1-FB4550E05628}"/>
                  </a:ext>
                </a:extLst>
              </p:cNvPr>
              <p:cNvSpPr>
                <a:spLocks noChangeArrowheads="1"/>
              </p:cNvSpPr>
              <p:nvPr userDrawn="1"/>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2" name="Rectangle 91">
                <a:extLst>
                  <a:ext uri="{FF2B5EF4-FFF2-40B4-BE49-F238E27FC236}">
                    <a16:creationId xmlns:a16="http://schemas.microsoft.com/office/drawing/2014/main" id="{883B801C-B158-4343-8593-20148E3627A5}"/>
                  </a:ext>
                </a:extLst>
              </p:cNvPr>
              <p:cNvSpPr>
                <a:spLocks noChangeArrowheads="1"/>
              </p:cNvSpPr>
              <p:nvPr userDrawn="1"/>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3" name="Rectangle 92">
                <a:extLst>
                  <a:ext uri="{FF2B5EF4-FFF2-40B4-BE49-F238E27FC236}">
                    <a16:creationId xmlns:a16="http://schemas.microsoft.com/office/drawing/2014/main" id="{258494E7-01AD-4D62-AFFC-D6CF4CBE0755}"/>
                  </a:ext>
                </a:extLst>
              </p:cNvPr>
              <p:cNvSpPr>
                <a:spLocks noChangeArrowheads="1"/>
              </p:cNvSpPr>
              <p:nvPr userDrawn="1"/>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4" name="Rectangle 93">
                <a:extLst>
                  <a:ext uri="{FF2B5EF4-FFF2-40B4-BE49-F238E27FC236}">
                    <a16:creationId xmlns:a16="http://schemas.microsoft.com/office/drawing/2014/main" id="{7C804B8F-2A4B-4F99-90D6-2A9535017319}"/>
                  </a:ext>
                </a:extLst>
              </p:cNvPr>
              <p:cNvSpPr>
                <a:spLocks noChangeArrowheads="1"/>
              </p:cNvSpPr>
              <p:nvPr userDrawn="1"/>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5" name="Freeform 13">
                <a:extLst>
                  <a:ext uri="{FF2B5EF4-FFF2-40B4-BE49-F238E27FC236}">
                    <a16:creationId xmlns:a16="http://schemas.microsoft.com/office/drawing/2014/main" id="{4C0F4EB9-9531-494D-89F3-AA7F95634740}"/>
                  </a:ext>
                </a:extLst>
              </p:cNvPr>
              <p:cNvSpPr>
                <a:spLocks/>
              </p:cNvSpPr>
              <p:nvPr userDrawn="1"/>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6" name="Freeform 14">
                <a:extLst>
                  <a:ext uri="{FF2B5EF4-FFF2-40B4-BE49-F238E27FC236}">
                    <a16:creationId xmlns:a16="http://schemas.microsoft.com/office/drawing/2014/main" id="{E3734589-B0D2-4EC1-A45D-8FFD695C3A43}"/>
                  </a:ext>
                </a:extLst>
              </p:cNvPr>
              <p:cNvSpPr>
                <a:spLocks/>
              </p:cNvSpPr>
              <p:nvPr userDrawn="1"/>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7" name="Freeform 15">
                <a:extLst>
                  <a:ext uri="{FF2B5EF4-FFF2-40B4-BE49-F238E27FC236}">
                    <a16:creationId xmlns:a16="http://schemas.microsoft.com/office/drawing/2014/main" id="{579F71A7-75E0-4811-A5F3-471DBA49EFF3}"/>
                  </a:ext>
                </a:extLst>
              </p:cNvPr>
              <p:cNvSpPr>
                <a:spLocks/>
              </p:cNvSpPr>
              <p:nvPr userDrawn="1"/>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8" name="Freeform 16">
                <a:extLst>
                  <a:ext uri="{FF2B5EF4-FFF2-40B4-BE49-F238E27FC236}">
                    <a16:creationId xmlns:a16="http://schemas.microsoft.com/office/drawing/2014/main" id="{FBEC5DB7-A3EB-4151-A1D9-E845014C1298}"/>
                  </a:ext>
                </a:extLst>
              </p:cNvPr>
              <p:cNvSpPr>
                <a:spLocks/>
              </p:cNvSpPr>
              <p:nvPr userDrawn="1"/>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9" name="Freeform 17">
                <a:extLst>
                  <a:ext uri="{FF2B5EF4-FFF2-40B4-BE49-F238E27FC236}">
                    <a16:creationId xmlns:a16="http://schemas.microsoft.com/office/drawing/2014/main" id="{3B6D047A-0B10-4444-B6FF-FA8776A7EE8B}"/>
                  </a:ext>
                </a:extLst>
              </p:cNvPr>
              <p:cNvSpPr>
                <a:spLocks/>
              </p:cNvSpPr>
              <p:nvPr userDrawn="1"/>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0" name="Freeform 18">
                <a:extLst>
                  <a:ext uri="{FF2B5EF4-FFF2-40B4-BE49-F238E27FC236}">
                    <a16:creationId xmlns:a16="http://schemas.microsoft.com/office/drawing/2014/main" id="{0F58970C-DC49-45C5-9F36-6DCEA7575A55}"/>
                  </a:ext>
                </a:extLst>
              </p:cNvPr>
              <p:cNvSpPr>
                <a:spLocks/>
              </p:cNvSpPr>
              <p:nvPr userDrawn="1"/>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1" name="Freeform 19">
                <a:extLst>
                  <a:ext uri="{FF2B5EF4-FFF2-40B4-BE49-F238E27FC236}">
                    <a16:creationId xmlns:a16="http://schemas.microsoft.com/office/drawing/2014/main" id="{72764DBA-DB05-4E29-89BC-B2C9BECEE7BC}"/>
                  </a:ext>
                </a:extLst>
              </p:cNvPr>
              <p:cNvSpPr>
                <a:spLocks/>
              </p:cNvSpPr>
              <p:nvPr userDrawn="1"/>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2" name="Freeform 20">
                <a:extLst>
                  <a:ext uri="{FF2B5EF4-FFF2-40B4-BE49-F238E27FC236}">
                    <a16:creationId xmlns:a16="http://schemas.microsoft.com/office/drawing/2014/main" id="{B7707964-2ED4-4CFB-8A77-1B3A0FF6CCBF}"/>
                  </a:ext>
                </a:extLst>
              </p:cNvPr>
              <p:cNvSpPr>
                <a:spLocks/>
              </p:cNvSpPr>
              <p:nvPr userDrawn="1"/>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3" name="Oval 102">
                <a:extLst>
                  <a:ext uri="{FF2B5EF4-FFF2-40B4-BE49-F238E27FC236}">
                    <a16:creationId xmlns:a16="http://schemas.microsoft.com/office/drawing/2014/main" id="{3EB98931-C2C5-413C-B83D-C7F433B1AD57}"/>
                  </a:ext>
                </a:extLst>
              </p:cNvPr>
              <p:cNvSpPr>
                <a:spLocks noChangeArrowheads="1"/>
              </p:cNvSpPr>
              <p:nvPr userDrawn="1"/>
            </p:nvSpPr>
            <p:spPr bwMode="gray">
              <a:xfrm>
                <a:off x="9203225" y="468198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4" name="Oval 103">
                <a:extLst>
                  <a:ext uri="{FF2B5EF4-FFF2-40B4-BE49-F238E27FC236}">
                    <a16:creationId xmlns:a16="http://schemas.microsoft.com/office/drawing/2014/main" id="{47EE4171-0171-4F29-B533-5A16F58F4FC1}"/>
                  </a:ext>
                </a:extLst>
              </p:cNvPr>
              <p:cNvSpPr>
                <a:spLocks noChangeArrowheads="1"/>
              </p:cNvSpPr>
              <p:nvPr userDrawn="1"/>
            </p:nvSpPr>
            <p:spPr bwMode="gray">
              <a:xfrm>
                <a:off x="9203225" y="4821973"/>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5" name="Oval 104">
                <a:extLst>
                  <a:ext uri="{FF2B5EF4-FFF2-40B4-BE49-F238E27FC236}">
                    <a16:creationId xmlns:a16="http://schemas.microsoft.com/office/drawing/2014/main" id="{3FD78722-4F55-4FD1-91EA-B04EA902B01B}"/>
                  </a:ext>
                </a:extLst>
              </p:cNvPr>
              <p:cNvSpPr>
                <a:spLocks noChangeArrowheads="1"/>
              </p:cNvSpPr>
              <p:nvPr userDrawn="1"/>
            </p:nvSpPr>
            <p:spPr bwMode="gray">
              <a:xfrm>
                <a:off x="9203225" y="495927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6" name="Oval 105">
                <a:extLst>
                  <a:ext uri="{FF2B5EF4-FFF2-40B4-BE49-F238E27FC236}">
                    <a16:creationId xmlns:a16="http://schemas.microsoft.com/office/drawing/2014/main" id="{B1EE5BAE-AD46-446E-B138-ED4CCC8FDD79}"/>
                  </a:ext>
                </a:extLst>
              </p:cNvPr>
              <p:cNvSpPr>
                <a:spLocks noChangeArrowheads="1"/>
              </p:cNvSpPr>
              <p:nvPr userDrawn="1"/>
            </p:nvSpPr>
            <p:spPr bwMode="gray">
              <a:xfrm>
                <a:off x="9203225" y="509926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7" name="Freeform 25">
                <a:extLst>
                  <a:ext uri="{FF2B5EF4-FFF2-40B4-BE49-F238E27FC236}">
                    <a16:creationId xmlns:a16="http://schemas.microsoft.com/office/drawing/2014/main" id="{8F398C47-CEB6-4A5B-A8DC-1FB483FC1FBC}"/>
                  </a:ext>
                </a:extLst>
              </p:cNvPr>
              <p:cNvSpPr>
                <a:spLocks/>
              </p:cNvSpPr>
              <p:nvPr userDrawn="1"/>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8" name="Oval 107">
                <a:extLst>
                  <a:ext uri="{FF2B5EF4-FFF2-40B4-BE49-F238E27FC236}">
                    <a16:creationId xmlns:a16="http://schemas.microsoft.com/office/drawing/2014/main" id="{6C0443D5-A336-4E47-9302-3008A6CBE045}"/>
                  </a:ext>
                </a:extLst>
              </p:cNvPr>
              <p:cNvSpPr>
                <a:spLocks noChangeArrowheads="1"/>
              </p:cNvSpPr>
              <p:nvPr userDrawn="1"/>
            </p:nvSpPr>
            <p:spPr bwMode="gray">
              <a:xfrm>
                <a:off x="9203225" y="5376553"/>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9" name="Oval 108">
                <a:extLst>
                  <a:ext uri="{FF2B5EF4-FFF2-40B4-BE49-F238E27FC236}">
                    <a16:creationId xmlns:a16="http://schemas.microsoft.com/office/drawing/2014/main" id="{8415124A-8334-485E-A78F-25531B8A6316}"/>
                  </a:ext>
                </a:extLst>
              </p:cNvPr>
              <p:cNvSpPr>
                <a:spLocks noChangeArrowheads="1"/>
              </p:cNvSpPr>
              <p:nvPr userDrawn="1"/>
            </p:nvSpPr>
            <p:spPr bwMode="gray">
              <a:xfrm>
                <a:off x="9203225" y="5513851"/>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0" name="Oval 109">
                <a:extLst>
                  <a:ext uri="{FF2B5EF4-FFF2-40B4-BE49-F238E27FC236}">
                    <a16:creationId xmlns:a16="http://schemas.microsoft.com/office/drawing/2014/main" id="{7497DF9D-C5BA-4244-B721-BD60837B9FD3}"/>
                  </a:ext>
                </a:extLst>
              </p:cNvPr>
              <p:cNvSpPr>
                <a:spLocks noChangeArrowheads="1"/>
              </p:cNvSpPr>
              <p:nvPr userDrawn="1"/>
            </p:nvSpPr>
            <p:spPr bwMode="gray">
              <a:xfrm>
                <a:off x="9203225" y="5653841"/>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1" name="Freeform 29">
                <a:extLst>
                  <a:ext uri="{FF2B5EF4-FFF2-40B4-BE49-F238E27FC236}">
                    <a16:creationId xmlns:a16="http://schemas.microsoft.com/office/drawing/2014/main" id="{4BC68D88-3E6A-4689-A984-DE915506D573}"/>
                  </a:ext>
                </a:extLst>
              </p:cNvPr>
              <p:cNvSpPr>
                <a:spLocks/>
              </p:cNvSpPr>
              <p:nvPr userDrawn="1"/>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2" name="Oval 111">
                <a:extLst>
                  <a:ext uri="{FF2B5EF4-FFF2-40B4-BE49-F238E27FC236}">
                    <a16:creationId xmlns:a16="http://schemas.microsoft.com/office/drawing/2014/main" id="{1191EFE2-5AEE-4C5B-B15B-89F775DCFEBC}"/>
                  </a:ext>
                </a:extLst>
              </p:cNvPr>
              <p:cNvSpPr>
                <a:spLocks noChangeArrowheads="1"/>
              </p:cNvSpPr>
              <p:nvPr userDrawn="1"/>
            </p:nvSpPr>
            <p:spPr bwMode="gray">
              <a:xfrm>
                <a:off x="9203225" y="579114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3" name="Rectangle 112">
                <a:extLst>
                  <a:ext uri="{FF2B5EF4-FFF2-40B4-BE49-F238E27FC236}">
                    <a16:creationId xmlns:a16="http://schemas.microsoft.com/office/drawing/2014/main" id="{98FC4692-8AC3-4347-B965-AE4B41E79152}"/>
                  </a:ext>
                </a:extLst>
              </p:cNvPr>
              <p:cNvSpPr>
                <a:spLocks noChangeArrowheads="1"/>
              </p:cNvSpPr>
              <p:nvPr userDrawn="1"/>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4" name="Freeform 32">
                <a:extLst>
                  <a:ext uri="{FF2B5EF4-FFF2-40B4-BE49-F238E27FC236}">
                    <a16:creationId xmlns:a16="http://schemas.microsoft.com/office/drawing/2014/main" id="{9D823201-8A62-4501-8B0C-9EBE1F8A08A1}"/>
                  </a:ext>
                </a:extLst>
              </p:cNvPr>
              <p:cNvSpPr>
                <a:spLocks/>
              </p:cNvSpPr>
              <p:nvPr userDrawn="1"/>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5" name="Freeform 33">
                <a:extLst>
                  <a:ext uri="{FF2B5EF4-FFF2-40B4-BE49-F238E27FC236}">
                    <a16:creationId xmlns:a16="http://schemas.microsoft.com/office/drawing/2014/main" id="{01E002C9-6AFD-4968-B591-28514C3E3350}"/>
                  </a:ext>
                </a:extLst>
              </p:cNvPr>
              <p:cNvSpPr>
                <a:spLocks/>
              </p:cNvSpPr>
              <p:nvPr userDrawn="1"/>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6" name="Freeform 34">
                <a:extLst>
                  <a:ext uri="{FF2B5EF4-FFF2-40B4-BE49-F238E27FC236}">
                    <a16:creationId xmlns:a16="http://schemas.microsoft.com/office/drawing/2014/main" id="{8AF4E1C1-974B-422F-BB6B-4E5BEAA0F739}"/>
                  </a:ext>
                </a:extLst>
              </p:cNvPr>
              <p:cNvSpPr>
                <a:spLocks/>
              </p:cNvSpPr>
              <p:nvPr userDrawn="1"/>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7" name="Freeform 35">
                <a:extLst>
                  <a:ext uri="{FF2B5EF4-FFF2-40B4-BE49-F238E27FC236}">
                    <a16:creationId xmlns:a16="http://schemas.microsoft.com/office/drawing/2014/main" id="{4FC6B5BB-BC87-46F3-B329-0DD15C6B40D4}"/>
                  </a:ext>
                </a:extLst>
              </p:cNvPr>
              <p:cNvSpPr>
                <a:spLocks/>
              </p:cNvSpPr>
              <p:nvPr userDrawn="1"/>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8" name="Freeform 36">
                <a:extLst>
                  <a:ext uri="{FF2B5EF4-FFF2-40B4-BE49-F238E27FC236}">
                    <a16:creationId xmlns:a16="http://schemas.microsoft.com/office/drawing/2014/main" id="{74D994BB-5F79-44B6-B7FC-C17BEAF9BF4C}"/>
                  </a:ext>
                </a:extLst>
              </p:cNvPr>
              <p:cNvSpPr>
                <a:spLocks/>
              </p:cNvSpPr>
              <p:nvPr userDrawn="1"/>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9" name="Freeform 37">
                <a:extLst>
                  <a:ext uri="{FF2B5EF4-FFF2-40B4-BE49-F238E27FC236}">
                    <a16:creationId xmlns:a16="http://schemas.microsoft.com/office/drawing/2014/main" id="{C49B967D-D7D6-4F99-8CAB-AD783AA71CE0}"/>
                  </a:ext>
                </a:extLst>
              </p:cNvPr>
              <p:cNvSpPr>
                <a:spLocks/>
              </p:cNvSpPr>
              <p:nvPr userDrawn="1"/>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0" name="Freeform 38">
                <a:extLst>
                  <a:ext uri="{FF2B5EF4-FFF2-40B4-BE49-F238E27FC236}">
                    <a16:creationId xmlns:a16="http://schemas.microsoft.com/office/drawing/2014/main" id="{BAF09359-0391-4868-B491-CA147202ED42}"/>
                  </a:ext>
                </a:extLst>
              </p:cNvPr>
              <p:cNvSpPr>
                <a:spLocks/>
              </p:cNvSpPr>
              <p:nvPr userDrawn="1"/>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1" name="Freeform 39">
                <a:extLst>
                  <a:ext uri="{FF2B5EF4-FFF2-40B4-BE49-F238E27FC236}">
                    <a16:creationId xmlns:a16="http://schemas.microsoft.com/office/drawing/2014/main" id="{9EBE060D-1F48-4919-858E-522F0EB85918}"/>
                  </a:ext>
                </a:extLst>
              </p:cNvPr>
              <p:cNvSpPr>
                <a:spLocks/>
              </p:cNvSpPr>
              <p:nvPr userDrawn="1"/>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2" name="Oval 121">
                <a:extLst>
                  <a:ext uri="{FF2B5EF4-FFF2-40B4-BE49-F238E27FC236}">
                    <a16:creationId xmlns:a16="http://schemas.microsoft.com/office/drawing/2014/main" id="{30212001-48AB-412F-A69A-2311910DC86D}"/>
                  </a:ext>
                </a:extLst>
              </p:cNvPr>
              <p:cNvSpPr>
                <a:spLocks noChangeArrowheads="1"/>
              </p:cNvSpPr>
              <p:nvPr userDrawn="1"/>
            </p:nvSpPr>
            <p:spPr bwMode="gray">
              <a:xfrm>
                <a:off x="9889718" y="499157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3" name="Oval 122">
                <a:extLst>
                  <a:ext uri="{FF2B5EF4-FFF2-40B4-BE49-F238E27FC236}">
                    <a16:creationId xmlns:a16="http://schemas.microsoft.com/office/drawing/2014/main" id="{47B2300A-7161-45BF-8B03-6AF6138FFC92}"/>
                  </a:ext>
                </a:extLst>
              </p:cNvPr>
              <p:cNvSpPr>
                <a:spLocks noChangeArrowheads="1"/>
              </p:cNvSpPr>
              <p:nvPr userDrawn="1"/>
            </p:nvSpPr>
            <p:spPr bwMode="gray">
              <a:xfrm>
                <a:off x="9889718" y="5131568"/>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4" name="Oval 123">
                <a:extLst>
                  <a:ext uri="{FF2B5EF4-FFF2-40B4-BE49-F238E27FC236}">
                    <a16:creationId xmlns:a16="http://schemas.microsoft.com/office/drawing/2014/main" id="{9A604208-317B-46F8-A2F5-AD51A46DD03A}"/>
                  </a:ext>
                </a:extLst>
              </p:cNvPr>
              <p:cNvSpPr>
                <a:spLocks noChangeArrowheads="1"/>
              </p:cNvSpPr>
              <p:nvPr userDrawn="1"/>
            </p:nvSpPr>
            <p:spPr bwMode="gray">
              <a:xfrm>
                <a:off x="9889718" y="5268867"/>
                <a:ext cx="45767" cy="45767"/>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5" name="Oval 124">
                <a:extLst>
                  <a:ext uri="{FF2B5EF4-FFF2-40B4-BE49-F238E27FC236}">
                    <a16:creationId xmlns:a16="http://schemas.microsoft.com/office/drawing/2014/main" id="{CA30A0A1-5452-4088-A74A-B2D820175244}"/>
                  </a:ext>
                </a:extLst>
              </p:cNvPr>
              <p:cNvSpPr>
                <a:spLocks noChangeArrowheads="1"/>
              </p:cNvSpPr>
              <p:nvPr userDrawn="1"/>
            </p:nvSpPr>
            <p:spPr bwMode="gray">
              <a:xfrm>
                <a:off x="9889718" y="5406165"/>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6" name="Oval 125">
                <a:extLst>
                  <a:ext uri="{FF2B5EF4-FFF2-40B4-BE49-F238E27FC236}">
                    <a16:creationId xmlns:a16="http://schemas.microsoft.com/office/drawing/2014/main" id="{496C20AA-FFBE-4395-8993-5202118446E9}"/>
                  </a:ext>
                </a:extLst>
              </p:cNvPr>
              <p:cNvSpPr>
                <a:spLocks noChangeArrowheads="1"/>
              </p:cNvSpPr>
              <p:nvPr userDrawn="1"/>
            </p:nvSpPr>
            <p:spPr bwMode="gray">
              <a:xfrm>
                <a:off x="9889718" y="5546156"/>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7" name="Oval 126">
                <a:extLst>
                  <a:ext uri="{FF2B5EF4-FFF2-40B4-BE49-F238E27FC236}">
                    <a16:creationId xmlns:a16="http://schemas.microsoft.com/office/drawing/2014/main" id="{35A45C03-CE1F-4715-A8B3-4B5B17DAA5F1}"/>
                  </a:ext>
                </a:extLst>
              </p:cNvPr>
              <p:cNvSpPr>
                <a:spLocks noChangeArrowheads="1"/>
              </p:cNvSpPr>
              <p:nvPr userDrawn="1"/>
            </p:nvSpPr>
            <p:spPr bwMode="gray">
              <a:xfrm>
                <a:off x="9889718" y="5683456"/>
                <a:ext cx="45767" cy="45767"/>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8" name="Oval 127">
                <a:extLst>
                  <a:ext uri="{FF2B5EF4-FFF2-40B4-BE49-F238E27FC236}">
                    <a16:creationId xmlns:a16="http://schemas.microsoft.com/office/drawing/2014/main" id="{53403D01-7C3F-4465-90D2-F6D47FBE6E31}"/>
                  </a:ext>
                </a:extLst>
              </p:cNvPr>
              <p:cNvSpPr>
                <a:spLocks noChangeArrowheads="1"/>
              </p:cNvSpPr>
              <p:nvPr userDrawn="1"/>
            </p:nvSpPr>
            <p:spPr bwMode="gray">
              <a:xfrm>
                <a:off x="9889718" y="582344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9" name="Oval 128">
                <a:extLst>
                  <a:ext uri="{FF2B5EF4-FFF2-40B4-BE49-F238E27FC236}">
                    <a16:creationId xmlns:a16="http://schemas.microsoft.com/office/drawing/2014/main" id="{66013DCD-3BEA-4AB8-8F62-D443F2FFFD6A}"/>
                  </a:ext>
                </a:extLst>
              </p:cNvPr>
              <p:cNvSpPr>
                <a:spLocks noChangeArrowheads="1"/>
              </p:cNvSpPr>
              <p:nvPr userDrawn="1"/>
            </p:nvSpPr>
            <p:spPr bwMode="gray">
              <a:xfrm>
                <a:off x="9889718" y="5960744"/>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0" name="Freeform 48">
                <a:extLst>
                  <a:ext uri="{FF2B5EF4-FFF2-40B4-BE49-F238E27FC236}">
                    <a16:creationId xmlns:a16="http://schemas.microsoft.com/office/drawing/2014/main" id="{8C96AB53-9BED-4BDB-8C72-7FB0D63DE990}"/>
                  </a:ext>
                </a:extLst>
              </p:cNvPr>
              <p:cNvSpPr>
                <a:spLocks/>
              </p:cNvSpPr>
              <p:nvPr userDrawn="1"/>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1" name="Oval 130">
                <a:extLst>
                  <a:ext uri="{FF2B5EF4-FFF2-40B4-BE49-F238E27FC236}">
                    <a16:creationId xmlns:a16="http://schemas.microsoft.com/office/drawing/2014/main" id="{96B78A9D-1C23-40C1-8998-9B8E5C68F8AA}"/>
                  </a:ext>
                </a:extLst>
              </p:cNvPr>
              <p:cNvSpPr>
                <a:spLocks noChangeArrowheads="1"/>
              </p:cNvSpPr>
              <p:nvPr userDrawn="1"/>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2" name="Freeform 50">
                <a:extLst>
                  <a:ext uri="{FF2B5EF4-FFF2-40B4-BE49-F238E27FC236}">
                    <a16:creationId xmlns:a16="http://schemas.microsoft.com/office/drawing/2014/main" id="{DA3CF29E-A06B-40AB-9479-A4B3B8A86F64}"/>
                  </a:ext>
                </a:extLst>
              </p:cNvPr>
              <p:cNvSpPr>
                <a:spLocks/>
              </p:cNvSpPr>
              <p:nvPr userDrawn="1"/>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3" name="Oval 132">
                <a:extLst>
                  <a:ext uri="{FF2B5EF4-FFF2-40B4-BE49-F238E27FC236}">
                    <a16:creationId xmlns:a16="http://schemas.microsoft.com/office/drawing/2014/main" id="{D8F83D1B-C252-4759-AFE7-2D083CB1F266}"/>
                  </a:ext>
                </a:extLst>
              </p:cNvPr>
              <p:cNvSpPr>
                <a:spLocks noChangeArrowheads="1"/>
              </p:cNvSpPr>
              <p:nvPr userDrawn="1"/>
            </p:nvSpPr>
            <p:spPr bwMode="gray">
              <a:xfrm>
                <a:off x="9203225" y="5928439"/>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4" name="Rectangle 133">
                <a:extLst>
                  <a:ext uri="{FF2B5EF4-FFF2-40B4-BE49-F238E27FC236}">
                    <a16:creationId xmlns:a16="http://schemas.microsoft.com/office/drawing/2014/main" id="{0611DFC0-23F3-45EC-A637-FF2379643240}"/>
                  </a:ext>
                </a:extLst>
              </p:cNvPr>
              <p:cNvSpPr>
                <a:spLocks noChangeArrowheads="1"/>
              </p:cNvSpPr>
              <p:nvPr userDrawn="1"/>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5" name="Freeform 53">
                <a:extLst>
                  <a:ext uri="{FF2B5EF4-FFF2-40B4-BE49-F238E27FC236}">
                    <a16:creationId xmlns:a16="http://schemas.microsoft.com/office/drawing/2014/main" id="{A38393F3-73DB-4FC9-91D8-5981C0ADAEB4}"/>
                  </a:ext>
                </a:extLst>
              </p:cNvPr>
              <p:cNvSpPr>
                <a:spLocks/>
              </p:cNvSpPr>
              <p:nvPr userDrawn="1"/>
            </p:nvSpPr>
            <p:spPr bwMode="gray">
              <a:xfrm>
                <a:off x="10772739" y="5917670"/>
                <a:ext cx="1243765" cy="621882"/>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6" name="Freeform 55">
                <a:extLst>
                  <a:ext uri="{FF2B5EF4-FFF2-40B4-BE49-F238E27FC236}">
                    <a16:creationId xmlns:a16="http://schemas.microsoft.com/office/drawing/2014/main" id="{073AF9DF-BED0-4F69-8C6E-5A80ADDAC1D6}"/>
                  </a:ext>
                </a:extLst>
              </p:cNvPr>
              <p:cNvSpPr>
                <a:spLocks/>
              </p:cNvSpPr>
              <p:nvPr userDrawn="1"/>
            </p:nvSpPr>
            <p:spPr bwMode="gray">
              <a:xfrm>
                <a:off x="11198092" y="5990359"/>
                <a:ext cx="1449301" cy="697263"/>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37" name="Freeform 59">
                <a:extLst>
                  <a:ext uri="{FF2B5EF4-FFF2-40B4-BE49-F238E27FC236}">
                    <a16:creationId xmlns:a16="http://schemas.microsoft.com/office/drawing/2014/main" id="{4B178CEC-0EC8-46B6-9B4D-B9782C9722DE}"/>
                  </a:ext>
                </a:extLst>
              </p:cNvPr>
              <p:cNvSpPr>
                <a:spLocks/>
              </p:cNvSpPr>
              <p:nvPr userDrawn="1"/>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8" name="Freeform 60">
                <a:extLst>
                  <a:ext uri="{FF2B5EF4-FFF2-40B4-BE49-F238E27FC236}">
                    <a16:creationId xmlns:a16="http://schemas.microsoft.com/office/drawing/2014/main" id="{0E9650D3-4903-42D8-A167-A575745FBAAF}"/>
                  </a:ext>
                </a:extLst>
              </p:cNvPr>
              <p:cNvSpPr>
                <a:spLocks/>
              </p:cNvSpPr>
              <p:nvPr userDrawn="1"/>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9" name="Rectangle 138">
                <a:extLst>
                  <a:ext uri="{FF2B5EF4-FFF2-40B4-BE49-F238E27FC236}">
                    <a16:creationId xmlns:a16="http://schemas.microsoft.com/office/drawing/2014/main" id="{141BA46E-3AF8-4045-A2C4-7074F09447C2}"/>
                  </a:ext>
                </a:extLst>
              </p:cNvPr>
              <p:cNvSpPr>
                <a:spLocks noChangeArrowheads="1"/>
              </p:cNvSpPr>
              <p:nvPr userDrawn="1"/>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0" name="Freeform 62">
                <a:extLst>
                  <a:ext uri="{FF2B5EF4-FFF2-40B4-BE49-F238E27FC236}">
                    <a16:creationId xmlns:a16="http://schemas.microsoft.com/office/drawing/2014/main" id="{F5B3DB0E-197B-47DF-AFB2-20B4323250A2}"/>
                  </a:ext>
                </a:extLst>
              </p:cNvPr>
              <p:cNvSpPr>
                <a:spLocks/>
              </p:cNvSpPr>
              <p:nvPr userDrawn="1"/>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41" name="Rectangle 140">
                <a:extLst>
                  <a:ext uri="{FF2B5EF4-FFF2-40B4-BE49-F238E27FC236}">
                    <a16:creationId xmlns:a16="http://schemas.microsoft.com/office/drawing/2014/main" id="{1E8DE708-D7E6-4E01-81A6-4733BF676779}"/>
                  </a:ext>
                </a:extLst>
              </p:cNvPr>
              <p:cNvSpPr>
                <a:spLocks noChangeArrowheads="1"/>
              </p:cNvSpPr>
              <p:nvPr userDrawn="1"/>
            </p:nvSpPr>
            <p:spPr bwMode="gray">
              <a:xfrm>
                <a:off x="10840041" y="5481545"/>
                <a:ext cx="43074" cy="91532"/>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2" name="Freeform 64">
                <a:extLst>
                  <a:ext uri="{FF2B5EF4-FFF2-40B4-BE49-F238E27FC236}">
                    <a16:creationId xmlns:a16="http://schemas.microsoft.com/office/drawing/2014/main" id="{54CA206C-47B7-43C7-B432-44602290B4D7}"/>
                  </a:ext>
                </a:extLst>
              </p:cNvPr>
              <p:cNvSpPr>
                <a:spLocks/>
              </p:cNvSpPr>
              <p:nvPr userDrawn="1"/>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3" name="Freeform 65">
                <a:extLst>
                  <a:ext uri="{FF2B5EF4-FFF2-40B4-BE49-F238E27FC236}">
                    <a16:creationId xmlns:a16="http://schemas.microsoft.com/office/drawing/2014/main" id="{7A0A2DF5-D070-466D-81D2-FCF849A1EF72}"/>
                  </a:ext>
                </a:extLst>
              </p:cNvPr>
              <p:cNvSpPr>
                <a:spLocks/>
              </p:cNvSpPr>
              <p:nvPr userDrawn="1"/>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4" name="Rectangle 143">
                <a:extLst>
                  <a:ext uri="{FF2B5EF4-FFF2-40B4-BE49-F238E27FC236}">
                    <a16:creationId xmlns:a16="http://schemas.microsoft.com/office/drawing/2014/main" id="{BACB0CF3-A13D-4EDD-84AE-7653E4319EA2}"/>
                  </a:ext>
                </a:extLst>
              </p:cNvPr>
              <p:cNvSpPr>
                <a:spLocks noChangeArrowheads="1"/>
              </p:cNvSpPr>
              <p:nvPr userDrawn="1"/>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5" name="Rectangle 144">
                <a:extLst>
                  <a:ext uri="{FF2B5EF4-FFF2-40B4-BE49-F238E27FC236}">
                    <a16:creationId xmlns:a16="http://schemas.microsoft.com/office/drawing/2014/main" id="{89A2A754-79A7-4A73-BE65-28DD4603790F}"/>
                  </a:ext>
                </a:extLst>
              </p:cNvPr>
              <p:cNvSpPr>
                <a:spLocks noChangeArrowheads="1"/>
              </p:cNvSpPr>
              <p:nvPr userDrawn="1"/>
            </p:nvSpPr>
            <p:spPr bwMode="gray">
              <a:xfrm>
                <a:off x="7943307" y="5048112"/>
                <a:ext cx="43074" cy="91532"/>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6" name="Freeform 68">
                <a:extLst>
                  <a:ext uri="{FF2B5EF4-FFF2-40B4-BE49-F238E27FC236}">
                    <a16:creationId xmlns:a16="http://schemas.microsoft.com/office/drawing/2014/main" id="{2FF6BF3B-67D8-4320-9CE3-07D4AB7F5787}"/>
                  </a:ext>
                </a:extLst>
              </p:cNvPr>
              <p:cNvSpPr>
                <a:spLocks/>
              </p:cNvSpPr>
              <p:nvPr userDrawn="1"/>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7" name="Freeform 69">
                <a:extLst>
                  <a:ext uri="{FF2B5EF4-FFF2-40B4-BE49-F238E27FC236}">
                    <a16:creationId xmlns:a16="http://schemas.microsoft.com/office/drawing/2014/main" id="{3C5E0098-8212-4F15-80B5-6A9398911C38}"/>
                  </a:ext>
                </a:extLst>
              </p:cNvPr>
              <p:cNvSpPr>
                <a:spLocks/>
              </p:cNvSpPr>
              <p:nvPr userDrawn="1"/>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8" name="Freeform 70">
                <a:extLst>
                  <a:ext uri="{FF2B5EF4-FFF2-40B4-BE49-F238E27FC236}">
                    <a16:creationId xmlns:a16="http://schemas.microsoft.com/office/drawing/2014/main" id="{737E6FAC-C4F6-44CF-BEBA-6F5B7DE15AE7}"/>
                  </a:ext>
                </a:extLst>
              </p:cNvPr>
              <p:cNvSpPr>
                <a:spLocks/>
              </p:cNvSpPr>
              <p:nvPr userDrawn="1"/>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9" name="Rectangle 148">
                <a:extLst>
                  <a:ext uri="{FF2B5EF4-FFF2-40B4-BE49-F238E27FC236}">
                    <a16:creationId xmlns:a16="http://schemas.microsoft.com/office/drawing/2014/main" id="{C326864B-F815-431E-B21A-CABF4DB7576E}"/>
                  </a:ext>
                </a:extLst>
              </p:cNvPr>
              <p:cNvSpPr>
                <a:spLocks noChangeArrowheads="1"/>
              </p:cNvSpPr>
              <p:nvPr userDrawn="1"/>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0" name="Freeform 72">
                <a:extLst>
                  <a:ext uri="{FF2B5EF4-FFF2-40B4-BE49-F238E27FC236}">
                    <a16:creationId xmlns:a16="http://schemas.microsoft.com/office/drawing/2014/main" id="{8CDC0440-B469-4778-BAD8-D6C3DC1B4A68}"/>
                  </a:ext>
                </a:extLst>
              </p:cNvPr>
              <p:cNvSpPr>
                <a:spLocks/>
              </p:cNvSpPr>
              <p:nvPr userDrawn="1"/>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1" name="Freeform 73">
                <a:extLst>
                  <a:ext uri="{FF2B5EF4-FFF2-40B4-BE49-F238E27FC236}">
                    <a16:creationId xmlns:a16="http://schemas.microsoft.com/office/drawing/2014/main" id="{6CBCE1F9-6A58-4039-B08F-73031C87E74B}"/>
                  </a:ext>
                </a:extLst>
              </p:cNvPr>
              <p:cNvSpPr>
                <a:spLocks/>
              </p:cNvSpPr>
              <p:nvPr userDrawn="1"/>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2" name="Rectangle 151">
                <a:extLst>
                  <a:ext uri="{FF2B5EF4-FFF2-40B4-BE49-F238E27FC236}">
                    <a16:creationId xmlns:a16="http://schemas.microsoft.com/office/drawing/2014/main" id="{59564FD5-D7FB-4200-AED3-285CF82FDD61}"/>
                  </a:ext>
                </a:extLst>
              </p:cNvPr>
              <p:cNvSpPr>
                <a:spLocks noChangeArrowheads="1"/>
              </p:cNvSpPr>
              <p:nvPr userDrawn="1"/>
            </p:nvSpPr>
            <p:spPr bwMode="gray">
              <a:xfrm>
                <a:off x="9846644" y="6273032"/>
                <a:ext cx="26921" cy="56536"/>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3" name="Freeform 75">
                <a:extLst>
                  <a:ext uri="{FF2B5EF4-FFF2-40B4-BE49-F238E27FC236}">
                    <a16:creationId xmlns:a16="http://schemas.microsoft.com/office/drawing/2014/main" id="{5AECBEF0-CDD4-4C61-A0BB-B510CA375615}"/>
                  </a:ext>
                </a:extLst>
              </p:cNvPr>
              <p:cNvSpPr>
                <a:spLocks/>
              </p:cNvSpPr>
              <p:nvPr userDrawn="1"/>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4" name="Rectangle 153">
                <a:extLst>
                  <a:ext uri="{FF2B5EF4-FFF2-40B4-BE49-F238E27FC236}">
                    <a16:creationId xmlns:a16="http://schemas.microsoft.com/office/drawing/2014/main" id="{ADEA1F47-9F18-448D-BCE1-1A054234E01D}"/>
                  </a:ext>
                </a:extLst>
              </p:cNvPr>
              <p:cNvSpPr>
                <a:spLocks noChangeArrowheads="1"/>
              </p:cNvSpPr>
              <p:nvPr userDrawn="1"/>
            </p:nvSpPr>
            <p:spPr bwMode="gray">
              <a:xfrm>
                <a:off x="10939649" y="4991577"/>
                <a:ext cx="966476" cy="573425"/>
              </a:xfrm>
              <a:prstGeom prst="rect">
                <a:avLst/>
              </a:prstGeom>
              <a:solidFill>
                <a:srgbClr val="D0482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55" name="Freeform 80">
                <a:extLst>
                  <a:ext uri="{FF2B5EF4-FFF2-40B4-BE49-F238E27FC236}">
                    <a16:creationId xmlns:a16="http://schemas.microsoft.com/office/drawing/2014/main" id="{850E36A0-7759-4486-B25B-C15D1BB99E48}"/>
                  </a:ext>
                </a:extLst>
              </p:cNvPr>
              <p:cNvSpPr>
                <a:spLocks/>
              </p:cNvSpPr>
              <p:nvPr userDrawn="1"/>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6" name="Rectangle 155">
                <a:extLst>
                  <a:ext uri="{FF2B5EF4-FFF2-40B4-BE49-F238E27FC236}">
                    <a16:creationId xmlns:a16="http://schemas.microsoft.com/office/drawing/2014/main" id="{0CBF7C1B-E083-4B6C-AB09-D5C3E96AC273}"/>
                  </a:ext>
                </a:extLst>
              </p:cNvPr>
              <p:cNvSpPr>
                <a:spLocks noChangeArrowheads="1"/>
              </p:cNvSpPr>
              <p:nvPr userDrawn="1"/>
            </p:nvSpPr>
            <p:spPr bwMode="gray">
              <a:xfrm>
                <a:off x="9897795" y="6079198"/>
                <a:ext cx="414588" cy="250369"/>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7" name="Freeform 83">
                <a:extLst>
                  <a:ext uri="{FF2B5EF4-FFF2-40B4-BE49-F238E27FC236}">
                    <a16:creationId xmlns:a16="http://schemas.microsoft.com/office/drawing/2014/main" id="{868716F6-EFCD-4D42-A48D-6697FB1B0E0A}"/>
                  </a:ext>
                </a:extLst>
              </p:cNvPr>
              <p:cNvSpPr>
                <a:spLocks/>
              </p:cNvSpPr>
              <p:nvPr userDrawn="1"/>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8" name="Freeform 84">
                <a:extLst>
                  <a:ext uri="{FF2B5EF4-FFF2-40B4-BE49-F238E27FC236}">
                    <a16:creationId xmlns:a16="http://schemas.microsoft.com/office/drawing/2014/main" id="{21A0B47B-12E6-4639-BB54-D4F3D6862733}"/>
                  </a:ext>
                </a:extLst>
              </p:cNvPr>
              <p:cNvSpPr>
                <a:spLocks/>
              </p:cNvSpPr>
              <p:nvPr userDrawn="1"/>
            </p:nvSpPr>
            <p:spPr bwMode="gray">
              <a:xfrm>
                <a:off x="6931065" y="4480072"/>
                <a:ext cx="1012242" cy="756489"/>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59" name="Freeform 85">
                <a:extLst>
                  <a:ext uri="{FF2B5EF4-FFF2-40B4-BE49-F238E27FC236}">
                    <a16:creationId xmlns:a16="http://schemas.microsoft.com/office/drawing/2014/main" id="{D5AF0F13-D186-4983-98BB-A8BE0427225C}"/>
                  </a:ext>
                </a:extLst>
              </p:cNvPr>
              <p:cNvSpPr>
                <a:spLocks/>
              </p:cNvSpPr>
              <p:nvPr userDrawn="1"/>
            </p:nvSpPr>
            <p:spPr bwMode="gray">
              <a:xfrm>
                <a:off x="7016288" y="4545006"/>
                <a:ext cx="854330" cy="670017"/>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D048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60" name="Freeform 86">
                <a:extLst>
                  <a:ext uri="{FF2B5EF4-FFF2-40B4-BE49-F238E27FC236}">
                    <a16:creationId xmlns:a16="http://schemas.microsoft.com/office/drawing/2014/main" id="{02027BB4-DFF4-4C2F-9B48-BE1D15BEAEEC}"/>
                  </a:ext>
                </a:extLst>
              </p:cNvPr>
              <p:cNvSpPr>
                <a:spLocks/>
              </p:cNvSpPr>
              <p:nvPr userDrawn="1"/>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grpSp>
        <p:pic>
          <p:nvPicPr>
            <p:cNvPr id="84" name="Picture 83">
              <a:extLst>
                <a:ext uri="{FF2B5EF4-FFF2-40B4-BE49-F238E27FC236}">
                  <a16:creationId xmlns:a16="http://schemas.microsoft.com/office/drawing/2014/main" id="{10D8DF18-1227-4F2E-A3FA-A2B1C16209E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086220" y="4568432"/>
              <a:ext cx="736358" cy="613092"/>
            </a:xfrm>
            <a:prstGeom prst="rect">
              <a:avLst/>
            </a:prstGeom>
          </p:spPr>
        </p:pic>
        <p:pic>
          <p:nvPicPr>
            <p:cNvPr id="85" name="Picture 84">
              <a:extLst>
                <a:ext uri="{FF2B5EF4-FFF2-40B4-BE49-F238E27FC236}">
                  <a16:creationId xmlns:a16="http://schemas.microsoft.com/office/drawing/2014/main" id="{3DBD4002-8742-42D1-9A0C-9A369C19E27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136377" y="5038107"/>
              <a:ext cx="604035" cy="502920"/>
            </a:xfrm>
            <a:prstGeom prst="rect">
              <a:avLst/>
            </a:prstGeom>
          </p:spPr>
        </p:pic>
        <p:pic>
          <p:nvPicPr>
            <p:cNvPr id="86" name="Picture 85">
              <a:extLst>
                <a:ext uri="{FF2B5EF4-FFF2-40B4-BE49-F238E27FC236}">
                  <a16:creationId xmlns:a16="http://schemas.microsoft.com/office/drawing/2014/main" id="{1A00F977-BA3B-4835-A326-66DAEBD1DF2B}"/>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980500" y="6106350"/>
              <a:ext cx="252597" cy="210312"/>
            </a:xfrm>
            <a:prstGeom prst="rect">
              <a:avLst/>
            </a:prstGeom>
          </p:spPr>
        </p:pic>
      </p:grpSp>
    </p:spTree>
    <p:extLst>
      <p:ext uri="{BB962C8B-B14F-4D97-AF65-F5344CB8AC3E}">
        <p14:creationId xmlns:p14="http://schemas.microsoft.com/office/powerpoint/2010/main" val="21198729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Square Right Photo Layout">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pic>
        <p:nvPicPr>
          <p:cNvPr id="12" name="Picture 11">
            <a:extLst>
              <a:ext uri="{FF2B5EF4-FFF2-40B4-BE49-F238E27FC236}">
                <a16:creationId xmlns:a16="http://schemas.microsoft.com/office/drawing/2014/main" id="{6E17ECB1-060F-43F0-9654-A66550FD915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96570">
            <a:off x="7102309" y="3707357"/>
            <a:ext cx="1934004" cy="1286705"/>
          </a:xfrm>
          <a:prstGeom prst="rect">
            <a:avLst/>
          </a:prstGeom>
          <a:scene3d>
            <a:camera prst="perspectiveHeroicExtremeRightFacing" fov="5100000">
              <a:rot lat="20633815" lon="19850160" rev="1082791"/>
            </a:camera>
            <a:lightRig rig="threePt" dir="t"/>
          </a:scene3d>
          <a:sp3d/>
        </p:spPr>
      </p:pic>
    </p:spTree>
    <p:extLst>
      <p:ext uri="{BB962C8B-B14F-4D97-AF65-F5344CB8AC3E}">
        <p14:creationId xmlns:p14="http://schemas.microsoft.com/office/powerpoint/2010/main" val="2389382815"/>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lumMod val="85000"/>
          </a:schemeClr>
        </a:solidFill>
        <a:effectLst/>
      </p:bgPr>
    </p:bg>
    <p:spTree>
      <p:nvGrpSpPr>
        <p:cNvPr id="1" name=""/>
        <p:cNvGrpSpPr/>
        <p:nvPr/>
      </p:nvGrpSpPr>
      <p:grpSpPr>
        <a:xfrm>
          <a:off x="0" y="0"/>
          <a:ext cx="0" cy="0"/>
          <a:chOff x="0" y="0"/>
          <a:chExt cx="0" cy="0"/>
        </a:xfrm>
      </p:grpSpPr>
      <p:grpSp>
        <p:nvGrpSpPr>
          <p:cNvPr id="81" name="Group 80">
            <a:extLst>
              <a:ext uri="{FF2B5EF4-FFF2-40B4-BE49-F238E27FC236}">
                <a16:creationId xmlns:a16="http://schemas.microsoft.com/office/drawing/2014/main" id="{DC352D84-8CD7-48EA-B827-9AC031C743F1}"/>
              </a:ext>
            </a:extLst>
          </p:cNvPr>
          <p:cNvGrpSpPr/>
          <p:nvPr userDrawn="1"/>
        </p:nvGrpSpPr>
        <p:grpSpPr>
          <a:xfrm>
            <a:off x="5468357" y="4139517"/>
            <a:ext cx="6723644" cy="2716134"/>
            <a:chOff x="5789470" y="4224320"/>
            <a:chExt cx="6858467" cy="2770205"/>
          </a:xfrm>
        </p:grpSpPr>
        <p:grpSp>
          <p:nvGrpSpPr>
            <p:cNvPr id="82" name="Group 81">
              <a:extLst>
                <a:ext uri="{FF2B5EF4-FFF2-40B4-BE49-F238E27FC236}">
                  <a16:creationId xmlns:a16="http://schemas.microsoft.com/office/drawing/2014/main" id="{FC419209-17EB-4DEA-B74A-CD4441E28F25}"/>
                </a:ext>
              </a:extLst>
            </p:cNvPr>
            <p:cNvGrpSpPr>
              <a:grpSpLocks noChangeAspect="1"/>
            </p:cNvGrpSpPr>
            <p:nvPr userDrawn="1"/>
          </p:nvGrpSpPr>
          <p:grpSpPr bwMode="gray">
            <a:xfrm>
              <a:off x="5789470" y="4224320"/>
              <a:ext cx="6858467" cy="2770205"/>
              <a:chOff x="5788926" y="4224320"/>
              <a:chExt cx="6858467" cy="2770205"/>
            </a:xfrm>
          </p:grpSpPr>
          <p:sp>
            <p:nvSpPr>
              <p:cNvPr id="86" name="Freeform: Shape 85">
                <a:extLst>
                  <a:ext uri="{FF2B5EF4-FFF2-40B4-BE49-F238E27FC236}">
                    <a16:creationId xmlns:a16="http://schemas.microsoft.com/office/drawing/2014/main" id="{77E44E5D-0297-4B27-A57E-1E1448766601}"/>
                  </a:ext>
                </a:extLst>
              </p:cNvPr>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7" name="Freeform 6">
                <a:extLst>
                  <a:ext uri="{FF2B5EF4-FFF2-40B4-BE49-F238E27FC236}">
                    <a16:creationId xmlns:a16="http://schemas.microsoft.com/office/drawing/2014/main" id="{51512E05-962C-42A0-901D-95E142D87A31}"/>
                  </a:ext>
                </a:extLst>
              </p:cNvPr>
              <p:cNvSpPr>
                <a:spLocks/>
              </p:cNvSpPr>
              <p:nvPr userDrawn="1"/>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88" name="Rectangle 87">
                <a:extLst>
                  <a:ext uri="{FF2B5EF4-FFF2-40B4-BE49-F238E27FC236}">
                    <a16:creationId xmlns:a16="http://schemas.microsoft.com/office/drawing/2014/main" id="{4F2562EA-CEF2-4732-830D-610C09CD2DA2}"/>
                  </a:ext>
                </a:extLst>
              </p:cNvPr>
              <p:cNvSpPr>
                <a:spLocks noChangeArrowheads="1"/>
              </p:cNvSpPr>
              <p:nvPr userDrawn="1"/>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89" name="Rectangle 88">
                <a:extLst>
                  <a:ext uri="{FF2B5EF4-FFF2-40B4-BE49-F238E27FC236}">
                    <a16:creationId xmlns:a16="http://schemas.microsoft.com/office/drawing/2014/main" id="{4A63D61E-8DA2-4729-B640-1794A57491F7}"/>
                  </a:ext>
                </a:extLst>
              </p:cNvPr>
              <p:cNvSpPr>
                <a:spLocks noChangeArrowheads="1"/>
              </p:cNvSpPr>
              <p:nvPr userDrawn="1"/>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0" name="Rectangle 89">
                <a:extLst>
                  <a:ext uri="{FF2B5EF4-FFF2-40B4-BE49-F238E27FC236}">
                    <a16:creationId xmlns:a16="http://schemas.microsoft.com/office/drawing/2014/main" id="{FCD83D69-47EC-4E75-8BAF-BE394EFC7868}"/>
                  </a:ext>
                </a:extLst>
              </p:cNvPr>
              <p:cNvSpPr>
                <a:spLocks noChangeArrowheads="1"/>
              </p:cNvSpPr>
              <p:nvPr userDrawn="1"/>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1" name="Rectangle 90">
                <a:extLst>
                  <a:ext uri="{FF2B5EF4-FFF2-40B4-BE49-F238E27FC236}">
                    <a16:creationId xmlns:a16="http://schemas.microsoft.com/office/drawing/2014/main" id="{D903A8FB-D0D0-4ADE-B1D6-4CADEC5D7D81}"/>
                  </a:ext>
                </a:extLst>
              </p:cNvPr>
              <p:cNvSpPr>
                <a:spLocks noChangeArrowheads="1"/>
              </p:cNvSpPr>
              <p:nvPr userDrawn="1"/>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2" name="Rectangle 91">
                <a:extLst>
                  <a:ext uri="{FF2B5EF4-FFF2-40B4-BE49-F238E27FC236}">
                    <a16:creationId xmlns:a16="http://schemas.microsoft.com/office/drawing/2014/main" id="{AA8FAD4B-51B6-44EB-BC0B-D5D35F90E8BF}"/>
                  </a:ext>
                </a:extLst>
              </p:cNvPr>
              <p:cNvSpPr>
                <a:spLocks noChangeArrowheads="1"/>
              </p:cNvSpPr>
              <p:nvPr userDrawn="1"/>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3" name="Rectangle 92">
                <a:extLst>
                  <a:ext uri="{FF2B5EF4-FFF2-40B4-BE49-F238E27FC236}">
                    <a16:creationId xmlns:a16="http://schemas.microsoft.com/office/drawing/2014/main" id="{D78432CD-E177-4818-85CE-A0B24D43C1FE}"/>
                  </a:ext>
                </a:extLst>
              </p:cNvPr>
              <p:cNvSpPr>
                <a:spLocks noChangeArrowheads="1"/>
              </p:cNvSpPr>
              <p:nvPr userDrawn="1"/>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4" name="Freeform 13">
                <a:extLst>
                  <a:ext uri="{FF2B5EF4-FFF2-40B4-BE49-F238E27FC236}">
                    <a16:creationId xmlns:a16="http://schemas.microsoft.com/office/drawing/2014/main" id="{774CBD0A-32A7-4F80-8727-4DDC9B3BD962}"/>
                  </a:ext>
                </a:extLst>
              </p:cNvPr>
              <p:cNvSpPr>
                <a:spLocks/>
              </p:cNvSpPr>
              <p:nvPr userDrawn="1"/>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5" name="Freeform 14">
                <a:extLst>
                  <a:ext uri="{FF2B5EF4-FFF2-40B4-BE49-F238E27FC236}">
                    <a16:creationId xmlns:a16="http://schemas.microsoft.com/office/drawing/2014/main" id="{3F2752C7-0E47-424B-9082-BA626C4867E5}"/>
                  </a:ext>
                </a:extLst>
              </p:cNvPr>
              <p:cNvSpPr>
                <a:spLocks/>
              </p:cNvSpPr>
              <p:nvPr userDrawn="1"/>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6" name="Freeform 15">
                <a:extLst>
                  <a:ext uri="{FF2B5EF4-FFF2-40B4-BE49-F238E27FC236}">
                    <a16:creationId xmlns:a16="http://schemas.microsoft.com/office/drawing/2014/main" id="{7B0B83B5-C72C-474F-8569-D8A6410516F2}"/>
                  </a:ext>
                </a:extLst>
              </p:cNvPr>
              <p:cNvSpPr>
                <a:spLocks/>
              </p:cNvSpPr>
              <p:nvPr userDrawn="1"/>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7" name="Freeform 16">
                <a:extLst>
                  <a:ext uri="{FF2B5EF4-FFF2-40B4-BE49-F238E27FC236}">
                    <a16:creationId xmlns:a16="http://schemas.microsoft.com/office/drawing/2014/main" id="{A68F4AB2-8B3E-4A11-94CC-4A321E8D1EE1}"/>
                  </a:ext>
                </a:extLst>
              </p:cNvPr>
              <p:cNvSpPr>
                <a:spLocks/>
              </p:cNvSpPr>
              <p:nvPr userDrawn="1"/>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8" name="Freeform 17">
                <a:extLst>
                  <a:ext uri="{FF2B5EF4-FFF2-40B4-BE49-F238E27FC236}">
                    <a16:creationId xmlns:a16="http://schemas.microsoft.com/office/drawing/2014/main" id="{7430BBCB-2E72-4DA3-9D75-C28DCC5ADCAC}"/>
                  </a:ext>
                </a:extLst>
              </p:cNvPr>
              <p:cNvSpPr>
                <a:spLocks/>
              </p:cNvSpPr>
              <p:nvPr userDrawn="1"/>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9" name="Freeform 18">
                <a:extLst>
                  <a:ext uri="{FF2B5EF4-FFF2-40B4-BE49-F238E27FC236}">
                    <a16:creationId xmlns:a16="http://schemas.microsoft.com/office/drawing/2014/main" id="{C3AC30AA-3406-4754-B69E-7560A5525A21}"/>
                  </a:ext>
                </a:extLst>
              </p:cNvPr>
              <p:cNvSpPr>
                <a:spLocks/>
              </p:cNvSpPr>
              <p:nvPr userDrawn="1"/>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0" name="Freeform 19">
                <a:extLst>
                  <a:ext uri="{FF2B5EF4-FFF2-40B4-BE49-F238E27FC236}">
                    <a16:creationId xmlns:a16="http://schemas.microsoft.com/office/drawing/2014/main" id="{7DDEEC5C-39B5-4FCB-B56C-AC78A81AC5B4}"/>
                  </a:ext>
                </a:extLst>
              </p:cNvPr>
              <p:cNvSpPr>
                <a:spLocks/>
              </p:cNvSpPr>
              <p:nvPr userDrawn="1"/>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1" name="Freeform 20">
                <a:extLst>
                  <a:ext uri="{FF2B5EF4-FFF2-40B4-BE49-F238E27FC236}">
                    <a16:creationId xmlns:a16="http://schemas.microsoft.com/office/drawing/2014/main" id="{ABB83F7E-7160-49A4-890A-674FD9DD94B2}"/>
                  </a:ext>
                </a:extLst>
              </p:cNvPr>
              <p:cNvSpPr>
                <a:spLocks/>
              </p:cNvSpPr>
              <p:nvPr userDrawn="1"/>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2" name="Oval 101">
                <a:extLst>
                  <a:ext uri="{FF2B5EF4-FFF2-40B4-BE49-F238E27FC236}">
                    <a16:creationId xmlns:a16="http://schemas.microsoft.com/office/drawing/2014/main" id="{136C9D0E-6010-41BA-91F7-839F437ABAB2}"/>
                  </a:ext>
                </a:extLst>
              </p:cNvPr>
              <p:cNvSpPr>
                <a:spLocks noChangeArrowheads="1"/>
              </p:cNvSpPr>
              <p:nvPr userDrawn="1"/>
            </p:nvSpPr>
            <p:spPr bwMode="gray">
              <a:xfrm>
                <a:off x="9203225" y="468198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3" name="Oval 102">
                <a:extLst>
                  <a:ext uri="{FF2B5EF4-FFF2-40B4-BE49-F238E27FC236}">
                    <a16:creationId xmlns:a16="http://schemas.microsoft.com/office/drawing/2014/main" id="{52D67662-75C3-47A1-8909-4C5484661989}"/>
                  </a:ext>
                </a:extLst>
              </p:cNvPr>
              <p:cNvSpPr>
                <a:spLocks noChangeArrowheads="1"/>
              </p:cNvSpPr>
              <p:nvPr userDrawn="1"/>
            </p:nvSpPr>
            <p:spPr bwMode="gray">
              <a:xfrm>
                <a:off x="9203225" y="4821973"/>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4" name="Oval 103">
                <a:extLst>
                  <a:ext uri="{FF2B5EF4-FFF2-40B4-BE49-F238E27FC236}">
                    <a16:creationId xmlns:a16="http://schemas.microsoft.com/office/drawing/2014/main" id="{7A4D4250-EDA7-4A72-A559-EE2D5C854DAF}"/>
                  </a:ext>
                </a:extLst>
              </p:cNvPr>
              <p:cNvSpPr>
                <a:spLocks noChangeArrowheads="1"/>
              </p:cNvSpPr>
              <p:nvPr userDrawn="1"/>
            </p:nvSpPr>
            <p:spPr bwMode="gray">
              <a:xfrm>
                <a:off x="9203225" y="495927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5" name="Oval 104">
                <a:extLst>
                  <a:ext uri="{FF2B5EF4-FFF2-40B4-BE49-F238E27FC236}">
                    <a16:creationId xmlns:a16="http://schemas.microsoft.com/office/drawing/2014/main" id="{8ACC78AF-D0C0-4AE1-8EAA-674CF9B5754C}"/>
                  </a:ext>
                </a:extLst>
              </p:cNvPr>
              <p:cNvSpPr>
                <a:spLocks noChangeArrowheads="1"/>
              </p:cNvSpPr>
              <p:nvPr userDrawn="1"/>
            </p:nvSpPr>
            <p:spPr bwMode="gray">
              <a:xfrm>
                <a:off x="9203225" y="509926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6" name="Freeform 25">
                <a:extLst>
                  <a:ext uri="{FF2B5EF4-FFF2-40B4-BE49-F238E27FC236}">
                    <a16:creationId xmlns:a16="http://schemas.microsoft.com/office/drawing/2014/main" id="{E3757448-C02D-4E65-B17A-CD28BCEB7DC4}"/>
                  </a:ext>
                </a:extLst>
              </p:cNvPr>
              <p:cNvSpPr>
                <a:spLocks/>
              </p:cNvSpPr>
              <p:nvPr userDrawn="1"/>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7" name="Oval 106">
                <a:extLst>
                  <a:ext uri="{FF2B5EF4-FFF2-40B4-BE49-F238E27FC236}">
                    <a16:creationId xmlns:a16="http://schemas.microsoft.com/office/drawing/2014/main" id="{73532E96-C6CE-4B42-9BB3-13B1FD6206E1}"/>
                  </a:ext>
                </a:extLst>
              </p:cNvPr>
              <p:cNvSpPr>
                <a:spLocks noChangeArrowheads="1"/>
              </p:cNvSpPr>
              <p:nvPr userDrawn="1"/>
            </p:nvSpPr>
            <p:spPr bwMode="gray">
              <a:xfrm>
                <a:off x="9203225" y="5376553"/>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8" name="Oval 107">
                <a:extLst>
                  <a:ext uri="{FF2B5EF4-FFF2-40B4-BE49-F238E27FC236}">
                    <a16:creationId xmlns:a16="http://schemas.microsoft.com/office/drawing/2014/main" id="{F4388A6B-570C-42CD-AAFB-6AB27D7F58AD}"/>
                  </a:ext>
                </a:extLst>
              </p:cNvPr>
              <p:cNvSpPr>
                <a:spLocks noChangeArrowheads="1"/>
              </p:cNvSpPr>
              <p:nvPr userDrawn="1"/>
            </p:nvSpPr>
            <p:spPr bwMode="gray">
              <a:xfrm>
                <a:off x="9203225" y="5513851"/>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9" name="Oval 108">
                <a:extLst>
                  <a:ext uri="{FF2B5EF4-FFF2-40B4-BE49-F238E27FC236}">
                    <a16:creationId xmlns:a16="http://schemas.microsoft.com/office/drawing/2014/main" id="{802E4807-C059-4852-9AFF-8E687C287409}"/>
                  </a:ext>
                </a:extLst>
              </p:cNvPr>
              <p:cNvSpPr>
                <a:spLocks noChangeArrowheads="1"/>
              </p:cNvSpPr>
              <p:nvPr userDrawn="1"/>
            </p:nvSpPr>
            <p:spPr bwMode="gray">
              <a:xfrm>
                <a:off x="9203225" y="5653841"/>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0" name="Freeform 29">
                <a:extLst>
                  <a:ext uri="{FF2B5EF4-FFF2-40B4-BE49-F238E27FC236}">
                    <a16:creationId xmlns:a16="http://schemas.microsoft.com/office/drawing/2014/main" id="{6A1CF96C-6C43-4B2A-B6B0-A53C5625198D}"/>
                  </a:ext>
                </a:extLst>
              </p:cNvPr>
              <p:cNvSpPr>
                <a:spLocks/>
              </p:cNvSpPr>
              <p:nvPr userDrawn="1"/>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1" name="Oval 110">
                <a:extLst>
                  <a:ext uri="{FF2B5EF4-FFF2-40B4-BE49-F238E27FC236}">
                    <a16:creationId xmlns:a16="http://schemas.microsoft.com/office/drawing/2014/main" id="{A20CB881-23BD-4C69-B83E-41A6B6367A62}"/>
                  </a:ext>
                </a:extLst>
              </p:cNvPr>
              <p:cNvSpPr>
                <a:spLocks noChangeArrowheads="1"/>
              </p:cNvSpPr>
              <p:nvPr userDrawn="1"/>
            </p:nvSpPr>
            <p:spPr bwMode="gray">
              <a:xfrm>
                <a:off x="9203225" y="579114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2" name="Rectangle 111">
                <a:extLst>
                  <a:ext uri="{FF2B5EF4-FFF2-40B4-BE49-F238E27FC236}">
                    <a16:creationId xmlns:a16="http://schemas.microsoft.com/office/drawing/2014/main" id="{5E7E4793-8657-4374-920C-617E3603B66B}"/>
                  </a:ext>
                </a:extLst>
              </p:cNvPr>
              <p:cNvSpPr>
                <a:spLocks noChangeArrowheads="1"/>
              </p:cNvSpPr>
              <p:nvPr userDrawn="1"/>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3" name="Freeform 32">
                <a:extLst>
                  <a:ext uri="{FF2B5EF4-FFF2-40B4-BE49-F238E27FC236}">
                    <a16:creationId xmlns:a16="http://schemas.microsoft.com/office/drawing/2014/main" id="{63397122-5D8E-4B0B-9B0F-299AF5765F4E}"/>
                  </a:ext>
                </a:extLst>
              </p:cNvPr>
              <p:cNvSpPr>
                <a:spLocks/>
              </p:cNvSpPr>
              <p:nvPr userDrawn="1"/>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4" name="Freeform 33">
                <a:extLst>
                  <a:ext uri="{FF2B5EF4-FFF2-40B4-BE49-F238E27FC236}">
                    <a16:creationId xmlns:a16="http://schemas.microsoft.com/office/drawing/2014/main" id="{E8A4EC8D-DDF8-478E-ACB7-6598A575AB29}"/>
                  </a:ext>
                </a:extLst>
              </p:cNvPr>
              <p:cNvSpPr>
                <a:spLocks/>
              </p:cNvSpPr>
              <p:nvPr userDrawn="1"/>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5" name="Freeform 34">
                <a:extLst>
                  <a:ext uri="{FF2B5EF4-FFF2-40B4-BE49-F238E27FC236}">
                    <a16:creationId xmlns:a16="http://schemas.microsoft.com/office/drawing/2014/main" id="{46882F79-F2A4-4BD5-8657-8CBB5834A9B1}"/>
                  </a:ext>
                </a:extLst>
              </p:cNvPr>
              <p:cNvSpPr>
                <a:spLocks/>
              </p:cNvSpPr>
              <p:nvPr userDrawn="1"/>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6" name="Freeform 35">
                <a:extLst>
                  <a:ext uri="{FF2B5EF4-FFF2-40B4-BE49-F238E27FC236}">
                    <a16:creationId xmlns:a16="http://schemas.microsoft.com/office/drawing/2014/main" id="{1794560F-C1B5-409B-AB00-C0FF121F6DF8}"/>
                  </a:ext>
                </a:extLst>
              </p:cNvPr>
              <p:cNvSpPr>
                <a:spLocks/>
              </p:cNvSpPr>
              <p:nvPr userDrawn="1"/>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7" name="Freeform 36">
                <a:extLst>
                  <a:ext uri="{FF2B5EF4-FFF2-40B4-BE49-F238E27FC236}">
                    <a16:creationId xmlns:a16="http://schemas.microsoft.com/office/drawing/2014/main" id="{61FEC112-C04A-4F59-B583-68F545A2A948}"/>
                  </a:ext>
                </a:extLst>
              </p:cNvPr>
              <p:cNvSpPr>
                <a:spLocks/>
              </p:cNvSpPr>
              <p:nvPr userDrawn="1"/>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8" name="Freeform 37">
                <a:extLst>
                  <a:ext uri="{FF2B5EF4-FFF2-40B4-BE49-F238E27FC236}">
                    <a16:creationId xmlns:a16="http://schemas.microsoft.com/office/drawing/2014/main" id="{6C6B047B-E455-4653-8FEA-B57D72BE9E04}"/>
                  </a:ext>
                </a:extLst>
              </p:cNvPr>
              <p:cNvSpPr>
                <a:spLocks/>
              </p:cNvSpPr>
              <p:nvPr userDrawn="1"/>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9" name="Freeform 38">
                <a:extLst>
                  <a:ext uri="{FF2B5EF4-FFF2-40B4-BE49-F238E27FC236}">
                    <a16:creationId xmlns:a16="http://schemas.microsoft.com/office/drawing/2014/main" id="{0871CCB6-0E69-4051-82AF-D408F8E4B84C}"/>
                  </a:ext>
                </a:extLst>
              </p:cNvPr>
              <p:cNvSpPr>
                <a:spLocks/>
              </p:cNvSpPr>
              <p:nvPr userDrawn="1"/>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0" name="Freeform 39">
                <a:extLst>
                  <a:ext uri="{FF2B5EF4-FFF2-40B4-BE49-F238E27FC236}">
                    <a16:creationId xmlns:a16="http://schemas.microsoft.com/office/drawing/2014/main" id="{F8B661D5-7AEF-4DBE-A3C8-83117B648AAA}"/>
                  </a:ext>
                </a:extLst>
              </p:cNvPr>
              <p:cNvSpPr>
                <a:spLocks/>
              </p:cNvSpPr>
              <p:nvPr userDrawn="1"/>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1" name="Oval 120">
                <a:extLst>
                  <a:ext uri="{FF2B5EF4-FFF2-40B4-BE49-F238E27FC236}">
                    <a16:creationId xmlns:a16="http://schemas.microsoft.com/office/drawing/2014/main" id="{61B2E2CF-9F48-46BE-B4A5-55E082CF025E}"/>
                  </a:ext>
                </a:extLst>
              </p:cNvPr>
              <p:cNvSpPr>
                <a:spLocks noChangeArrowheads="1"/>
              </p:cNvSpPr>
              <p:nvPr userDrawn="1"/>
            </p:nvSpPr>
            <p:spPr bwMode="gray">
              <a:xfrm>
                <a:off x="9889718" y="499157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2" name="Oval 121">
                <a:extLst>
                  <a:ext uri="{FF2B5EF4-FFF2-40B4-BE49-F238E27FC236}">
                    <a16:creationId xmlns:a16="http://schemas.microsoft.com/office/drawing/2014/main" id="{8787C3FF-D14C-4BFB-BD4B-441756BB801A}"/>
                  </a:ext>
                </a:extLst>
              </p:cNvPr>
              <p:cNvSpPr>
                <a:spLocks noChangeArrowheads="1"/>
              </p:cNvSpPr>
              <p:nvPr userDrawn="1"/>
            </p:nvSpPr>
            <p:spPr bwMode="gray">
              <a:xfrm>
                <a:off x="9889718" y="5131568"/>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3" name="Oval 122">
                <a:extLst>
                  <a:ext uri="{FF2B5EF4-FFF2-40B4-BE49-F238E27FC236}">
                    <a16:creationId xmlns:a16="http://schemas.microsoft.com/office/drawing/2014/main" id="{BF018551-F9E9-40B1-A008-1BC4E3F44C2A}"/>
                  </a:ext>
                </a:extLst>
              </p:cNvPr>
              <p:cNvSpPr>
                <a:spLocks noChangeArrowheads="1"/>
              </p:cNvSpPr>
              <p:nvPr userDrawn="1"/>
            </p:nvSpPr>
            <p:spPr bwMode="gray">
              <a:xfrm>
                <a:off x="9889718" y="5268867"/>
                <a:ext cx="45767" cy="45767"/>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4" name="Oval 123">
                <a:extLst>
                  <a:ext uri="{FF2B5EF4-FFF2-40B4-BE49-F238E27FC236}">
                    <a16:creationId xmlns:a16="http://schemas.microsoft.com/office/drawing/2014/main" id="{13EE294D-D728-49C1-BAC5-9FB7F002358C}"/>
                  </a:ext>
                </a:extLst>
              </p:cNvPr>
              <p:cNvSpPr>
                <a:spLocks noChangeArrowheads="1"/>
              </p:cNvSpPr>
              <p:nvPr userDrawn="1"/>
            </p:nvSpPr>
            <p:spPr bwMode="gray">
              <a:xfrm>
                <a:off x="9889718" y="5406165"/>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5" name="Oval 124">
                <a:extLst>
                  <a:ext uri="{FF2B5EF4-FFF2-40B4-BE49-F238E27FC236}">
                    <a16:creationId xmlns:a16="http://schemas.microsoft.com/office/drawing/2014/main" id="{24257021-F968-431B-AB01-34B77FB53259}"/>
                  </a:ext>
                </a:extLst>
              </p:cNvPr>
              <p:cNvSpPr>
                <a:spLocks noChangeArrowheads="1"/>
              </p:cNvSpPr>
              <p:nvPr userDrawn="1"/>
            </p:nvSpPr>
            <p:spPr bwMode="gray">
              <a:xfrm>
                <a:off x="9889718" y="5546156"/>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6" name="Oval 125">
                <a:extLst>
                  <a:ext uri="{FF2B5EF4-FFF2-40B4-BE49-F238E27FC236}">
                    <a16:creationId xmlns:a16="http://schemas.microsoft.com/office/drawing/2014/main" id="{0A1EB780-1805-47D9-8CAA-9EBFAF1D8423}"/>
                  </a:ext>
                </a:extLst>
              </p:cNvPr>
              <p:cNvSpPr>
                <a:spLocks noChangeArrowheads="1"/>
              </p:cNvSpPr>
              <p:nvPr userDrawn="1"/>
            </p:nvSpPr>
            <p:spPr bwMode="gray">
              <a:xfrm>
                <a:off x="9889718" y="5683456"/>
                <a:ext cx="45767" cy="45767"/>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7" name="Oval 126">
                <a:extLst>
                  <a:ext uri="{FF2B5EF4-FFF2-40B4-BE49-F238E27FC236}">
                    <a16:creationId xmlns:a16="http://schemas.microsoft.com/office/drawing/2014/main" id="{1310C791-3B72-4F76-B2CC-18CB0FF30824}"/>
                  </a:ext>
                </a:extLst>
              </p:cNvPr>
              <p:cNvSpPr>
                <a:spLocks noChangeArrowheads="1"/>
              </p:cNvSpPr>
              <p:nvPr userDrawn="1"/>
            </p:nvSpPr>
            <p:spPr bwMode="gray">
              <a:xfrm>
                <a:off x="9889718" y="582344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8" name="Oval 127">
                <a:extLst>
                  <a:ext uri="{FF2B5EF4-FFF2-40B4-BE49-F238E27FC236}">
                    <a16:creationId xmlns:a16="http://schemas.microsoft.com/office/drawing/2014/main" id="{9B728B92-55DA-405F-8A4F-685597F3262E}"/>
                  </a:ext>
                </a:extLst>
              </p:cNvPr>
              <p:cNvSpPr>
                <a:spLocks noChangeArrowheads="1"/>
              </p:cNvSpPr>
              <p:nvPr userDrawn="1"/>
            </p:nvSpPr>
            <p:spPr bwMode="gray">
              <a:xfrm>
                <a:off x="9889718" y="5960744"/>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9" name="Freeform 48">
                <a:extLst>
                  <a:ext uri="{FF2B5EF4-FFF2-40B4-BE49-F238E27FC236}">
                    <a16:creationId xmlns:a16="http://schemas.microsoft.com/office/drawing/2014/main" id="{8E0239F7-C910-44D0-B9E3-7A0F96F2DAD8}"/>
                  </a:ext>
                </a:extLst>
              </p:cNvPr>
              <p:cNvSpPr>
                <a:spLocks/>
              </p:cNvSpPr>
              <p:nvPr userDrawn="1"/>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0" name="Oval 129">
                <a:extLst>
                  <a:ext uri="{FF2B5EF4-FFF2-40B4-BE49-F238E27FC236}">
                    <a16:creationId xmlns:a16="http://schemas.microsoft.com/office/drawing/2014/main" id="{66AB3FDD-4050-49FF-8E09-41D08BA036D0}"/>
                  </a:ext>
                </a:extLst>
              </p:cNvPr>
              <p:cNvSpPr>
                <a:spLocks noChangeArrowheads="1"/>
              </p:cNvSpPr>
              <p:nvPr userDrawn="1"/>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1" name="Freeform 50">
                <a:extLst>
                  <a:ext uri="{FF2B5EF4-FFF2-40B4-BE49-F238E27FC236}">
                    <a16:creationId xmlns:a16="http://schemas.microsoft.com/office/drawing/2014/main" id="{097A098E-8DE5-4925-8281-BB9E6D5119E0}"/>
                  </a:ext>
                </a:extLst>
              </p:cNvPr>
              <p:cNvSpPr>
                <a:spLocks/>
              </p:cNvSpPr>
              <p:nvPr userDrawn="1"/>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2" name="Oval 131">
                <a:extLst>
                  <a:ext uri="{FF2B5EF4-FFF2-40B4-BE49-F238E27FC236}">
                    <a16:creationId xmlns:a16="http://schemas.microsoft.com/office/drawing/2014/main" id="{29C881AF-8A73-4B6F-BF45-11A0AEB5EB01}"/>
                  </a:ext>
                </a:extLst>
              </p:cNvPr>
              <p:cNvSpPr>
                <a:spLocks noChangeArrowheads="1"/>
              </p:cNvSpPr>
              <p:nvPr userDrawn="1"/>
            </p:nvSpPr>
            <p:spPr bwMode="gray">
              <a:xfrm>
                <a:off x="9203225" y="5928439"/>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3" name="Rectangle 132">
                <a:extLst>
                  <a:ext uri="{FF2B5EF4-FFF2-40B4-BE49-F238E27FC236}">
                    <a16:creationId xmlns:a16="http://schemas.microsoft.com/office/drawing/2014/main" id="{1A9C3FD9-9393-4E51-975A-207F3EE83E49}"/>
                  </a:ext>
                </a:extLst>
              </p:cNvPr>
              <p:cNvSpPr>
                <a:spLocks noChangeArrowheads="1"/>
              </p:cNvSpPr>
              <p:nvPr userDrawn="1"/>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4" name="Freeform 53">
                <a:extLst>
                  <a:ext uri="{FF2B5EF4-FFF2-40B4-BE49-F238E27FC236}">
                    <a16:creationId xmlns:a16="http://schemas.microsoft.com/office/drawing/2014/main" id="{392AEE0E-8316-4751-A800-01085D95B954}"/>
                  </a:ext>
                </a:extLst>
              </p:cNvPr>
              <p:cNvSpPr>
                <a:spLocks/>
              </p:cNvSpPr>
              <p:nvPr userDrawn="1"/>
            </p:nvSpPr>
            <p:spPr bwMode="gray">
              <a:xfrm>
                <a:off x="10772739" y="5917670"/>
                <a:ext cx="1243765" cy="621882"/>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5" name="Freeform 55">
                <a:extLst>
                  <a:ext uri="{FF2B5EF4-FFF2-40B4-BE49-F238E27FC236}">
                    <a16:creationId xmlns:a16="http://schemas.microsoft.com/office/drawing/2014/main" id="{C6223D5E-7C88-4F18-9CCA-8627949C059C}"/>
                  </a:ext>
                </a:extLst>
              </p:cNvPr>
              <p:cNvSpPr>
                <a:spLocks/>
              </p:cNvSpPr>
              <p:nvPr userDrawn="1"/>
            </p:nvSpPr>
            <p:spPr bwMode="gray">
              <a:xfrm>
                <a:off x="11198092" y="5990359"/>
                <a:ext cx="1449301" cy="697263"/>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36" name="Freeform 59">
                <a:extLst>
                  <a:ext uri="{FF2B5EF4-FFF2-40B4-BE49-F238E27FC236}">
                    <a16:creationId xmlns:a16="http://schemas.microsoft.com/office/drawing/2014/main" id="{F860C23C-A04A-445F-83E8-F78400408E52}"/>
                  </a:ext>
                </a:extLst>
              </p:cNvPr>
              <p:cNvSpPr>
                <a:spLocks/>
              </p:cNvSpPr>
              <p:nvPr userDrawn="1"/>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7" name="Freeform 60">
                <a:extLst>
                  <a:ext uri="{FF2B5EF4-FFF2-40B4-BE49-F238E27FC236}">
                    <a16:creationId xmlns:a16="http://schemas.microsoft.com/office/drawing/2014/main" id="{B7454937-F226-4127-86E9-B8289E7CEE1E}"/>
                  </a:ext>
                </a:extLst>
              </p:cNvPr>
              <p:cNvSpPr>
                <a:spLocks/>
              </p:cNvSpPr>
              <p:nvPr userDrawn="1"/>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8" name="Rectangle 137">
                <a:extLst>
                  <a:ext uri="{FF2B5EF4-FFF2-40B4-BE49-F238E27FC236}">
                    <a16:creationId xmlns:a16="http://schemas.microsoft.com/office/drawing/2014/main" id="{2B04A57B-C1AD-4866-A091-F41D5C5D53D5}"/>
                  </a:ext>
                </a:extLst>
              </p:cNvPr>
              <p:cNvSpPr>
                <a:spLocks noChangeArrowheads="1"/>
              </p:cNvSpPr>
              <p:nvPr userDrawn="1"/>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9" name="Freeform 62">
                <a:extLst>
                  <a:ext uri="{FF2B5EF4-FFF2-40B4-BE49-F238E27FC236}">
                    <a16:creationId xmlns:a16="http://schemas.microsoft.com/office/drawing/2014/main" id="{66CA1506-2828-498B-BDCF-5EECF74F6B03}"/>
                  </a:ext>
                </a:extLst>
              </p:cNvPr>
              <p:cNvSpPr>
                <a:spLocks/>
              </p:cNvSpPr>
              <p:nvPr userDrawn="1"/>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40" name="Rectangle 139">
                <a:extLst>
                  <a:ext uri="{FF2B5EF4-FFF2-40B4-BE49-F238E27FC236}">
                    <a16:creationId xmlns:a16="http://schemas.microsoft.com/office/drawing/2014/main" id="{F3CD89B5-1060-427B-8A4A-62EB7E0FD074}"/>
                  </a:ext>
                </a:extLst>
              </p:cNvPr>
              <p:cNvSpPr>
                <a:spLocks noChangeArrowheads="1"/>
              </p:cNvSpPr>
              <p:nvPr userDrawn="1"/>
            </p:nvSpPr>
            <p:spPr bwMode="gray">
              <a:xfrm>
                <a:off x="10840041" y="5481545"/>
                <a:ext cx="43074" cy="91532"/>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1" name="Freeform 64">
                <a:extLst>
                  <a:ext uri="{FF2B5EF4-FFF2-40B4-BE49-F238E27FC236}">
                    <a16:creationId xmlns:a16="http://schemas.microsoft.com/office/drawing/2014/main" id="{7AEE98D0-B305-47FA-9C23-85459E3402A3}"/>
                  </a:ext>
                </a:extLst>
              </p:cNvPr>
              <p:cNvSpPr>
                <a:spLocks/>
              </p:cNvSpPr>
              <p:nvPr userDrawn="1"/>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2" name="Freeform 65">
                <a:extLst>
                  <a:ext uri="{FF2B5EF4-FFF2-40B4-BE49-F238E27FC236}">
                    <a16:creationId xmlns:a16="http://schemas.microsoft.com/office/drawing/2014/main" id="{13BFA771-D7F1-4FE5-9FEE-D1FF9CA21142}"/>
                  </a:ext>
                </a:extLst>
              </p:cNvPr>
              <p:cNvSpPr>
                <a:spLocks/>
              </p:cNvSpPr>
              <p:nvPr userDrawn="1"/>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3" name="Rectangle 142">
                <a:extLst>
                  <a:ext uri="{FF2B5EF4-FFF2-40B4-BE49-F238E27FC236}">
                    <a16:creationId xmlns:a16="http://schemas.microsoft.com/office/drawing/2014/main" id="{FE61A8F6-C4FC-4175-BE3E-B7E5DB20229C}"/>
                  </a:ext>
                </a:extLst>
              </p:cNvPr>
              <p:cNvSpPr>
                <a:spLocks noChangeArrowheads="1"/>
              </p:cNvSpPr>
              <p:nvPr userDrawn="1"/>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4" name="Rectangle 143">
                <a:extLst>
                  <a:ext uri="{FF2B5EF4-FFF2-40B4-BE49-F238E27FC236}">
                    <a16:creationId xmlns:a16="http://schemas.microsoft.com/office/drawing/2014/main" id="{0090C396-50A8-4958-8A95-4BD87042FF7D}"/>
                  </a:ext>
                </a:extLst>
              </p:cNvPr>
              <p:cNvSpPr>
                <a:spLocks noChangeArrowheads="1"/>
              </p:cNvSpPr>
              <p:nvPr userDrawn="1"/>
            </p:nvSpPr>
            <p:spPr bwMode="gray">
              <a:xfrm>
                <a:off x="7943307" y="5048112"/>
                <a:ext cx="43074" cy="91532"/>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5" name="Freeform 68">
                <a:extLst>
                  <a:ext uri="{FF2B5EF4-FFF2-40B4-BE49-F238E27FC236}">
                    <a16:creationId xmlns:a16="http://schemas.microsoft.com/office/drawing/2014/main" id="{EF081CBD-51F1-42B6-8CC8-B79B29EE3A90}"/>
                  </a:ext>
                </a:extLst>
              </p:cNvPr>
              <p:cNvSpPr>
                <a:spLocks/>
              </p:cNvSpPr>
              <p:nvPr userDrawn="1"/>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6" name="Freeform 69">
                <a:extLst>
                  <a:ext uri="{FF2B5EF4-FFF2-40B4-BE49-F238E27FC236}">
                    <a16:creationId xmlns:a16="http://schemas.microsoft.com/office/drawing/2014/main" id="{9D93D0F1-147A-4C24-86BF-7E39EE2B409F}"/>
                  </a:ext>
                </a:extLst>
              </p:cNvPr>
              <p:cNvSpPr>
                <a:spLocks/>
              </p:cNvSpPr>
              <p:nvPr userDrawn="1"/>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7" name="Freeform 70">
                <a:extLst>
                  <a:ext uri="{FF2B5EF4-FFF2-40B4-BE49-F238E27FC236}">
                    <a16:creationId xmlns:a16="http://schemas.microsoft.com/office/drawing/2014/main" id="{A46F88DD-DC58-4980-B110-0F31DFDA7498}"/>
                  </a:ext>
                </a:extLst>
              </p:cNvPr>
              <p:cNvSpPr>
                <a:spLocks/>
              </p:cNvSpPr>
              <p:nvPr userDrawn="1"/>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8" name="Rectangle 147">
                <a:extLst>
                  <a:ext uri="{FF2B5EF4-FFF2-40B4-BE49-F238E27FC236}">
                    <a16:creationId xmlns:a16="http://schemas.microsoft.com/office/drawing/2014/main" id="{57791E67-03D9-4553-BC26-3015B6C7405F}"/>
                  </a:ext>
                </a:extLst>
              </p:cNvPr>
              <p:cNvSpPr>
                <a:spLocks noChangeArrowheads="1"/>
              </p:cNvSpPr>
              <p:nvPr userDrawn="1"/>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9" name="Freeform 72">
                <a:extLst>
                  <a:ext uri="{FF2B5EF4-FFF2-40B4-BE49-F238E27FC236}">
                    <a16:creationId xmlns:a16="http://schemas.microsoft.com/office/drawing/2014/main" id="{58274EBA-DE25-4623-B657-78E6E62FE0B7}"/>
                  </a:ext>
                </a:extLst>
              </p:cNvPr>
              <p:cNvSpPr>
                <a:spLocks/>
              </p:cNvSpPr>
              <p:nvPr userDrawn="1"/>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0" name="Freeform 73">
                <a:extLst>
                  <a:ext uri="{FF2B5EF4-FFF2-40B4-BE49-F238E27FC236}">
                    <a16:creationId xmlns:a16="http://schemas.microsoft.com/office/drawing/2014/main" id="{DEB9FE36-FA08-4FB3-A49D-6F7B57AEC151}"/>
                  </a:ext>
                </a:extLst>
              </p:cNvPr>
              <p:cNvSpPr>
                <a:spLocks/>
              </p:cNvSpPr>
              <p:nvPr userDrawn="1"/>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1" name="Rectangle 150">
                <a:extLst>
                  <a:ext uri="{FF2B5EF4-FFF2-40B4-BE49-F238E27FC236}">
                    <a16:creationId xmlns:a16="http://schemas.microsoft.com/office/drawing/2014/main" id="{3F3B70EC-4488-476B-8434-424F19C9FAA6}"/>
                  </a:ext>
                </a:extLst>
              </p:cNvPr>
              <p:cNvSpPr>
                <a:spLocks noChangeArrowheads="1"/>
              </p:cNvSpPr>
              <p:nvPr userDrawn="1"/>
            </p:nvSpPr>
            <p:spPr bwMode="gray">
              <a:xfrm>
                <a:off x="9846644" y="6273032"/>
                <a:ext cx="26921" cy="56536"/>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2" name="Freeform 75">
                <a:extLst>
                  <a:ext uri="{FF2B5EF4-FFF2-40B4-BE49-F238E27FC236}">
                    <a16:creationId xmlns:a16="http://schemas.microsoft.com/office/drawing/2014/main" id="{893CB9C3-89D7-4418-A207-E997283CC2B4}"/>
                  </a:ext>
                </a:extLst>
              </p:cNvPr>
              <p:cNvSpPr>
                <a:spLocks/>
              </p:cNvSpPr>
              <p:nvPr userDrawn="1"/>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3" name="Rectangle 152">
                <a:extLst>
                  <a:ext uri="{FF2B5EF4-FFF2-40B4-BE49-F238E27FC236}">
                    <a16:creationId xmlns:a16="http://schemas.microsoft.com/office/drawing/2014/main" id="{3C55455F-91F7-4E24-B3C6-029AAEE5D94D}"/>
                  </a:ext>
                </a:extLst>
              </p:cNvPr>
              <p:cNvSpPr>
                <a:spLocks noChangeArrowheads="1"/>
              </p:cNvSpPr>
              <p:nvPr userDrawn="1"/>
            </p:nvSpPr>
            <p:spPr bwMode="gray">
              <a:xfrm>
                <a:off x="10939649" y="4991577"/>
                <a:ext cx="966476" cy="573425"/>
              </a:xfrm>
              <a:prstGeom prst="rect">
                <a:avLst/>
              </a:prstGeom>
              <a:solidFill>
                <a:srgbClr val="D0482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54" name="Freeform 80">
                <a:extLst>
                  <a:ext uri="{FF2B5EF4-FFF2-40B4-BE49-F238E27FC236}">
                    <a16:creationId xmlns:a16="http://schemas.microsoft.com/office/drawing/2014/main" id="{732AC7AA-4EB4-4F49-9711-DDCC31051BEE}"/>
                  </a:ext>
                </a:extLst>
              </p:cNvPr>
              <p:cNvSpPr>
                <a:spLocks/>
              </p:cNvSpPr>
              <p:nvPr userDrawn="1"/>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5" name="Rectangle 154">
                <a:extLst>
                  <a:ext uri="{FF2B5EF4-FFF2-40B4-BE49-F238E27FC236}">
                    <a16:creationId xmlns:a16="http://schemas.microsoft.com/office/drawing/2014/main" id="{9890C29C-7F11-4A63-8F78-4BA22098F615}"/>
                  </a:ext>
                </a:extLst>
              </p:cNvPr>
              <p:cNvSpPr>
                <a:spLocks noChangeArrowheads="1"/>
              </p:cNvSpPr>
              <p:nvPr userDrawn="1"/>
            </p:nvSpPr>
            <p:spPr bwMode="gray">
              <a:xfrm>
                <a:off x="9897795" y="6079198"/>
                <a:ext cx="414588" cy="250369"/>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6" name="Freeform 83">
                <a:extLst>
                  <a:ext uri="{FF2B5EF4-FFF2-40B4-BE49-F238E27FC236}">
                    <a16:creationId xmlns:a16="http://schemas.microsoft.com/office/drawing/2014/main" id="{43577BF1-C08E-4F40-8BD2-3C06BAB57E85}"/>
                  </a:ext>
                </a:extLst>
              </p:cNvPr>
              <p:cNvSpPr>
                <a:spLocks/>
              </p:cNvSpPr>
              <p:nvPr userDrawn="1"/>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7" name="Freeform 84">
                <a:extLst>
                  <a:ext uri="{FF2B5EF4-FFF2-40B4-BE49-F238E27FC236}">
                    <a16:creationId xmlns:a16="http://schemas.microsoft.com/office/drawing/2014/main" id="{4AD73CBF-2CCF-4AE6-9D14-D97F441DE67F}"/>
                  </a:ext>
                </a:extLst>
              </p:cNvPr>
              <p:cNvSpPr>
                <a:spLocks/>
              </p:cNvSpPr>
              <p:nvPr userDrawn="1"/>
            </p:nvSpPr>
            <p:spPr bwMode="gray">
              <a:xfrm>
                <a:off x="6931065" y="4480072"/>
                <a:ext cx="1012242" cy="756489"/>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58" name="Freeform 85">
                <a:extLst>
                  <a:ext uri="{FF2B5EF4-FFF2-40B4-BE49-F238E27FC236}">
                    <a16:creationId xmlns:a16="http://schemas.microsoft.com/office/drawing/2014/main" id="{215816CE-1A21-435E-A546-CC1F2CB024D0}"/>
                  </a:ext>
                </a:extLst>
              </p:cNvPr>
              <p:cNvSpPr>
                <a:spLocks/>
              </p:cNvSpPr>
              <p:nvPr userDrawn="1"/>
            </p:nvSpPr>
            <p:spPr bwMode="gray">
              <a:xfrm>
                <a:off x="7016288" y="4545006"/>
                <a:ext cx="854330" cy="670017"/>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D048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59" name="Freeform 86">
                <a:extLst>
                  <a:ext uri="{FF2B5EF4-FFF2-40B4-BE49-F238E27FC236}">
                    <a16:creationId xmlns:a16="http://schemas.microsoft.com/office/drawing/2014/main" id="{86EDEA47-6848-44D0-84A6-311F2F911132}"/>
                  </a:ext>
                </a:extLst>
              </p:cNvPr>
              <p:cNvSpPr>
                <a:spLocks/>
              </p:cNvSpPr>
              <p:nvPr userDrawn="1"/>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grpSp>
        <p:pic>
          <p:nvPicPr>
            <p:cNvPr id="83" name="Picture 82">
              <a:extLst>
                <a:ext uri="{FF2B5EF4-FFF2-40B4-BE49-F238E27FC236}">
                  <a16:creationId xmlns:a16="http://schemas.microsoft.com/office/drawing/2014/main" id="{1D7D1709-8019-48B3-B6FF-2C939B5ECBA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086220" y="4568432"/>
              <a:ext cx="736358" cy="613092"/>
            </a:xfrm>
            <a:prstGeom prst="rect">
              <a:avLst/>
            </a:prstGeom>
          </p:spPr>
        </p:pic>
        <p:pic>
          <p:nvPicPr>
            <p:cNvPr id="84" name="Picture 83">
              <a:extLst>
                <a:ext uri="{FF2B5EF4-FFF2-40B4-BE49-F238E27FC236}">
                  <a16:creationId xmlns:a16="http://schemas.microsoft.com/office/drawing/2014/main" id="{B71E3DA3-7334-4AF0-A322-0DC724A1FFB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136377" y="5038107"/>
              <a:ext cx="604035" cy="502920"/>
            </a:xfrm>
            <a:prstGeom prst="rect">
              <a:avLst/>
            </a:prstGeom>
          </p:spPr>
        </p:pic>
        <p:pic>
          <p:nvPicPr>
            <p:cNvPr id="85" name="Picture 84">
              <a:extLst>
                <a:ext uri="{FF2B5EF4-FFF2-40B4-BE49-F238E27FC236}">
                  <a16:creationId xmlns:a16="http://schemas.microsoft.com/office/drawing/2014/main" id="{E2053168-8CE5-415B-8EBA-776EA0D51AFB}"/>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980500" y="6106350"/>
              <a:ext cx="252597" cy="210312"/>
            </a:xfrm>
            <a:prstGeom prst="rect">
              <a:avLst/>
            </a:prstGeom>
          </p:spPr>
        </p:pic>
      </p:grpSp>
    </p:spTree>
    <p:extLst>
      <p:ext uri="{BB962C8B-B14F-4D97-AF65-F5344CB8AC3E}">
        <p14:creationId xmlns:p14="http://schemas.microsoft.com/office/powerpoint/2010/main" val="107319849"/>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82817474"/>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3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55057332"/>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lumMod val="20000"/>
            <a:lumOff val="80000"/>
          </a:schemeClr>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solidFill>
                  <a:schemeClr val="bg1"/>
                </a:solidFill>
                <a:cs typeface="Segoe UI" pitchFamily="34" charset="0"/>
              </a:rPr>
              <a:t>© Copyright Microsoft Corporation. All rights reserved. </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48212" y="471692"/>
            <a:ext cx="1454257" cy="304828"/>
          </a:xfrm>
          <a:prstGeom prst="rect">
            <a:avLst/>
          </a:prstGeom>
        </p:spPr>
      </p:pic>
    </p:spTree>
    <p:extLst>
      <p:ext uri="{BB962C8B-B14F-4D97-AF65-F5344CB8AC3E}">
        <p14:creationId xmlns:p14="http://schemas.microsoft.com/office/powerpoint/2010/main" val="12687714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lumMod val="20000"/>
            <a:lumOff val="80000"/>
          </a:schemeClr>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solidFill>
                  <a:schemeClr val="bg1"/>
                </a:soli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solidFill>
                  <a:schemeClr val="bg1"/>
                </a:soli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solidFill>
                  <a:schemeClr val="bg1"/>
                </a:soli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solidFill>
                  <a:schemeClr val="bg1"/>
                </a:soli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solidFill>
                  <a:schemeClr val="bg1"/>
                </a:soli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solidFill>
                  <a:schemeClr val="bg1"/>
                </a:soli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solidFill>
                  <a:schemeClr val="bg1"/>
                </a:soli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5523822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2"/>
            <a:ext cx="598239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7"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1852362152"/>
      </p:ext>
    </p:extLst>
  </p:cSld>
  <p:clrMapOvr>
    <a:masterClrMapping/>
  </p:clrMapOvr>
  <p:transition>
    <p:fade/>
  </p:transition>
  <p:extLst>
    <p:ext uri="{DCECCB84-F9BA-43D5-87BE-67443E8EF086}">
      <p15:sldGuideLst xmlns:p15="http://schemas.microsoft.com/office/powerpoint/2012/main"/>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4"/>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101493191"/>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a:t>Presentation 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451639" y="6061766"/>
            <a:ext cx="1517768" cy="326167"/>
          </a:xfrm>
          <a:prstGeom prst="rect">
            <a:avLst/>
          </a:prstGeom>
        </p:spPr>
      </p:pic>
    </p:spTree>
    <p:extLst>
      <p:ext uri="{BB962C8B-B14F-4D97-AF65-F5344CB8AC3E}">
        <p14:creationId xmlns:p14="http://schemas.microsoft.com/office/powerpoint/2010/main" val="1291212401"/>
      </p:ext>
    </p:extLst>
  </p:cSld>
  <p:clrMapOvr>
    <a:masterClrMapping/>
  </p:clrMapOvr>
  <mc:AlternateContent xmlns:mc="http://schemas.openxmlformats.org/markup-compatibility/2006" xmlns:p14="http://schemas.microsoft.com/office/powerpoint/2010/main">
    <mc:Choice Requires="p14">
      <p:transition spd="slow" p14:dur="3400" advClick="0">
        <p14:reveal/>
      </p:transition>
    </mc:Choice>
    <mc:Fallback xmlns="">
      <p:transition spd="slow" advClick="0">
        <p:fade/>
      </p:transition>
    </mc:Fallback>
  </mc:AlternateContent>
  <p:extLst>
    <p:ext uri="{DCECCB84-F9BA-43D5-87BE-67443E8EF086}">
      <p15:sldGuideLst xmlns:p15="http://schemas.microsoft.com/office/powerpoint/2012/main">
        <p15:guide id="1" orient="horz" pos="4406">
          <p15:clr>
            <a:srgbClr val="C35EA4"/>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a:t>Presentation 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449322" y="6061766"/>
            <a:ext cx="1522404" cy="326167"/>
          </a:xfrm>
          <a:prstGeom prst="rect">
            <a:avLst/>
          </a:prstGeom>
        </p:spPr>
      </p:pic>
    </p:spTree>
    <p:extLst>
      <p:ext uri="{BB962C8B-B14F-4D97-AF65-F5344CB8AC3E}">
        <p14:creationId xmlns:p14="http://schemas.microsoft.com/office/powerpoint/2010/main" val="42205201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advClick="0">
        <p14:reveal/>
      </p:transition>
    </mc:Choice>
    <mc:Fallback xmlns="">
      <p:transition spd="slow" advClick="0">
        <p:fade/>
      </p:transition>
    </mc:Fallback>
  </mc:AlternateContent>
  <p:extLst>
    <p:ext uri="{DCECCB84-F9BA-43D5-87BE-67443E8EF086}">
      <p15:sldGuideLst xmlns:p15="http://schemas.microsoft.com/office/powerpoint/2012/main">
        <p15:guide id="1" orient="horz" pos="4406">
          <p15:clr>
            <a:srgbClr val="C35EA4"/>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solidFill>
                  <a:srgbClr val="92D050"/>
                </a:solidFill>
                <a:latin typeface="+mj-lt"/>
              </a:defRPr>
            </a:lvl1pPr>
          </a:lstStyle>
          <a:p>
            <a:pPr lvl="0"/>
            <a:r>
              <a:rPr lang="en-US"/>
              <a:t>Speaker Name</a:t>
            </a:r>
          </a:p>
        </p:txBody>
      </p:sp>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b" anchorCtr="0"/>
          <a:lstStyle>
            <a:lvl1pPr>
              <a:defRPr sz="7058" spc="-98" baseline="0">
                <a:gradFill>
                  <a:gsLst>
                    <a:gs pos="100000">
                      <a:schemeClr val="tx1"/>
                    </a:gs>
                    <a:gs pos="0">
                      <a:schemeClr val="tx1"/>
                    </a:gs>
                  </a:gsLst>
                  <a:lin ang="5400000" scaled="0"/>
                </a:gradFill>
              </a:defRPr>
            </a:lvl1pPr>
          </a:lstStyle>
          <a:p>
            <a:r>
              <a:rPr lang="en-US"/>
              <a:t>Demo title</a:t>
            </a:r>
          </a:p>
        </p:txBody>
      </p:sp>
    </p:spTree>
    <p:extLst>
      <p:ext uri="{BB962C8B-B14F-4D97-AF65-F5344CB8AC3E}">
        <p14:creationId xmlns:p14="http://schemas.microsoft.com/office/powerpoint/2010/main" val="34956939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advClick="0">
        <p14:reveal/>
      </p:transition>
    </mc:Choice>
    <mc:Fallback xmlns="">
      <p:transition spd="slow" advClick="0">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94161">
                      <a:schemeClr val="bg1"/>
                    </a:gs>
                    <a:gs pos="0">
                      <a:schemeClr val="bg1"/>
                    </a:gs>
                  </a:gsLst>
                  <a:lin ang="5400000" scaled="0"/>
                </a:gradFill>
              </a:defRPr>
            </a:lvl1pPr>
          </a:lstStyle>
          <a:p>
            <a:r>
              <a:rPr lang="en-US"/>
              <a:t>Video title</a:t>
            </a:r>
          </a:p>
        </p:txBody>
      </p:sp>
    </p:spTree>
    <p:extLst>
      <p:ext uri="{BB962C8B-B14F-4D97-AF65-F5344CB8AC3E}">
        <p14:creationId xmlns:p14="http://schemas.microsoft.com/office/powerpoint/2010/main" val="11093740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advClick="0">
        <p14:reveal/>
      </p:transition>
    </mc:Choice>
    <mc:Fallback xmlns="">
      <p:transition spd="slow" advClick="0">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57413978"/>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384792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5620">
                      <a:schemeClr val="bg1"/>
                    </a:gs>
                    <a:gs pos="0">
                      <a:schemeClr val="bg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31875674"/>
      </p:ext>
    </p:extLst>
  </p:cSld>
  <p:clrMapOvr>
    <a:overrideClrMapping bg1="lt1" tx1="dk1" bg2="lt2" tx2="dk2" accent1="accent1" accent2="accent2" accent3="accent3" accent4="accent4" accent5="accent5" accent6="accent6" hlink="hlink" folHlink="folHlink"/>
  </p:clrMapOvr>
  <p:transition advClick="0">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865565437"/>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Fact Layout_Accent Color 2">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p>
        </p:txBody>
      </p:sp>
    </p:spTree>
    <p:extLst>
      <p:ext uri="{BB962C8B-B14F-4D97-AF65-F5344CB8AC3E}">
        <p14:creationId xmlns:p14="http://schemas.microsoft.com/office/powerpoint/2010/main" val="316870734"/>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1979106073"/>
      </p:ext>
    </p:extLst>
  </p:cSld>
  <p:clrMapOvr>
    <a:masterClrMapping/>
  </p:clrMapOvr>
  <p:transition advClick="0">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Quote Layout_Accent Color 1">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a:t>Author’s Name</a:t>
            </a:r>
          </a:p>
          <a:p>
            <a:pPr lvl="0"/>
            <a:r>
              <a:rPr lang="en-US"/>
              <a:t>Title</a:t>
            </a:r>
          </a:p>
        </p:txBody>
      </p:sp>
    </p:spTree>
    <p:extLst>
      <p:ext uri="{BB962C8B-B14F-4D97-AF65-F5344CB8AC3E}">
        <p14:creationId xmlns:p14="http://schemas.microsoft.com/office/powerpoint/2010/main" val="2018007125"/>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167164482"/>
      </p:ext>
    </p:extLst>
  </p:cSld>
  <p:clrMapOvr>
    <a:masterClrMapping/>
  </p:clrMapOvr>
  <p:transition advClick="0">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9315417"/>
      </p:ext>
    </p:extLst>
  </p:cSld>
  <p:clrMapOvr>
    <a:masterClrMapping/>
  </p:clrMapOvr>
  <p:transition advClick="0">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509874389"/>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7640921"/>
      </p:ext>
    </p:extLst>
  </p:cSld>
  <p:clrMapOvr>
    <a:overrideClrMapping bg1="lt1" tx1="dk1" bg2="lt2" tx2="dk2" accent1="accent1" accent2="accent2" accent3="accent3" accent4="accent4" accent5="accent5" accent6="accent6" hlink="hlink" folHlink="folHlink"/>
  </p:clrMapOvr>
  <p:transition advClick="0">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920656395"/>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9882525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089751"/>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23965849"/>
      </p:ext>
    </p:extLst>
  </p:cSld>
  <p:clrMapOvr>
    <a:masterClrMapping/>
  </p:clrMapOvr>
  <p:transition advClick="0">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73238607"/>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Black Layout - Title and Conten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a:t>Click to edit Master title style</a:t>
            </a:r>
          </a:p>
        </p:txBody>
      </p:sp>
      <p:sp>
        <p:nvSpPr>
          <p:cNvPr id="6" name="Text Placeholder 5"/>
          <p:cNvSpPr>
            <a:spLocks noGrp="1"/>
          </p:cNvSpPr>
          <p:nvPr>
            <p:ph type="body" sz="quarter" idx="10"/>
          </p:nvPr>
        </p:nvSpPr>
        <p:spPr bwMode="white">
          <a:xfrm>
            <a:off x="519248" y="1447800"/>
            <a:ext cx="11151917" cy="218797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81659496"/>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type="tx">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p:cNvSpPr>
            <a:spLocks noGrp="1"/>
          </p:cNvSpPr>
          <p:nvPr>
            <p:ph type="ftr" sz="quarter" idx="10"/>
          </p:nvPr>
        </p:nvSpPr>
        <p:spPr>
          <a:xfrm>
            <a:off x="448217" y="6437242"/>
            <a:ext cx="3859605" cy="134485"/>
          </a:xfrm>
          <a:prstGeom prst="rect">
            <a:avLst/>
          </a:prstGeom>
        </p:spPr>
        <p:txBody>
          <a:bodyPr/>
          <a:lstStyle/>
          <a:p>
            <a:r>
              <a:rPr>
                <a:solidFill>
                  <a:srgbClr val="505050"/>
                </a:solidFill>
              </a:rPr>
              <a:t>Microsoft Confidential</a:t>
            </a:r>
          </a:p>
        </p:txBody>
      </p:sp>
      <p:sp>
        <p:nvSpPr>
          <p:cNvPr id="5" name="Slide Number Placeholder 4"/>
          <p:cNvSpPr>
            <a:spLocks noGrp="1"/>
          </p:cNvSpPr>
          <p:nvPr>
            <p:ph type="sldNum" sz="quarter" idx="11"/>
          </p:nvPr>
        </p:nvSpPr>
        <p:spPr>
          <a:xfrm>
            <a:off x="11367168" y="6437242"/>
            <a:ext cx="555595" cy="134485"/>
          </a:xfrm>
          <a:prstGeom prst="rect">
            <a:avLst/>
          </a:prstGeom>
        </p:spPr>
        <p:txBody>
          <a:bodyPr/>
          <a:lstStyle/>
          <a:p>
            <a:pPr defTabSz="914523"/>
            <a:fld id="{27258FFF-F925-446B-8502-81C933981705}" type="slidenum">
              <a:rPr lang="en-US" smtClean="0">
                <a:solidFill>
                  <a:srgbClr val="505050"/>
                </a:solidFill>
              </a:rPr>
              <a:pPr defTabSz="914523"/>
              <a:t>‹#›</a:t>
            </a:fld>
            <a:endParaRPr lang="en-US">
              <a:solidFill>
                <a:srgbClr val="505050"/>
              </a:solidFill>
            </a:endParaRPr>
          </a:p>
        </p:txBody>
      </p:sp>
    </p:spTree>
    <p:extLst>
      <p:ext uri="{BB962C8B-B14F-4D97-AF65-F5344CB8AC3E}">
        <p14:creationId xmlns:p14="http://schemas.microsoft.com/office/powerpoint/2010/main" val="32481630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userDrawn="1">
  <p:cSld name="Agenda opt 2">
    <p:spTree>
      <p:nvGrpSpPr>
        <p:cNvPr id="1" name=""/>
        <p:cNvGrpSpPr/>
        <p:nvPr/>
      </p:nvGrpSpPr>
      <p:grpSpPr>
        <a:xfrm>
          <a:off x="0" y="0"/>
          <a:ext cx="0" cy="0"/>
          <a:chOff x="0" y="0"/>
          <a:chExt cx="0" cy="0"/>
        </a:xfrm>
      </p:grpSpPr>
      <p:sp>
        <p:nvSpPr>
          <p:cNvPr id="7" name="Title 1"/>
          <p:cNvSpPr>
            <a:spLocks noGrp="1"/>
          </p:cNvSpPr>
          <p:nvPr>
            <p:ph type="ctrTitle"/>
          </p:nvPr>
        </p:nvSpPr>
        <p:spPr>
          <a:xfrm>
            <a:off x="794265" y="1596841"/>
            <a:ext cx="9248036" cy="664798"/>
          </a:xfrm>
          <a:prstGeom prst="rect">
            <a:avLst/>
          </a:prstGeom>
        </p:spPr>
        <p:txBody>
          <a:bodyPr lIns="0" tIns="71428" rIns="142857" bIns="71428" anchor="ctr" anchorCtr="0">
            <a:noAutofit/>
          </a:bodyPr>
          <a:lstStyle>
            <a:lvl1pPr algn="l">
              <a:lnSpc>
                <a:spcPct val="90000"/>
              </a:lnSpc>
              <a:defRPr sz="2699">
                <a:solidFill>
                  <a:schemeClr val="accent3"/>
                </a:solidFill>
                <a:latin typeface="Segoe UI" pitchFamily="34" charset="0"/>
                <a:ea typeface="Segoe UI" pitchFamily="34" charset="0"/>
                <a:cs typeface="Segoe UI" pitchFamily="34" charset="0"/>
              </a:defRPr>
            </a:lvl1pPr>
          </a:lstStyle>
          <a:p>
            <a:r>
              <a:rPr lang="en-US"/>
              <a:t>Click to edit Master title style</a:t>
            </a:r>
          </a:p>
        </p:txBody>
      </p:sp>
      <p:sp>
        <p:nvSpPr>
          <p:cNvPr id="8" name="Text Placeholder 6"/>
          <p:cNvSpPr>
            <a:spLocks noGrp="1"/>
          </p:cNvSpPr>
          <p:nvPr>
            <p:ph type="body" sz="quarter" idx="10" hasCustomPrompt="1"/>
          </p:nvPr>
        </p:nvSpPr>
        <p:spPr>
          <a:xfrm>
            <a:off x="766902" y="642260"/>
            <a:ext cx="9289080" cy="1378644"/>
          </a:xfrm>
          <a:prstGeom prst="rect">
            <a:avLst/>
          </a:prstGeom>
        </p:spPr>
        <p:txBody>
          <a:bodyPr lIns="0" tIns="71428" rIns="142857" bIns="71428" anchor="t" anchorCtr="0">
            <a:noAutofit/>
            <a:scene3d>
              <a:camera prst="orthographicFront"/>
              <a:lightRig rig="flat" dir="t"/>
            </a:scene3d>
            <a:sp3d>
              <a:contourClr>
                <a:schemeClr val="tx2"/>
              </a:contourClr>
            </a:sp3d>
          </a:bodyPr>
          <a:lstStyle>
            <a:lvl1pPr marL="0" indent="0" algn="l">
              <a:buFont typeface="Arial" pitchFamily="34" charset="0"/>
              <a:buNone/>
              <a:defRPr kumimoji="0" lang="en-US" sz="6696" b="0" i="0" u="none" strike="noStrike" kern="1200" cap="none" spc="-74" normalizeH="0" baseline="0" noProof="0" dirty="0" smtClean="0">
                <a:ln w="11430"/>
                <a:solidFill>
                  <a:schemeClr val="accent3"/>
                </a:solidFill>
                <a:effectLst/>
                <a:uLnTx/>
                <a:uFillTx/>
                <a:latin typeface="Segoe Light" pitchFamily="34" charset="0"/>
                <a:ea typeface="+mn-ea"/>
                <a:cs typeface="+mn-cs"/>
              </a:defRPr>
            </a:lvl1pPr>
          </a:lstStyle>
          <a:p>
            <a:pPr lvl="0"/>
            <a:r>
              <a:rPr lang="en-US"/>
              <a:t>Agenda</a:t>
            </a:r>
          </a:p>
        </p:txBody>
      </p:sp>
      <p:sp>
        <p:nvSpPr>
          <p:cNvPr id="9" name="Text Placeholder 11"/>
          <p:cNvSpPr>
            <a:spLocks noGrp="1"/>
          </p:cNvSpPr>
          <p:nvPr>
            <p:ph type="body" sz="quarter" idx="11"/>
          </p:nvPr>
        </p:nvSpPr>
        <p:spPr>
          <a:xfrm>
            <a:off x="794267" y="2401295"/>
            <a:ext cx="5471362" cy="1203772"/>
          </a:xfrm>
          <a:prstGeom prst="rect">
            <a:avLst/>
          </a:prstGeom>
        </p:spPr>
        <p:txBody>
          <a:bodyPr lIns="0" tIns="71428" rIns="142857" bIns="71428"/>
          <a:lstStyle>
            <a:lvl1pPr marL="321269" indent="-321269">
              <a:spcBef>
                <a:spcPts val="0"/>
              </a:spcBef>
              <a:buClr>
                <a:schemeClr val="accent1"/>
              </a:buClr>
              <a:buFont typeface="Wingdings" pitchFamily="2" charset="2"/>
              <a:buChar char="§"/>
              <a:defRPr lang="en-US" sz="1899" kern="1200" dirty="0" smtClean="0">
                <a:solidFill>
                  <a:schemeClr val="accent4"/>
                </a:solidFill>
                <a:latin typeface="Segoe UI" pitchFamily="34" charset="0"/>
                <a:ea typeface="Segoe UI" pitchFamily="34" charset="0"/>
                <a:cs typeface="Segoe UI" pitchFamily="34" charset="0"/>
              </a:defRPr>
            </a:lvl1pPr>
            <a:lvl2pPr marL="0" indent="0">
              <a:buFontTx/>
              <a:buNone/>
              <a:defRPr>
                <a:solidFill>
                  <a:schemeClr val="bg1"/>
                </a:solidFill>
                <a:latin typeface="Segoe Light" pitchFamily="34" charset="0"/>
              </a:defRPr>
            </a:lvl2pPr>
            <a:lvl3pPr marL="0" indent="0">
              <a:buFontTx/>
              <a:buNone/>
              <a:defRPr>
                <a:solidFill>
                  <a:schemeClr val="bg1"/>
                </a:solidFill>
                <a:latin typeface="Segoe Light" pitchFamily="34" charset="0"/>
              </a:defRPr>
            </a:lvl3pPr>
            <a:lvl4pPr marL="0" indent="0">
              <a:buFontTx/>
              <a:buNone/>
              <a:defRPr>
                <a:solidFill>
                  <a:schemeClr val="bg1"/>
                </a:solidFill>
                <a:latin typeface="Segoe Light" pitchFamily="34" charset="0"/>
              </a:defRPr>
            </a:lvl4pPr>
            <a:lvl5pPr marL="0" indent="0">
              <a:buFontTx/>
              <a:buNone/>
              <a:defRPr>
                <a:solidFill>
                  <a:schemeClr val="bg1"/>
                </a:solidFill>
                <a:latin typeface="Segoe Light" pitchFamily="34" charset="0"/>
              </a:defRPr>
            </a:lvl5pPr>
          </a:lstStyle>
          <a:p>
            <a:pPr lvl="0"/>
            <a:r>
              <a:rPr lang="en-US"/>
              <a:t>Click to edit Master text styles</a:t>
            </a:r>
          </a:p>
          <a:p>
            <a:pPr lvl="1"/>
            <a:r>
              <a:rPr lang="en-US"/>
              <a:t>Second level</a:t>
            </a:r>
          </a:p>
          <a:p>
            <a:pPr lvl="2"/>
            <a:r>
              <a:rPr lang="en-US"/>
              <a:t>Third level</a:t>
            </a:r>
          </a:p>
        </p:txBody>
      </p:sp>
      <p:pic>
        <p:nvPicPr>
          <p:cNvPr id="12" name="Pictur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8299" y="6393359"/>
            <a:ext cx="1543575" cy="511014"/>
          </a:xfrm>
          <a:prstGeom prst="rect">
            <a:avLst/>
          </a:prstGeom>
        </p:spPr>
      </p:pic>
    </p:spTree>
    <p:extLst>
      <p:ext uri="{BB962C8B-B14F-4D97-AF65-F5344CB8AC3E}">
        <p14:creationId xmlns:p14="http://schemas.microsoft.com/office/powerpoint/2010/main" val="372431658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p>
        </p:txBody>
      </p:sp>
    </p:spTree>
    <p:extLst>
      <p:ext uri="{BB962C8B-B14F-4D97-AF65-F5344CB8AC3E}">
        <p14:creationId xmlns:p14="http://schemas.microsoft.com/office/powerpoint/2010/main" val="2669119505"/>
      </p:ext>
    </p:extLst>
  </p:cSld>
  <p:clrMapOvr>
    <a:masterClrMapping/>
  </p:clrMapOvr>
  <p:transition advClick="0">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06379416"/>
      </p:ext>
    </p:extLst>
  </p:cSld>
  <p:clrMapOvr>
    <a:masterClrMapping/>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58pt Title/24pt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a:t>Title</a:t>
            </a:r>
          </a:p>
        </p:txBody>
      </p:sp>
      <p:sp>
        <p:nvSpPr>
          <p:cNvPr id="8" name="Subtitle 2"/>
          <p:cNvSpPr>
            <a:spLocks noGrp="1"/>
          </p:cNvSpPr>
          <p:nvPr>
            <p:ph type="subTitle" idx="1" hasCustomPrompt="1"/>
          </p:nvPr>
        </p:nvSpPr>
        <p:spPr>
          <a:xfrm>
            <a:off x="591640" y="3877277"/>
            <a:ext cx="10989732"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1167388159"/>
      </p:ext>
    </p:extLst>
  </p:cSld>
  <p:clrMapOvr>
    <a:masterClrMapping/>
  </p:clrMapOvr>
  <p:transition advClick="0">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58pt Title/16pt Text - Blu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5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a:t>Title</a:t>
            </a:r>
          </a:p>
        </p:txBody>
      </p:sp>
      <p:sp>
        <p:nvSpPr>
          <p:cNvPr id="10" name="Subtitle 2"/>
          <p:cNvSpPr>
            <a:spLocks noGrp="1"/>
          </p:cNvSpPr>
          <p:nvPr>
            <p:ph type="subTitle" idx="1" hasCustomPrompt="1"/>
          </p:nvPr>
        </p:nvSpPr>
        <p:spPr>
          <a:xfrm>
            <a:off x="591640" y="3877277"/>
            <a:ext cx="10989732"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1568925565"/>
      </p:ext>
    </p:extLst>
  </p:cSld>
  <p:clrMapOvr>
    <a:masterClrMapping/>
  </p:clrMapOvr>
  <p:transition advClick="0">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58pt Title/16pt Text - Purp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7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a:t>Title</a:t>
            </a:r>
          </a:p>
        </p:txBody>
      </p:sp>
      <p:sp>
        <p:nvSpPr>
          <p:cNvPr id="10" name="Subtitle 2"/>
          <p:cNvSpPr>
            <a:spLocks noGrp="1"/>
          </p:cNvSpPr>
          <p:nvPr>
            <p:ph type="subTitle" idx="1" hasCustomPrompt="1"/>
          </p:nvPr>
        </p:nvSpPr>
        <p:spPr>
          <a:xfrm>
            <a:off x="591640" y="3877277"/>
            <a:ext cx="10989732"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2633582196"/>
      </p:ext>
    </p:extLst>
  </p:cSld>
  <p:clrMapOvr>
    <a:masterClrMapping/>
  </p:clrMapOvr>
  <p:transition advClick="0">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200F7B6E-608C-4712-A939-BEBE059E295A}"/>
              </a:ext>
            </a:extLst>
          </p:cNvPr>
          <p:cNvGrpSpPr/>
          <p:nvPr userDrawn="1"/>
        </p:nvGrpSpPr>
        <p:grpSpPr bwMode="ltGray">
          <a:xfrm>
            <a:off x="6256117" y="-21839"/>
            <a:ext cx="5932086" cy="6890047"/>
            <a:chOff x="6256117" y="-21839"/>
            <a:chExt cx="5932086" cy="6890047"/>
          </a:xfrm>
        </p:grpSpPr>
        <p:grpSp>
          <p:nvGrpSpPr>
            <p:cNvPr id="56" name="Group 55">
              <a:extLst>
                <a:ext uri="{FF2B5EF4-FFF2-40B4-BE49-F238E27FC236}">
                  <a16:creationId xmlns:a16="http://schemas.microsoft.com/office/drawing/2014/main" id="{6DC5E8A2-8275-4F90-BA55-9B66D81C4A9F}"/>
                </a:ext>
              </a:extLst>
            </p:cNvPr>
            <p:cNvGrpSpPr/>
            <p:nvPr userDrawn="1"/>
          </p:nvGrpSpPr>
          <p:grpSpPr bwMode="ltGray">
            <a:xfrm>
              <a:off x="8507413" y="1457714"/>
              <a:ext cx="3680790" cy="5392441"/>
              <a:chOff x="8507413" y="1457714"/>
              <a:chExt cx="3680790" cy="5392441"/>
            </a:xfrm>
          </p:grpSpPr>
          <p:sp>
            <p:nvSpPr>
              <p:cNvPr id="65" name="Freeform: Shape 64">
                <a:extLst>
                  <a:ext uri="{FF2B5EF4-FFF2-40B4-BE49-F238E27FC236}">
                    <a16:creationId xmlns:a16="http://schemas.microsoft.com/office/drawing/2014/main" id="{6C563208-4732-48A3-81E6-533A2E2DD53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DD0ADC22-C4D5-4BE8-99A8-91566ADDBF5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91C4D457-0F93-4853-AB02-01C200DE6658}"/>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E8D605B0-4DEE-4101-AC83-CD1D15D14DB9}"/>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EF14ED5-2275-4C01-96DD-1D24FE9FD6EE}"/>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F31E8C76-6A67-4E1C-BCC4-8D2ABCC0212A}"/>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9ABDD9FA-82C7-4E69-9895-354AD0BDD19E}"/>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2A7CD18E-2839-44B2-9BA7-6356529D686A}"/>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0B7E64CE-434E-410A-823C-4872E71DD278}"/>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0D92AA81-D52A-4877-AE2C-AB5B4D374D19}"/>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BE84D11A-0DE4-40A8-BB80-889FF30CCE0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A80E0B5D-2F12-4C6E-92C5-3765C579ADE8}"/>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765DAB00-242D-4D78-B6BF-F678C14B519F}"/>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D824698C-3D67-4D42-9DE6-531F5A0C7EA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699246CD-F05A-4044-B7A4-384A7B272509}"/>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0" name="Freeform: Shape 79">
                <a:extLst>
                  <a:ext uri="{FF2B5EF4-FFF2-40B4-BE49-F238E27FC236}">
                    <a16:creationId xmlns:a16="http://schemas.microsoft.com/office/drawing/2014/main" id="{06930CAB-4305-4191-AD01-9D22AAD264D9}"/>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1" name="Straight Connector 80">
                <a:extLst>
                  <a:ext uri="{FF2B5EF4-FFF2-40B4-BE49-F238E27FC236}">
                    <a16:creationId xmlns:a16="http://schemas.microsoft.com/office/drawing/2014/main" id="{7FBC50E9-9F0E-4D62-9AA6-DC145681D1EA}"/>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7" name="Group 56">
              <a:extLst>
                <a:ext uri="{FF2B5EF4-FFF2-40B4-BE49-F238E27FC236}">
                  <a16:creationId xmlns:a16="http://schemas.microsoft.com/office/drawing/2014/main" id="{09610B7D-2856-472A-B98F-5684402C6C99}"/>
                </a:ext>
              </a:extLst>
            </p:cNvPr>
            <p:cNvGrpSpPr/>
            <p:nvPr userDrawn="1"/>
          </p:nvGrpSpPr>
          <p:grpSpPr bwMode="ltGray">
            <a:xfrm>
              <a:off x="7545167" y="-21839"/>
              <a:ext cx="1192433" cy="1098538"/>
              <a:chOff x="7545167" y="-9139"/>
              <a:chExt cx="1192433" cy="1098538"/>
            </a:xfrm>
          </p:grpSpPr>
          <p:sp>
            <p:nvSpPr>
              <p:cNvPr id="62" name="Freeform: Shape 61">
                <a:extLst>
                  <a:ext uri="{FF2B5EF4-FFF2-40B4-BE49-F238E27FC236}">
                    <a16:creationId xmlns:a16="http://schemas.microsoft.com/office/drawing/2014/main" id="{5173E078-D753-4C8F-98BB-75D0CBE314FE}"/>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EAA82456-62CD-4C42-91A4-3FFD8F19BCBD}"/>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4" name="Freeform: Shape 63">
                <a:extLst>
                  <a:ext uri="{FF2B5EF4-FFF2-40B4-BE49-F238E27FC236}">
                    <a16:creationId xmlns:a16="http://schemas.microsoft.com/office/drawing/2014/main" id="{41ABB687-FC0A-4A48-8466-BF8A1129E230}"/>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58" name="Group 57">
              <a:extLst>
                <a:ext uri="{FF2B5EF4-FFF2-40B4-BE49-F238E27FC236}">
                  <a16:creationId xmlns:a16="http://schemas.microsoft.com/office/drawing/2014/main" id="{8EEA91BF-1A44-4FB0-92F0-23098E7BBFCD}"/>
                </a:ext>
              </a:extLst>
            </p:cNvPr>
            <p:cNvGrpSpPr/>
            <p:nvPr userDrawn="1"/>
          </p:nvGrpSpPr>
          <p:grpSpPr bwMode="ltGray">
            <a:xfrm>
              <a:off x="6256117" y="5896894"/>
              <a:ext cx="1057910" cy="971314"/>
              <a:chOff x="6256117" y="5896894"/>
              <a:chExt cx="1057910" cy="971314"/>
            </a:xfrm>
          </p:grpSpPr>
          <p:sp>
            <p:nvSpPr>
              <p:cNvPr id="59" name="Freeform: Shape 58">
                <a:extLst>
                  <a:ext uri="{FF2B5EF4-FFF2-40B4-BE49-F238E27FC236}">
                    <a16:creationId xmlns:a16="http://schemas.microsoft.com/office/drawing/2014/main" id="{511C6A8E-CEC6-4129-9FB2-A426C6CE84EB}"/>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205B8F1F-9F8A-42BF-8770-AEABCEC35D18}"/>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36EE7F2A-0858-47D2-B1D0-D33BCD933AB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2" cstate="email">
              <a:extLst>
                <a:ext uri="{28A0092B-C50C-407E-A947-70E740481C1C}">
                  <a14:useLocalDpi xmlns:a14="http://schemas.microsoft.com/office/drawing/2010/main"/>
                </a:ext>
              </a:extLst>
            </a:blip>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3259459086"/>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58pt Title/24pt Text - Oran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10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a:t>Title</a:t>
            </a:r>
          </a:p>
        </p:txBody>
      </p:sp>
      <p:sp>
        <p:nvSpPr>
          <p:cNvPr id="10" name="Subtitle 2"/>
          <p:cNvSpPr>
            <a:spLocks noGrp="1"/>
          </p:cNvSpPr>
          <p:nvPr>
            <p:ph type="subTitle" idx="1" hasCustomPrompt="1"/>
          </p:nvPr>
        </p:nvSpPr>
        <p:spPr>
          <a:xfrm>
            <a:off x="591640" y="3877277"/>
            <a:ext cx="10989732"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1546045009"/>
      </p:ext>
    </p:extLst>
  </p:cSld>
  <p:clrMapOvr>
    <a:masterClrMapping/>
  </p:clrMapOvr>
  <p:transition advClick="0">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58pt Title/24pt Text - Gra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2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a:t>Title</a:t>
            </a:r>
          </a:p>
        </p:txBody>
      </p:sp>
      <p:sp>
        <p:nvSpPr>
          <p:cNvPr id="10" name="Subtitle 2"/>
          <p:cNvSpPr>
            <a:spLocks noGrp="1"/>
          </p:cNvSpPr>
          <p:nvPr>
            <p:ph type="subTitle" idx="1" hasCustomPrompt="1"/>
          </p:nvPr>
        </p:nvSpPr>
        <p:spPr>
          <a:xfrm>
            <a:off x="591640" y="3877277"/>
            <a:ext cx="10989732"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3865418054"/>
      </p:ext>
    </p:extLst>
  </p:cSld>
  <p:clrMapOvr>
    <a:masterClrMapping/>
  </p:clrMapOvr>
  <p:transition advClick="0">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1_58pt Title/24pt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14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3" y="2100815"/>
            <a:ext cx="8086519" cy="1686801"/>
          </a:xfrm>
        </p:spPr>
        <p:txBody>
          <a:bodyPr/>
          <a:lstStyle>
            <a:lvl1pPr>
              <a:defRPr sz="5882">
                <a:solidFill>
                  <a:schemeClr val="bg1"/>
                </a:solidFill>
              </a:defRPr>
            </a:lvl1pPr>
          </a:lstStyle>
          <a:p>
            <a:r>
              <a:rPr lang="en-US"/>
              <a:t>Title</a:t>
            </a:r>
          </a:p>
        </p:txBody>
      </p:sp>
      <p:sp>
        <p:nvSpPr>
          <p:cNvPr id="8" name="Subtitle 2"/>
          <p:cNvSpPr>
            <a:spLocks noGrp="1"/>
          </p:cNvSpPr>
          <p:nvPr>
            <p:ph type="subTitle" idx="1" hasCustomPrompt="1"/>
          </p:nvPr>
        </p:nvSpPr>
        <p:spPr>
          <a:xfrm>
            <a:off x="591640" y="3877277"/>
            <a:ext cx="8073349"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grpSp>
        <p:nvGrpSpPr>
          <p:cNvPr id="5" name="Group 4"/>
          <p:cNvGrpSpPr/>
          <p:nvPr userDrawn="1"/>
        </p:nvGrpSpPr>
        <p:grpSpPr>
          <a:xfrm>
            <a:off x="8750521" y="1315052"/>
            <a:ext cx="3441479" cy="5429745"/>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a:lnSpc>
                  <a:spcPct val="90000"/>
                </a:lnSpc>
                <a:spcAft>
                  <a:spcPts val="588"/>
                </a:spcAft>
              </a:pPr>
              <a:endParaRPr lang="en-US" sz="1372" b="1">
                <a:solidFill>
                  <a:schemeClr val="accent5">
                    <a:lumMod val="40000"/>
                    <a:lumOff val="60000"/>
                  </a:scheme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a:lnSpc>
                  <a:spcPct val="90000"/>
                </a:lnSpc>
                <a:spcAft>
                  <a:spcPts val="588"/>
                </a:spcAft>
              </a:pPr>
              <a:endParaRPr lang="en-US" sz="1372" b="1">
                <a:solidFill>
                  <a:schemeClr val="accent1">
                    <a:lumMod val="60000"/>
                    <a:lumOff val="40000"/>
                  </a:scheme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a:lnSpc>
                  <a:spcPct val="90000"/>
                </a:lnSpc>
                <a:spcAft>
                  <a:spcPts val="588"/>
                </a:spcAft>
              </a:pPr>
              <a:endParaRPr lang="en-US" sz="1765" b="1">
                <a:solidFill>
                  <a:schemeClr val="bg1">
                    <a:lumMod val="65000"/>
                  </a:schemeClr>
                </a:solidFill>
              </a:endParaRPr>
            </a:p>
          </p:txBody>
        </p:sp>
      </p:grpSp>
    </p:spTree>
    <p:extLst>
      <p:ext uri="{BB962C8B-B14F-4D97-AF65-F5344CB8AC3E}">
        <p14:creationId xmlns:p14="http://schemas.microsoft.com/office/powerpoint/2010/main" val="1509429121"/>
      </p:ext>
    </p:extLst>
  </p:cSld>
  <p:clrMapOvr>
    <a:masterClrMapping/>
  </p:clrMapOvr>
  <p:transition advClick="0">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1_58pt Title/16pt Text - Blue">
    <p:spTree>
      <p:nvGrpSpPr>
        <p:cNvPr id="1" name=""/>
        <p:cNvGrpSpPr/>
        <p:nvPr/>
      </p:nvGrpSpPr>
      <p:grpSpPr>
        <a:xfrm>
          <a:off x="0" y="0"/>
          <a:ext cx="0" cy="0"/>
          <a:chOff x="0" y="0"/>
          <a:chExt cx="0" cy="0"/>
        </a:xfrm>
      </p:grpSpPr>
      <p:grpSp>
        <p:nvGrpSpPr>
          <p:cNvPr id="5" name="Group 4"/>
          <p:cNvGrpSpPr/>
          <p:nvPr userDrawn="1"/>
        </p:nvGrpSpPr>
        <p:grpSpPr>
          <a:xfrm>
            <a:off x="8750521" y="1315052"/>
            <a:ext cx="3441479" cy="5429745"/>
            <a:chOff x="8925987" y="1341231"/>
            <a:chExt cx="3510488" cy="5537837"/>
          </a:xfrm>
        </p:grpSpPr>
        <p:sp>
          <p:nvSpPr>
            <p:cNvPr id="6" name="Freeform 5"/>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2">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8"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9"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a:lnSpc>
                  <a:spcPct val="90000"/>
                </a:lnSpc>
                <a:spcAft>
                  <a:spcPts val="588"/>
                </a:spcAft>
              </a:pPr>
              <a:endParaRPr lang="en-US" sz="1372" b="1">
                <a:solidFill>
                  <a:schemeClr val="accent5">
                    <a:lumMod val="40000"/>
                    <a:lumOff val="60000"/>
                  </a:scheme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a:lnSpc>
                  <a:spcPct val="90000"/>
                </a:lnSpc>
                <a:spcAft>
                  <a:spcPts val="588"/>
                </a:spcAft>
              </a:pPr>
              <a:endParaRPr lang="en-US" sz="1372" b="1">
                <a:solidFill>
                  <a:schemeClr val="accent1">
                    <a:lumMod val="60000"/>
                    <a:lumOff val="40000"/>
                  </a:scheme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a:lnSpc>
                  <a:spcPct val="90000"/>
                </a:lnSpc>
                <a:spcAft>
                  <a:spcPts val="588"/>
                </a:spcAft>
              </a:pPr>
              <a:endParaRPr lang="en-US" sz="1765" b="1">
                <a:solidFill>
                  <a:schemeClr val="bg1">
                    <a:lumMod val="65000"/>
                  </a:schemeClr>
                </a:solidFill>
              </a:endParaRPr>
            </a:p>
          </p:txBody>
        </p:sp>
      </p:grpSp>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17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8171994" cy="1686801"/>
          </a:xfrm>
        </p:spPr>
        <p:txBody>
          <a:bodyPr/>
          <a:lstStyle>
            <a:lvl1pPr>
              <a:defRPr sz="5882">
                <a:solidFill>
                  <a:schemeClr val="bg1"/>
                </a:solidFill>
              </a:defRPr>
            </a:lvl1pPr>
          </a:lstStyle>
          <a:p>
            <a:r>
              <a:rPr lang="en-US"/>
              <a:t>Title</a:t>
            </a:r>
          </a:p>
        </p:txBody>
      </p:sp>
      <p:sp>
        <p:nvSpPr>
          <p:cNvPr id="10" name="Subtitle 2"/>
          <p:cNvSpPr>
            <a:spLocks noGrp="1"/>
          </p:cNvSpPr>
          <p:nvPr>
            <p:ph type="subTitle" idx="1" hasCustomPrompt="1"/>
          </p:nvPr>
        </p:nvSpPr>
        <p:spPr>
          <a:xfrm>
            <a:off x="591641" y="3877277"/>
            <a:ext cx="8158683"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2458287176"/>
      </p:ext>
    </p:extLst>
  </p:cSld>
  <p:clrMapOvr>
    <a:masterClrMapping/>
  </p:clrMapOvr>
  <p:transition advClick="0">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1_58pt Title/16pt Text - Purp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819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2" y="2100815"/>
            <a:ext cx="8184546" cy="1686801"/>
          </a:xfrm>
        </p:spPr>
        <p:txBody>
          <a:bodyPr/>
          <a:lstStyle>
            <a:lvl1pPr>
              <a:defRPr sz="5882">
                <a:solidFill>
                  <a:schemeClr val="bg1"/>
                </a:solidFill>
              </a:defRPr>
            </a:lvl1pPr>
          </a:lstStyle>
          <a:p>
            <a:r>
              <a:rPr lang="en-US"/>
              <a:t>Title</a:t>
            </a:r>
          </a:p>
        </p:txBody>
      </p:sp>
      <p:sp>
        <p:nvSpPr>
          <p:cNvPr id="10" name="Subtitle 2"/>
          <p:cNvSpPr>
            <a:spLocks noGrp="1"/>
          </p:cNvSpPr>
          <p:nvPr>
            <p:ph type="subTitle" idx="1" hasCustomPrompt="1"/>
          </p:nvPr>
        </p:nvSpPr>
        <p:spPr>
          <a:xfrm>
            <a:off x="591640" y="3877277"/>
            <a:ext cx="8171215"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grpSp>
        <p:nvGrpSpPr>
          <p:cNvPr id="5" name="Group 4"/>
          <p:cNvGrpSpPr/>
          <p:nvPr userDrawn="1"/>
        </p:nvGrpSpPr>
        <p:grpSpPr>
          <a:xfrm>
            <a:off x="8750521" y="1315052"/>
            <a:ext cx="3441479" cy="5429745"/>
            <a:chOff x="8925987" y="1341231"/>
            <a:chExt cx="3510488" cy="5537837"/>
          </a:xfrm>
        </p:grpSpPr>
        <p:sp>
          <p:nvSpPr>
            <p:cNvPr id="6" name="Freeform 5"/>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3">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8"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9"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a:lnSpc>
                  <a:spcPct val="90000"/>
                </a:lnSpc>
                <a:spcAft>
                  <a:spcPts val="588"/>
                </a:spcAft>
              </a:pPr>
              <a:endParaRPr lang="en-US" sz="1372" b="1">
                <a:solidFill>
                  <a:schemeClr val="accent5">
                    <a:lumMod val="40000"/>
                    <a:lumOff val="60000"/>
                  </a:scheme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a:lnSpc>
                  <a:spcPct val="90000"/>
                </a:lnSpc>
                <a:spcAft>
                  <a:spcPts val="588"/>
                </a:spcAft>
              </a:pPr>
              <a:endParaRPr lang="en-US" sz="1372" b="1">
                <a:solidFill>
                  <a:schemeClr val="accent1">
                    <a:lumMod val="60000"/>
                    <a:lumOff val="40000"/>
                  </a:scheme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a:lnSpc>
                  <a:spcPct val="90000"/>
                </a:lnSpc>
                <a:spcAft>
                  <a:spcPts val="588"/>
                </a:spcAft>
              </a:pPr>
              <a:endParaRPr lang="en-US" sz="1765" b="1">
                <a:solidFill>
                  <a:schemeClr val="bg1">
                    <a:lumMod val="65000"/>
                  </a:schemeClr>
                </a:solidFill>
              </a:endParaRPr>
            </a:p>
          </p:txBody>
        </p:sp>
      </p:grpSp>
    </p:spTree>
    <p:extLst>
      <p:ext uri="{BB962C8B-B14F-4D97-AF65-F5344CB8AC3E}">
        <p14:creationId xmlns:p14="http://schemas.microsoft.com/office/powerpoint/2010/main" val="4143986740"/>
      </p:ext>
    </p:extLst>
  </p:cSld>
  <p:clrMapOvr>
    <a:masterClrMapping/>
  </p:clrMapOvr>
  <p:transition advClick="0">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2_58pt Title/24pt Text - Oran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922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8048342" cy="1686801"/>
          </a:xfrm>
        </p:spPr>
        <p:txBody>
          <a:bodyPr/>
          <a:lstStyle>
            <a:lvl1pPr>
              <a:defRPr sz="5882">
                <a:solidFill>
                  <a:schemeClr val="bg1"/>
                </a:solidFill>
              </a:defRPr>
            </a:lvl1pPr>
          </a:lstStyle>
          <a:p>
            <a:r>
              <a:rPr lang="en-US"/>
              <a:t>Title</a:t>
            </a:r>
          </a:p>
        </p:txBody>
      </p:sp>
      <p:sp>
        <p:nvSpPr>
          <p:cNvPr id="10" name="Subtitle 2"/>
          <p:cNvSpPr>
            <a:spLocks noGrp="1"/>
          </p:cNvSpPr>
          <p:nvPr>
            <p:ph type="subTitle" idx="1" hasCustomPrompt="1"/>
          </p:nvPr>
        </p:nvSpPr>
        <p:spPr>
          <a:xfrm>
            <a:off x="591640" y="3877277"/>
            <a:ext cx="8035234"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grpSp>
        <p:nvGrpSpPr>
          <p:cNvPr id="5" name="Group 4"/>
          <p:cNvGrpSpPr/>
          <p:nvPr userDrawn="1"/>
        </p:nvGrpSpPr>
        <p:grpSpPr>
          <a:xfrm>
            <a:off x="8750521" y="1315052"/>
            <a:ext cx="3441479" cy="5429745"/>
            <a:chOff x="8925987" y="1341231"/>
            <a:chExt cx="3510488" cy="5537837"/>
          </a:xfrm>
        </p:grpSpPr>
        <p:sp>
          <p:nvSpPr>
            <p:cNvPr id="6" name="Freeform 5"/>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4">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8"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9"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a:lnSpc>
                  <a:spcPct val="90000"/>
                </a:lnSpc>
                <a:spcAft>
                  <a:spcPts val="588"/>
                </a:spcAft>
              </a:pPr>
              <a:endParaRPr lang="en-US" sz="1372" b="1">
                <a:solidFill>
                  <a:schemeClr val="accent5">
                    <a:lumMod val="40000"/>
                    <a:lumOff val="60000"/>
                  </a:scheme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a:lnSpc>
                  <a:spcPct val="90000"/>
                </a:lnSpc>
                <a:spcAft>
                  <a:spcPts val="588"/>
                </a:spcAft>
              </a:pPr>
              <a:endParaRPr lang="en-US" sz="1372" b="1">
                <a:solidFill>
                  <a:schemeClr val="accent1">
                    <a:lumMod val="60000"/>
                    <a:lumOff val="40000"/>
                  </a:scheme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a:lnSpc>
                  <a:spcPct val="90000"/>
                </a:lnSpc>
                <a:spcAft>
                  <a:spcPts val="588"/>
                </a:spcAft>
              </a:pPr>
              <a:endParaRPr lang="en-US" sz="1765" b="1">
                <a:solidFill>
                  <a:schemeClr val="bg1">
                    <a:lumMod val="65000"/>
                  </a:schemeClr>
                </a:solidFill>
              </a:endParaRPr>
            </a:p>
          </p:txBody>
        </p:sp>
      </p:grpSp>
    </p:spTree>
    <p:extLst>
      <p:ext uri="{BB962C8B-B14F-4D97-AF65-F5344CB8AC3E}">
        <p14:creationId xmlns:p14="http://schemas.microsoft.com/office/powerpoint/2010/main" val="961050128"/>
      </p:ext>
    </p:extLst>
  </p:cSld>
  <p:clrMapOvr>
    <a:masterClrMapping/>
  </p:clrMapOvr>
  <p:transition advClick="0">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3_58pt Title/24pt Text - Oran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4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a:t>Title</a:t>
            </a:r>
          </a:p>
        </p:txBody>
      </p:sp>
      <p:sp>
        <p:nvSpPr>
          <p:cNvPr id="10" name="Subtitle 2"/>
          <p:cNvSpPr>
            <a:spLocks noGrp="1"/>
          </p:cNvSpPr>
          <p:nvPr>
            <p:ph type="subTitle" idx="1" hasCustomPrompt="1"/>
          </p:nvPr>
        </p:nvSpPr>
        <p:spPr>
          <a:xfrm>
            <a:off x="591640" y="3877277"/>
            <a:ext cx="10989732"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grpSp>
        <p:nvGrpSpPr>
          <p:cNvPr id="5" name="Group 4"/>
          <p:cNvGrpSpPr/>
          <p:nvPr userDrawn="1"/>
        </p:nvGrpSpPr>
        <p:grpSpPr>
          <a:xfrm>
            <a:off x="8750521" y="1315052"/>
            <a:ext cx="3441479" cy="5429745"/>
            <a:chOff x="8925987" y="1341231"/>
            <a:chExt cx="3510488" cy="5537837"/>
          </a:xfrm>
        </p:grpSpPr>
        <p:sp>
          <p:nvSpPr>
            <p:cNvPr id="6" name="Freeform 5"/>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5">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8"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9"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5" name="TextBox 14"/>
            <p:cNvSpPr txBox="1"/>
            <p:nvPr/>
          </p:nvSpPr>
          <p:spPr>
            <a:xfrm>
              <a:off x="10272407" y="5327699"/>
              <a:ext cx="593726" cy="593726"/>
            </a:xfrm>
            <a:prstGeom prst="ellipse">
              <a:avLst/>
            </a:prstGeom>
            <a:solidFill>
              <a:schemeClr val="accent5">
                <a:lumMod val="60000"/>
                <a:lumOff val="40000"/>
              </a:schemeClr>
            </a:solidFill>
          </p:spPr>
          <p:txBody>
            <a:bodyPr wrap="none" lIns="182880" tIns="146304" rIns="182880" bIns="146304" rtlCol="0" anchor="ctr">
              <a:noAutofit/>
            </a:bodyPr>
            <a:lstStyle/>
            <a:p>
              <a:pPr algn="ctr">
                <a:lnSpc>
                  <a:spcPct val="90000"/>
                </a:lnSpc>
                <a:spcAft>
                  <a:spcPts val="588"/>
                </a:spcAft>
              </a:pPr>
              <a:endParaRPr lang="en-US" sz="1372" b="1">
                <a:solidFill>
                  <a:schemeClr val="accent5">
                    <a:lumMod val="40000"/>
                    <a:lumOff val="60000"/>
                  </a:scheme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a:lnSpc>
                  <a:spcPct val="90000"/>
                </a:lnSpc>
                <a:spcAft>
                  <a:spcPts val="588"/>
                </a:spcAft>
              </a:pPr>
              <a:endParaRPr lang="en-US" sz="1372" b="1">
                <a:solidFill>
                  <a:schemeClr val="accent1">
                    <a:lumMod val="60000"/>
                    <a:lumOff val="40000"/>
                  </a:scheme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a:lnSpc>
                  <a:spcPct val="90000"/>
                </a:lnSpc>
                <a:spcAft>
                  <a:spcPts val="588"/>
                </a:spcAft>
              </a:pPr>
              <a:endParaRPr lang="en-US" sz="1765" b="1">
                <a:solidFill>
                  <a:schemeClr val="bg1">
                    <a:lumMod val="65000"/>
                  </a:schemeClr>
                </a:solidFill>
              </a:endParaRPr>
            </a:p>
          </p:txBody>
        </p:sp>
      </p:grpSp>
    </p:spTree>
    <p:extLst>
      <p:ext uri="{BB962C8B-B14F-4D97-AF65-F5344CB8AC3E}">
        <p14:creationId xmlns:p14="http://schemas.microsoft.com/office/powerpoint/2010/main" val="2725971923"/>
      </p:ext>
    </p:extLst>
  </p:cSld>
  <p:clrMapOvr>
    <a:masterClrMapping/>
  </p:clrMapOvr>
  <p:transition advClick="0">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1_58pt Title/24pt Text - Gra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126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8086519" cy="1686801"/>
          </a:xfrm>
        </p:spPr>
        <p:txBody>
          <a:bodyPr/>
          <a:lstStyle>
            <a:lvl1pPr>
              <a:defRPr sz="5882">
                <a:solidFill>
                  <a:schemeClr val="bg1"/>
                </a:solidFill>
              </a:defRPr>
            </a:lvl1pPr>
          </a:lstStyle>
          <a:p>
            <a:r>
              <a:rPr lang="en-US"/>
              <a:t>Title</a:t>
            </a:r>
          </a:p>
        </p:txBody>
      </p:sp>
      <p:sp>
        <p:nvSpPr>
          <p:cNvPr id="10" name="Subtitle 2"/>
          <p:cNvSpPr>
            <a:spLocks noGrp="1"/>
          </p:cNvSpPr>
          <p:nvPr>
            <p:ph type="subTitle" idx="1" hasCustomPrompt="1"/>
          </p:nvPr>
        </p:nvSpPr>
        <p:spPr>
          <a:xfrm>
            <a:off x="591640" y="3877277"/>
            <a:ext cx="8073349"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1632049178"/>
      </p:ext>
    </p:extLst>
  </p:cSld>
  <p:clrMapOvr>
    <a:masterClrMapping/>
  </p:clrMapOvr>
  <p:transition advClick="0">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12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2293"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7" name="Picture 9"/>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auto">
          <a:xfrm>
            <a:off x="7220243" y="6102350"/>
            <a:ext cx="2159562" cy="747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p:cNvSpPr txBox="1"/>
          <p:nvPr/>
        </p:nvSpPr>
        <p:spPr>
          <a:xfrm>
            <a:off x="9363927" y="6426200"/>
            <a:ext cx="2511906" cy="215444"/>
          </a:xfrm>
          <a:prstGeom prst="rect">
            <a:avLst/>
          </a:prstGeom>
          <a:noFill/>
        </p:spPr>
        <p:txBody>
          <a:bodyPr wrap="none" lIns="0" tIns="0" rIns="0" bIns="0">
            <a:spAutoFit/>
          </a:bodyPr>
          <a:lstStyle/>
          <a:p>
            <a:pPr fontAlgn="auto">
              <a:spcBef>
                <a:spcPts val="0"/>
              </a:spcBef>
              <a:spcAft>
                <a:spcPts val="0"/>
              </a:spcAft>
              <a:defRPr/>
            </a:pPr>
            <a:r>
              <a:rPr lang="en-US" sz="1400" kern="1000">
                <a:solidFill>
                  <a:schemeClr val="bg1"/>
                </a:solidFill>
                <a:latin typeface="Segoe UI Light"/>
                <a:ea typeface="+mn-ea"/>
                <a:cs typeface="+mn-cs"/>
              </a:rPr>
              <a:t>Your complete office in the cloud.</a:t>
            </a:r>
          </a:p>
        </p:txBody>
      </p:sp>
      <p:sp>
        <p:nvSpPr>
          <p:cNvPr id="2" name="Title 1"/>
          <p:cNvSpPr>
            <a:spLocks noGrp="1"/>
          </p:cNvSpPr>
          <p:nvPr>
            <p:ph type="ctrTitle"/>
          </p:nvPr>
        </p:nvSpPr>
        <p:spPr>
          <a:xfrm>
            <a:off x="601731" y="1930720"/>
            <a:ext cx="4980989" cy="615553"/>
          </a:xfrm>
        </p:spPr>
        <p:txBody>
          <a:bodyPr/>
          <a:lstStyle>
            <a:lvl1pPr>
              <a:defRPr sz="4000">
                <a:solidFill>
                  <a:schemeClr val="accent1"/>
                </a:solidFill>
              </a:defRPr>
            </a:lvl1pPr>
          </a:lstStyle>
          <a:p>
            <a:r>
              <a:rPr lang="en-US"/>
              <a:t>Click to edit Master title style</a:t>
            </a:r>
          </a:p>
        </p:txBody>
      </p:sp>
      <p:sp>
        <p:nvSpPr>
          <p:cNvPr id="3" name="Subtitle 2"/>
          <p:cNvSpPr>
            <a:spLocks noGrp="1"/>
          </p:cNvSpPr>
          <p:nvPr>
            <p:ph type="subTitle" idx="1"/>
          </p:nvPr>
        </p:nvSpPr>
        <p:spPr>
          <a:xfrm>
            <a:off x="601731" y="2673576"/>
            <a:ext cx="5026098" cy="2194936"/>
          </a:xfrm>
        </p:spPr>
        <p:txBody>
          <a:bodyPr>
            <a:noAutofit/>
          </a:bodyPr>
          <a:lstStyle>
            <a:lvl1pPr marL="0" indent="0" algn="l" defTabSz="457112" rtl="0" eaLnBrk="1" latinLnBrk="0" hangingPunct="1">
              <a:spcBef>
                <a:spcPct val="0"/>
              </a:spcBef>
              <a:buNone/>
              <a:defRPr lang="en-US" sz="2000" b="0" i="0" kern="1200" baseline="0" dirty="0">
                <a:solidFill>
                  <a:schemeClr val="tx2"/>
                </a:solidFill>
                <a:latin typeface="Segoe UI Light"/>
                <a:ea typeface="+mj-ea"/>
                <a:cs typeface="Segoe UI Light"/>
              </a:defRPr>
            </a:lvl1pPr>
            <a:lvl2pPr marL="457112" indent="0" algn="ctr">
              <a:buNone/>
              <a:defRPr>
                <a:solidFill>
                  <a:schemeClr val="tx1">
                    <a:tint val="75000"/>
                  </a:schemeClr>
                </a:solidFill>
              </a:defRPr>
            </a:lvl2pPr>
            <a:lvl3pPr marL="914225" indent="0" algn="ctr">
              <a:buNone/>
              <a:defRPr>
                <a:solidFill>
                  <a:schemeClr val="tx1">
                    <a:tint val="75000"/>
                  </a:schemeClr>
                </a:solidFill>
              </a:defRPr>
            </a:lvl3pPr>
            <a:lvl4pPr marL="1371337"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4"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Click to edit Master subtitle style</a:t>
            </a:r>
          </a:p>
        </p:txBody>
      </p:sp>
      <p:sp>
        <p:nvSpPr>
          <p:cNvPr id="5" name="Picture Placeholder 4"/>
          <p:cNvSpPr>
            <a:spLocks noGrp="1"/>
          </p:cNvSpPr>
          <p:nvPr>
            <p:ph type="pic" sz="quarter" idx="10"/>
          </p:nvPr>
        </p:nvSpPr>
        <p:spPr>
          <a:xfrm>
            <a:off x="5978496" y="1"/>
            <a:ext cx="6213505" cy="6850154"/>
          </a:xfrm>
        </p:spPr>
        <p:txBody>
          <a:bodyPr rtlCol="0">
            <a:normAutofit/>
          </a:bodyPr>
          <a:lstStyle/>
          <a:p>
            <a:pPr lvl="0"/>
            <a:r>
              <a:rPr lang="en-US" noProof="0"/>
              <a:t>Click icon to add picture</a:t>
            </a:r>
          </a:p>
        </p:txBody>
      </p:sp>
      <p:sp>
        <p:nvSpPr>
          <p:cNvPr id="10" name="Footer Placeholder 2"/>
          <p:cNvSpPr>
            <a:spLocks noGrp="1"/>
          </p:cNvSpPr>
          <p:nvPr>
            <p:ph type="ftr" sz="quarter" idx="43"/>
          </p:nvPr>
        </p:nvSpPr>
        <p:spPr>
          <a:xfrm>
            <a:off x="269240" y="6437243"/>
            <a:ext cx="3859607" cy="134483"/>
          </a:xfrm>
          <a:prstGeom prst="rect">
            <a:avLst/>
          </a:prstGeom>
        </p:spPr>
        <p:txBody>
          <a:bodyPr/>
          <a:lstStyle>
            <a:lvl1pPr>
              <a:defRPr>
                <a:solidFill>
                  <a:schemeClr val="tx2"/>
                </a:solidFill>
              </a:defRPr>
            </a:lvl1pPr>
          </a:lstStyle>
          <a:p>
            <a:r>
              <a:rPr lang="en-US"/>
              <a:t>Microsoft Confidential</a:t>
            </a:r>
          </a:p>
        </p:txBody>
      </p:sp>
      <p:sp>
        <p:nvSpPr>
          <p:cNvPr id="11" name="Slide Number Placeholder 3"/>
          <p:cNvSpPr>
            <a:spLocks noGrp="1"/>
          </p:cNvSpPr>
          <p:nvPr>
            <p:ph type="sldNum" sz="quarter" idx="44"/>
          </p:nvPr>
        </p:nvSpPr>
        <p:spPr>
          <a:xfrm>
            <a:off x="11367166" y="6437243"/>
            <a:ext cx="555596" cy="134483"/>
          </a:xfrm>
          <a:prstGeom prst="rect">
            <a:avLst/>
          </a:prstGeom>
        </p:spPr>
        <p:txBody>
          <a:bodyPr/>
          <a:lstStyle>
            <a:lvl1pPr>
              <a:defRPr>
                <a:solidFill>
                  <a:srgbClr val="505050"/>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745791443"/>
      </p:ext>
    </p:extLst>
  </p:cSld>
  <p:clrMapOvr>
    <a:masterClrMapping/>
  </p:clrMapOvr>
  <p:transition advClick="0">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13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3317"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ctrTitle"/>
          </p:nvPr>
        </p:nvSpPr>
        <p:spPr>
          <a:xfrm>
            <a:off x="6815236" y="1930720"/>
            <a:ext cx="4980989" cy="615553"/>
          </a:xfrm>
        </p:spPr>
        <p:txBody>
          <a:bodyPr/>
          <a:lstStyle>
            <a:lvl1pPr>
              <a:defRPr sz="4000">
                <a:solidFill>
                  <a:schemeClr val="accent1"/>
                </a:solidFill>
              </a:defRPr>
            </a:lvl1pPr>
          </a:lstStyle>
          <a:p>
            <a:r>
              <a:rPr lang="en-US"/>
              <a:t>Click to edit Master title style</a:t>
            </a:r>
          </a:p>
        </p:txBody>
      </p:sp>
      <p:sp>
        <p:nvSpPr>
          <p:cNvPr id="3" name="Subtitle 2"/>
          <p:cNvSpPr>
            <a:spLocks noGrp="1"/>
          </p:cNvSpPr>
          <p:nvPr>
            <p:ph type="subTitle" idx="1"/>
          </p:nvPr>
        </p:nvSpPr>
        <p:spPr>
          <a:xfrm>
            <a:off x="6815236" y="2673576"/>
            <a:ext cx="5026098" cy="2194936"/>
          </a:xfrm>
        </p:spPr>
        <p:txBody>
          <a:bodyPr>
            <a:noAutofit/>
          </a:bodyPr>
          <a:lstStyle>
            <a:lvl1pPr marL="0" indent="0" algn="l" defTabSz="457112" rtl="0" eaLnBrk="1" latinLnBrk="0" hangingPunct="1">
              <a:spcBef>
                <a:spcPct val="0"/>
              </a:spcBef>
              <a:buNone/>
              <a:defRPr lang="en-US" sz="2000" b="0" i="0" kern="1200" baseline="0" dirty="0">
                <a:solidFill>
                  <a:schemeClr val="tx2"/>
                </a:solidFill>
                <a:latin typeface="Segoe UI Light"/>
                <a:ea typeface="+mj-ea"/>
                <a:cs typeface="Segoe UI Light"/>
              </a:defRPr>
            </a:lvl1pPr>
            <a:lvl2pPr marL="457112" indent="0" algn="ctr">
              <a:buNone/>
              <a:defRPr>
                <a:solidFill>
                  <a:schemeClr val="tx1">
                    <a:tint val="75000"/>
                  </a:schemeClr>
                </a:solidFill>
              </a:defRPr>
            </a:lvl2pPr>
            <a:lvl3pPr marL="914225" indent="0" algn="ctr">
              <a:buNone/>
              <a:defRPr>
                <a:solidFill>
                  <a:schemeClr val="tx1">
                    <a:tint val="75000"/>
                  </a:schemeClr>
                </a:solidFill>
              </a:defRPr>
            </a:lvl3pPr>
            <a:lvl4pPr marL="1371337"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4"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Click to edit Master subtitle style</a:t>
            </a:r>
          </a:p>
        </p:txBody>
      </p:sp>
      <p:sp>
        <p:nvSpPr>
          <p:cNvPr id="5" name="Picture Placeholder 4"/>
          <p:cNvSpPr>
            <a:spLocks noGrp="1"/>
          </p:cNvSpPr>
          <p:nvPr>
            <p:ph type="pic" sz="quarter" idx="10"/>
          </p:nvPr>
        </p:nvSpPr>
        <p:spPr>
          <a:xfrm>
            <a:off x="-9526" y="1"/>
            <a:ext cx="6213505" cy="6850154"/>
          </a:xfrm>
        </p:spPr>
        <p:txBody>
          <a:bodyPr rtlCol="0">
            <a:normAutofit/>
          </a:bodyPr>
          <a:lstStyle/>
          <a:p>
            <a:pPr lvl="0"/>
            <a:r>
              <a:rPr lang="en-US" noProof="0"/>
              <a:t>Click icon to add picture</a:t>
            </a:r>
          </a:p>
        </p:txBody>
      </p:sp>
      <p:sp>
        <p:nvSpPr>
          <p:cNvPr id="8" name="Footer Placeholder 2"/>
          <p:cNvSpPr>
            <a:spLocks noGrp="1"/>
          </p:cNvSpPr>
          <p:nvPr>
            <p:ph type="ftr" sz="quarter" idx="43"/>
          </p:nvPr>
        </p:nvSpPr>
        <p:spPr>
          <a:xfrm>
            <a:off x="269240" y="6437243"/>
            <a:ext cx="3859607" cy="134483"/>
          </a:xfrm>
          <a:prstGeom prst="rect">
            <a:avLst/>
          </a:prstGeom>
        </p:spPr>
        <p:txBody>
          <a:bodyPr/>
          <a:lstStyle>
            <a:lvl1pPr>
              <a:defRPr>
                <a:solidFill>
                  <a:srgbClr val="505050"/>
                </a:solidFill>
              </a:defRPr>
            </a:lvl1pPr>
          </a:lstStyle>
          <a:p>
            <a:r>
              <a:rPr lang="en-US"/>
              <a:t>Microsoft Confidential</a:t>
            </a:r>
          </a:p>
        </p:txBody>
      </p:sp>
      <p:sp>
        <p:nvSpPr>
          <p:cNvPr id="9" name="Slide Number Placeholder 3"/>
          <p:cNvSpPr>
            <a:spLocks noGrp="1"/>
          </p:cNvSpPr>
          <p:nvPr>
            <p:ph type="sldNum" sz="quarter" idx="44"/>
          </p:nvPr>
        </p:nvSpPr>
        <p:spPr>
          <a:xfrm>
            <a:off x="11367166" y="6437243"/>
            <a:ext cx="555596" cy="134483"/>
          </a:xfrm>
          <a:prstGeom prst="rect">
            <a:avLst/>
          </a:prstGeom>
        </p:spPr>
        <p:txBody>
          <a:bodyPr/>
          <a:lstStyle>
            <a:lvl1pPr>
              <a:defRPr>
                <a:solidFill>
                  <a:schemeClr val="tx2"/>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1614312944"/>
      </p:ext>
    </p:extLst>
  </p:cSld>
  <p:clrMapOvr>
    <a:masterClrMapping/>
  </p:clrMapOvr>
  <p:transition advClick="0">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C39AAC9F-C8B8-422E-93FC-08A064104000}"/>
              </a:ext>
            </a:extLst>
          </p:cNvPr>
          <p:cNvGrpSpPr/>
          <p:nvPr userDrawn="1"/>
        </p:nvGrpSpPr>
        <p:grpSpPr bwMode="ltGray">
          <a:xfrm>
            <a:off x="6256117" y="-21839"/>
            <a:ext cx="5932086" cy="6890047"/>
            <a:chOff x="6256117" y="-21839"/>
            <a:chExt cx="5932086" cy="6890047"/>
          </a:xfrm>
        </p:grpSpPr>
        <p:grpSp>
          <p:nvGrpSpPr>
            <p:cNvPr id="31" name="Group 30">
              <a:extLst>
                <a:ext uri="{FF2B5EF4-FFF2-40B4-BE49-F238E27FC236}">
                  <a16:creationId xmlns:a16="http://schemas.microsoft.com/office/drawing/2014/main" id="{A09379AA-B540-4886-8794-46BA10F3D91B}"/>
                </a:ext>
              </a:extLst>
            </p:cNvPr>
            <p:cNvGrpSpPr/>
            <p:nvPr userDrawn="1"/>
          </p:nvGrpSpPr>
          <p:grpSpPr bwMode="ltGray">
            <a:xfrm>
              <a:off x="8507413" y="1457714"/>
              <a:ext cx="3680790" cy="5392441"/>
              <a:chOff x="8507413" y="1457714"/>
              <a:chExt cx="3680790" cy="5392441"/>
            </a:xfrm>
          </p:grpSpPr>
          <p:sp>
            <p:nvSpPr>
              <p:cNvPr id="64" name="Freeform: Shape 63">
                <a:extLst>
                  <a:ext uri="{FF2B5EF4-FFF2-40B4-BE49-F238E27FC236}">
                    <a16:creationId xmlns:a16="http://schemas.microsoft.com/office/drawing/2014/main" id="{9E5BC201-014B-48F5-BAC0-4FBBACCBF586}"/>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F72CD027-1ABE-4E4A-BE9E-EF73250F92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52C85D91-63CC-4FF7-A826-BE886CDB017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E55C67E6-D930-403F-9550-70EC2A102AB5}"/>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BDB9C074-A5A6-4082-9FCD-D487FD8013E5}"/>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4E3D79EB-E5E0-4CA3-A7CE-50069CC73F1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42F892FB-2465-40CF-A81F-AC989DC09CE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E8BADF38-50C7-4E4B-AA00-660BF4161C96}"/>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A51B782C-38CF-4C16-8A55-9C1BEA5AF3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61A234A0-3B09-4E85-880A-C885FBEE2401}"/>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B6516D46-39CD-420E-9263-03065B10F8F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6B28F64C-F49A-4F09-A9C2-8502680A64D7}"/>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3AE00412-2C1C-4CAB-B1D4-B046A4B37C24}"/>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01030AB7-3DE7-407A-98DE-751351FCBFB5}"/>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0074BD83-98DD-4084-9D1E-CDACFD005AFF}"/>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47C85498-5D07-457D-BA73-99E2EB50130B}"/>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0" name="Straight Connector 79">
                <a:extLst>
                  <a:ext uri="{FF2B5EF4-FFF2-40B4-BE49-F238E27FC236}">
                    <a16:creationId xmlns:a16="http://schemas.microsoft.com/office/drawing/2014/main" id="{3DF2CE11-90A6-43A8-B2DC-45295F10CB64}"/>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2" name="Group 31">
              <a:extLst>
                <a:ext uri="{FF2B5EF4-FFF2-40B4-BE49-F238E27FC236}">
                  <a16:creationId xmlns:a16="http://schemas.microsoft.com/office/drawing/2014/main" id="{F65F154A-ABA1-4F9A-97F8-C50108DD1A97}"/>
                </a:ext>
              </a:extLst>
            </p:cNvPr>
            <p:cNvGrpSpPr/>
            <p:nvPr userDrawn="1"/>
          </p:nvGrpSpPr>
          <p:grpSpPr bwMode="ltGray">
            <a:xfrm>
              <a:off x="7545167" y="-21839"/>
              <a:ext cx="1192433" cy="1098538"/>
              <a:chOff x="7545167" y="-9139"/>
              <a:chExt cx="1192433" cy="1098538"/>
            </a:xfrm>
          </p:grpSpPr>
          <p:sp>
            <p:nvSpPr>
              <p:cNvPr id="61" name="Freeform: Shape 60">
                <a:extLst>
                  <a:ext uri="{FF2B5EF4-FFF2-40B4-BE49-F238E27FC236}">
                    <a16:creationId xmlns:a16="http://schemas.microsoft.com/office/drawing/2014/main" id="{54AC8DFE-7BB0-4D98-AA21-405DB4B06225}"/>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2" name="Freeform: Shape 61">
                <a:extLst>
                  <a:ext uri="{FF2B5EF4-FFF2-40B4-BE49-F238E27FC236}">
                    <a16:creationId xmlns:a16="http://schemas.microsoft.com/office/drawing/2014/main" id="{F39938CF-5CFF-4707-BBDD-DD19FA0A50F1}"/>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73332E5E-0308-4370-A841-A20570A69BDF}"/>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3" name="Group 32">
              <a:extLst>
                <a:ext uri="{FF2B5EF4-FFF2-40B4-BE49-F238E27FC236}">
                  <a16:creationId xmlns:a16="http://schemas.microsoft.com/office/drawing/2014/main" id="{9E46D602-7D42-411E-8BA6-6F74E13FE605}"/>
                </a:ext>
              </a:extLst>
            </p:cNvPr>
            <p:cNvGrpSpPr/>
            <p:nvPr userDrawn="1"/>
          </p:nvGrpSpPr>
          <p:grpSpPr bwMode="ltGray">
            <a:xfrm>
              <a:off x="6256117" y="5896894"/>
              <a:ext cx="1057910" cy="971314"/>
              <a:chOff x="6256117" y="5896894"/>
              <a:chExt cx="1057910" cy="971314"/>
            </a:xfrm>
          </p:grpSpPr>
          <p:sp>
            <p:nvSpPr>
              <p:cNvPr id="34" name="Freeform: Shape 33">
                <a:extLst>
                  <a:ext uri="{FF2B5EF4-FFF2-40B4-BE49-F238E27FC236}">
                    <a16:creationId xmlns:a16="http://schemas.microsoft.com/office/drawing/2014/main" id="{53F344C1-9929-4E86-BB1A-05E12D1570DF}"/>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5" name="Freeform: Shape 34">
                <a:extLst>
                  <a:ext uri="{FF2B5EF4-FFF2-40B4-BE49-F238E27FC236}">
                    <a16:creationId xmlns:a16="http://schemas.microsoft.com/office/drawing/2014/main" id="{B6933AFD-19AA-49B8-BCF7-2D0EAA89273D}"/>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6" name="Freeform: Shape 35">
                <a:extLst>
                  <a:ext uri="{FF2B5EF4-FFF2-40B4-BE49-F238E27FC236}">
                    <a16:creationId xmlns:a16="http://schemas.microsoft.com/office/drawing/2014/main" id="{9FB75AC2-D122-402F-B448-B0118576BB4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2" cstate="email">
              <a:extLst>
                <a:ext uri="{28A0092B-C50C-407E-A947-70E740481C1C}">
                  <a14:useLocalDpi xmlns:a14="http://schemas.microsoft.com/office/drawing/2010/main"/>
                </a:ext>
              </a:extLst>
            </a:blip>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135116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434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accent1"/>
                </a:solidFill>
              </a:defRPr>
            </a:lvl1pPr>
          </a:lstStyle>
          <a:p>
            <a:r>
              <a:rPr lang="en-US" err="1"/>
              <a:t>Lorem</a:t>
            </a:r>
            <a:r>
              <a:rPr lang="en-US"/>
              <a:t> </a:t>
            </a:r>
            <a:r>
              <a:rPr lang="en-US" err="1"/>
              <a:t>ipsum</a:t>
            </a:r>
            <a:r>
              <a:rPr lang="en-US"/>
              <a:t> dolor sit.</a:t>
            </a:r>
          </a:p>
        </p:txBody>
      </p:sp>
      <p:sp>
        <p:nvSpPr>
          <p:cNvPr id="3" name="Footer Placeholder 2"/>
          <p:cNvSpPr>
            <a:spLocks noGrp="1"/>
          </p:cNvSpPr>
          <p:nvPr>
            <p:ph type="ftr" sz="quarter" idx="10"/>
          </p:nvPr>
        </p:nvSpPr>
        <p:spPr>
          <a:xfrm>
            <a:off x="269240" y="6437243"/>
            <a:ext cx="3859607" cy="134483"/>
          </a:xfrm>
          <a:prstGeom prst="rect">
            <a:avLst/>
          </a:prstGeom>
        </p:spPr>
        <p:txBody>
          <a:bodyPr/>
          <a:lstStyle/>
          <a:p>
            <a:r>
              <a:rPr lang="en-US"/>
              <a:t>Microsoft Confidential</a:t>
            </a: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fld id="{27258FFF-F925-446B-8502-81C933981705}" type="slidenum">
              <a:rPr lang="en-US" smtClean="0"/>
              <a:pPr/>
              <a:t>‹#›</a:t>
            </a:fld>
            <a:endParaRPr lang="en-US"/>
          </a:p>
        </p:txBody>
      </p:sp>
      <p:sp>
        <p:nvSpPr>
          <p:cNvPr id="8" name="Text Placeholder 7"/>
          <p:cNvSpPr>
            <a:spLocks noGrp="1"/>
          </p:cNvSpPr>
          <p:nvPr>
            <p:ph type="body" sz="quarter" idx="13" hasCustomPrompt="1"/>
          </p:nvPr>
        </p:nvSpPr>
        <p:spPr>
          <a:xfrm>
            <a:off x="591640" y="1515299"/>
            <a:ext cx="11005513" cy="2608791"/>
          </a:xfrm>
        </p:spPr>
        <p:txBody>
          <a:bodyPr lIns="0" tIns="0"/>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br>
              <a:rPr lang="en-US"/>
            </a:br>
            <a:r>
              <a:rPr lang="en-US" err="1"/>
              <a:t>elit</a:t>
            </a:r>
            <a:r>
              <a:rPr lang="en-US"/>
              <a:t>. </a:t>
            </a:r>
            <a:r>
              <a:rPr lang="en-US" err="1"/>
              <a:t>Nunc</a:t>
            </a:r>
            <a:r>
              <a:rPr lang="en-US"/>
              <a:t> et </a:t>
            </a:r>
            <a:r>
              <a:rPr lang="en-US" err="1"/>
              <a:t>sagittis</a:t>
            </a:r>
            <a:r>
              <a:rPr lang="en-US"/>
              <a:t>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8390552"/>
      </p:ext>
    </p:extLst>
  </p:cSld>
  <p:clrMapOvr>
    <a:masterClrMapping/>
  </p:clrMapOvr>
  <p:transition advClick="0">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Categorie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536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11" name="Text Placeholder 4"/>
          <p:cNvSpPr>
            <a:spLocks noGrp="1"/>
          </p:cNvSpPr>
          <p:nvPr>
            <p:ph type="body" sz="quarter" idx="10"/>
          </p:nvPr>
        </p:nvSpPr>
        <p:spPr>
          <a:xfrm>
            <a:off x="269239" y="2622111"/>
            <a:ext cx="8067798" cy="512990"/>
          </a:xfrm>
        </p:spPr>
        <p:txBody>
          <a:bodyPr lIns="182880"/>
          <a:lstStyle>
            <a:lvl1pPr marL="0" indent="0">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
        <p:nvSpPr>
          <p:cNvPr id="12" name="Text Placeholder 4"/>
          <p:cNvSpPr>
            <a:spLocks noGrp="1"/>
          </p:cNvSpPr>
          <p:nvPr>
            <p:ph type="body" sz="quarter" idx="11"/>
          </p:nvPr>
        </p:nvSpPr>
        <p:spPr>
          <a:xfrm>
            <a:off x="269240" y="348573"/>
            <a:ext cx="8067798" cy="670440"/>
          </a:xfrm>
        </p:spPr>
        <p:txBody>
          <a:bodyPr lIns="146304" tIns="109728" rIns="146304" bIns="109728" anchor="t" anchorCtr="0"/>
          <a:lstStyle>
            <a:lvl1pPr marL="0" indent="0">
              <a:lnSpc>
                <a:spcPts val="3529"/>
              </a:lnSpc>
              <a:buFontTx/>
              <a:buNone/>
              <a:defRPr sz="3529">
                <a:solidFill>
                  <a:schemeClr val="accent1"/>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
        <p:nvSpPr>
          <p:cNvPr id="4" name="Text Placeholder 11"/>
          <p:cNvSpPr>
            <a:spLocks noGrp="1" noChangeAspect="1"/>
          </p:cNvSpPr>
          <p:nvPr>
            <p:ph type="body" sz="quarter" idx="13"/>
          </p:nvPr>
        </p:nvSpPr>
        <p:spPr>
          <a:xfrm>
            <a:off x="269239" y="3516228"/>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1" name="Text Placeholder 11"/>
          <p:cNvSpPr>
            <a:spLocks noGrp="1" noChangeAspect="1"/>
          </p:cNvSpPr>
          <p:nvPr>
            <p:ph type="body" sz="quarter" idx="20"/>
          </p:nvPr>
        </p:nvSpPr>
        <p:spPr>
          <a:xfrm>
            <a:off x="3197757" y="3516228"/>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2" name="Text Placeholder 11"/>
          <p:cNvSpPr>
            <a:spLocks noGrp="1" noChangeAspect="1"/>
          </p:cNvSpPr>
          <p:nvPr>
            <p:ph type="body" sz="quarter" idx="21"/>
          </p:nvPr>
        </p:nvSpPr>
        <p:spPr>
          <a:xfrm>
            <a:off x="6126275" y="3516228"/>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3" name="Text Placeholder 11"/>
          <p:cNvSpPr>
            <a:spLocks noGrp="1" noChangeAspect="1"/>
          </p:cNvSpPr>
          <p:nvPr>
            <p:ph type="body" sz="quarter" idx="22"/>
          </p:nvPr>
        </p:nvSpPr>
        <p:spPr>
          <a:xfrm>
            <a:off x="9054794" y="3516228"/>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 name="Footer Placeholder 2"/>
          <p:cNvSpPr>
            <a:spLocks noGrp="1"/>
          </p:cNvSpPr>
          <p:nvPr>
            <p:ph type="ftr" sz="quarter" idx="23"/>
          </p:nvPr>
        </p:nvSpPr>
        <p:spPr>
          <a:xfrm>
            <a:off x="269240" y="6437243"/>
            <a:ext cx="3859607" cy="134483"/>
          </a:xfrm>
          <a:prstGeom prst="rect">
            <a:avLst/>
          </a:prstGeom>
        </p:spPr>
        <p:txBody>
          <a:bodyPr/>
          <a:lstStyle>
            <a:lvl1pPr>
              <a:defRPr>
                <a:solidFill>
                  <a:schemeClr val="bg1"/>
                </a:solidFill>
              </a:defRPr>
            </a:lvl1pPr>
          </a:lstStyle>
          <a:p>
            <a:r>
              <a:rPr lang="en-US"/>
              <a:t>Microsoft Confidential</a:t>
            </a:r>
          </a:p>
        </p:txBody>
      </p:sp>
      <p:sp>
        <p:nvSpPr>
          <p:cNvPr id="5" name="Slide Number Placeholder 4"/>
          <p:cNvSpPr>
            <a:spLocks noGrp="1"/>
          </p:cNvSpPr>
          <p:nvPr>
            <p:ph type="sldNum" sz="quarter" idx="24"/>
          </p:nvPr>
        </p:nvSpPr>
        <p:spPr>
          <a:xfrm>
            <a:off x="11367166" y="6437243"/>
            <a:ext cx="555596" cy="134483"/>
          </a:xfrm>
          <a:prstGeom prst="rect">
            <a:avLst/>
          </a:prstGeom>
        </p:spPr>
        <p:txBody>
          <a:bodyPr/>
          <a:lstStyle>
            <a:lvl1pPr>
              <a:defRPr>
                <a:solidFill>
                  <a:schemeClr val="bg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314995725"/>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8 Categorie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638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ext Placeholder 4"/>
          <p:cNvSpPr>
            <a:spLocks noGrp="1"/>
          </p:cNvSpPr>
          <p:nvPr>
            <p:ph type="body" sz="quarter" idx="10"/>
          </p:nvPr>
        </p:nvSpPr>
        <p:spPr>
          <a:xfrm>
            <a:off x="510963" y="271604"/>
            <a:ext cx="6274790" cy="641714"/>
          </a:xfrm>
        </p:spPr>
        <p:txBody>
          <a:bodyPr lIns="182880" tIns="146304" rIns="182880" bIns="146304" anchor="ctr" anchorCtr="0"/>
          <a:lstStyle>
            <a:lvl1pPr marL="0" indent="0">
              <a:lnSpc>
                <a:spcPts val="2745"/>
              </a:lnSpc>
              <a:spcBef>
                <a:spcPts val="0"/>
              </a:spcBef>
              <a:buFontTx/>
              <a:buNone/>
              <a:defRPr sz="2353">
                <a:solidFill>
                  <a:schemeClr val="accent1"/>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
        <p:nvSpPr>
          <p:cNvPr id="27" name="Text Placeholder 26"/>
          <p:cNvSpPr>
            <a:spLocks noGrp="1"/>
          </p:cNvSpPr>
          <p:nvPr>
            <p:ph type="body" sz="quarter" idx="29" hasCustomPrompt="1"/>
          </p:nvPr>
        </p:nvSpPr>
        <p:spPr>
          <a:xfrm>
            <a:off x="538224" y="1070596"/>
            <a:ext cx="268927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28" name="Text Placeholder 26"/>
          <p:cNvSpPr>
            <a:spLocks noGrp="1"/>
          </p:cNvSpPr>
          <p:nvPr>
            <p:ph type="body" sz="quarter" idx="30" hasCustomPrompt="1"/>
          </p:nvPr>
        </p:nvSpPr>
        <p:spPr>
          <a:xfrm>
            <a:off x="3347106"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30" name="Text Placeholder 26"/>
          <p:cNvSpPr>
            <a:spLocks noGrp="1"/>
          </p:cNvSpPr>
          <p:nvPr>
            <p:ph type="body" sz="quarter" idx="32" hasCustomPrompt="1"/>
          </p:nvPr>
        </p:nvSpPr>
        <p:spPr>
          <a:xfrm>
            <a:off x="6155707"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32" name="Text Placeholder 26"/>
          <p:cNvSpPr>
            <a:spLocks noGrp="1"/>
          </p:cNvSpPr>
          <p:nvPr>
            <p:ph type="body" sz="quarter" idx="33" hasCustomPrompt="1"/>
          </p:nvPr>
        </p:nvSpPr>
        <p:spPr>
          <a:xfrm>
            <a:off x="8964310"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37" name="Text Placeholder 26"/>
          <p:cNvSpPr>
            <a:spLocks noGrp="1"/>
          </p:cNvSpPr>
          <p:nvPr>
            <p:ph type="body" sz="quarter" idx="38" hasCustomPrompt="1"/>
          </p:nvPr>
        </p:nvSpPr>
        <p:spPr>
          <a:xfrm>
            <a:off x="538224" y="3877269"/>
            <a:ext cx="2689274" cy="2510690"/>
          </a:xfrm>
        </p:spPr>
        <p:txBody>
          <a:bodyPr lIns="182880" tIns="146304" bIns="146304">
            <a:noAutofit/>
          </a:bodyPr>
          <a:lstStyle>
            <a:lvl1pPr marL="0" indent="0">
              <a:lnSpc>
                <a:spcPct val="90000"/>
              </a:lnSpc>
              <a:spcBef>
                <a:spcPts val="294"/>
              </a:spcBef>
              <a:spcAft>
                <a:spcPts val="588"/>
              </a:spcAft>
              <a:buFontTx/>
              <a:buNone/>
              <a:defRPr sz="1176" b="0">
                <a:solidFill>
                  <a:schemeClr val="tx2"/>
                </a:solidFill>
                <a:latin typeface="+mn-lt"/>
                <a:cs typeface="Segoe UI" panose="020B0502040204020203" pitchFamily="34" charset="0"/>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43" name="Text Placeholder 26"/>
          <p:cNvSpPr>
            <a:spLocks noGrp="1"/>
          </p:cNvSpPr>
          <p:nvPr>
            <p:ph type="body" sz="quarter" idx="39" hasCustomPrompt="1"/>
          </p:nvPr>
        </p:nvSpPr>
        <p:spPr>
          <a:xfrm>
            <a:off x="3347189"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mn-lt"/>
                <a:cs typeface="Segoe UI" panose="020B0502040204020203" pitchFamily="34" charset="0"/>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45" name="Text Placeholder 26"/>
          <p:cNvSpPr>
            <a:spLocks noGrp="1"/>
          </p:cNvSpPr>
          <p:nvPr>
            <p:ph type="body" sz="quarter" idx="41" hasCustomPrompt="1"/>
          </p:nvPr>
        </p:nvSpPr>
        <p:spPr>
          <a:xfrm>
            <a:off x="8964560"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Segoe UI" panose="020B0502040204020203" pitchFamily="34" charset="0"/>
                <a:cs typeface="Segoe UI" panose="020B0502040204020203" pitchFamily="34" charset="0"/>
                <a:sym typeface="Segoe UI" panose="020B0502040204020203" pitchFamily="34" charset="0"/>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31" name="Text Placeholder 26"/>
          <p:cNvSpPr>
            <a:spLocks noGrp="1"/>
          </p:cNvSpPr>
          <p:nvPr>
            <p:ph type="body" sz="quarter" idx="42" hasCustomPrompt="1"/>
          </p:nvPr>
        </p:nvSpPr>
        <p:spPr>
          <a:xfrm>
            <a:off x="6155874"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mn-lt"/>
                <a:cs typeface="Segoe UI" panose="020B0502040204020203" pitchFamily="34" charset="0"/>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3" name="Footer Placeholder 2"/>
          <p:cNvSpPr>
            <a:spLocks noGrp="1"/>
          </p:cNvSpPr>
          <p:nvPr>
            <p:ph type="ftr" sz="quarter" idx="43"/>
          </p:nvPr>
        </p:nvSpPr>
        <p:spPr>
          <a:xfrm>
            <a:off x="269240" y="6576365"/>
            <a:ext cx="3859607" cy="134483"/>
          </a:xfrm>
          <a:prstGeom prst="rect">
            <a:avLst/>
          </a:prstGeom>
        </p:spPr>
        <p:txBody>
          <a:bodyPr/>
          <a:lstStyle>
            <a:lvl1pPr>
              <a:defRPr>
                <a:solidFill>
                  <a:srgbClr val="505050"/>
                </a:solidFill>
              </a:defRPr>
            </a:lvl1pPr>
          </a:lstStyle>
          <a:p>
            <a:r>
              <a:rPr lang="en-US"/>
              <a:t>Microsoft Confidential</a:t>
            </a:r>
          </a:p>
        </p:txBody>
      </p:sp>
      <p:sp>
        <p:nvSpPr>
          <p:cNvPr id="4" name="Slide Number Placeholder 3"/>
          <p:cNvSpPr>
            <a:spLocks noGrp="1"/>
          </p:cNvSpPr>
          <p:nvPr>
            <p:ph type="sldNum" sz="quarter" idx="44"/>
          </p:nvPr>
        </p:nvSpPr>
        <p:spPr>
          <a:xfrm>
            <a:off x="11367166" y="6576365"/>
            <a:ext cx="555596" cy="134483"/>
          </a:xfrm>
          <a:prstGeom prst="rect">
            <a:avLst/>
          </a:prstGeom>
        </p:spPr>
        <p:txBody>
          <a:bodyPr/>
          <a:lstStyle>
            <a:lvl1pPr>
              <a:defRPr>
                <a:solidFill>
                  <a:srgbClr val="505050"/>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2436756"/>
      </p:ext>
    </p:extLst>
  </p:cSld>
  <p:clrMapOvr>
    <a:masterClrMapping/>
  </p:clrMapOvr>
  <p:transition advClick="0">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88pt Text- Gray Backgroun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741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3" y="2100815"/>
            <a:ext cx="11007660" cy="1686801"/>
          </a:xfrm>
        </p:spPr>
        <p:txBody>
          <a:bodyPr/>
          <a:lstStyle>
            <a:lvl1pPr>
              <a:defRPr sz="8627">
                <a:solidFill>
                  <a:schemeClr val="bg1"/>
                </a:solidFill>
              </a:defRPr>
            </a:lvl1pPr>
          </a:lstStyle>
          <a:p>
            <a:r>
              <a:rPr lang="en-US"/>
              <a:t>Title</a:t>
            </a:r>
          </a:p>
        </p:txBody>
      </p:sp>
    </p:spTree>
    <p:extLst>
      <p:ext uri="{BB962C8B-B14F-4D97-AF65-F5344CB8AC3E}">
        <p14:creationId xmlns:p14="http://schemas.microsoft.com/office/powerpoint/2010/main" val="2748193142"/>
      </p:ext>
    </p:extLst>
  </p:cSld>
  <p:clrMapOvr>
    <a:masterClrMapping/>
  </p:clrMapOvr>
  <p:transition advClick="0">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Blank - Black Backgroun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8437"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5" name="Title 1"/>
          <p:cNvSpPr>
            <a:spLocks noGrp="1"/>
          </p:cNvSpPr>
          <p:nvPr>
            <p:ph type="ctrTitle" hasCustomPrompt="1"/>
          </p:nvPr>
        </p:nvSpPr>
        <p:spPr>
          <a:xfrm>
            <a:off x="573713" y="2100815"/>
            <a:ext cx="11007660" cy="1686801"/>
          </a:xfrm>
        </p:spPr>
        <p:txBody>
          <a:bodyPr/>
          <a:lstStyle>
            <a:lvl1pPr>
              <a:defRPr sz="8627">
                <a:solidFill>
                  <a:schemeClr val="bg1"/>
                </a:solidFill>
              </a:defRPr>
            </a:lvl1pPr>
          </a:lstStyle>
          <a:p>
            <a:r>
              <a:rPr lang="en-US"/>
              <a:t>Title</a:t>
            </a:r>
          </a:p>
        </p:txBody>
      </p:sp>
    </p:spTree>
    <p:extLst>
      <p:ext uri="{BB962C8B-B14F-4D97-AF65-F5344CB8AC3E}">
        <p14:creationId xmlns:p14="http://schemas.microsoft.com/office/powerpoint/2010/main" val="1492393686"/>
      </p:ext>
    </p:extLst>
  </p:cSld>
  <p:clrMapOvr>
    <a:masterClrMapping/>
  </p:clrMapOvr>
  <p:transition advClick="0">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946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4060" y="2646134"/>
            <a:ext cx="4140487" cy="1523268"/>
          </a:xfrm>
          <a:prstGeom prst="rect">
            <a:avLst/>
          </a:prstGeom>
        </p:spPr>
      </p:pic>
    </p:spTree>
    <p:extLst>
      <p:ext uri="{BB962C8B-B14F-4D97-AF65-F5344CB8AC3E}">
        <p14:creationId xmlns:p14="http://schemas.microsoft.com/office/powerpoint/2010/main" val="3630987871"/>
      </p:ext>
    </p:extLst>
  </p:cSld>
  <p:clrMapOvr>
    <a:masterClrMapping/>
  </p:clrMapOvr>
  <p:transition advClick="0">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Footer Placeholder 3"/>
          <p:cNvSpPr>
            <a:spLocks noGrp="1"/>
          </p:cNvSpPr>
          <p:nvPr>
            <p:ph type="ftr" sz="quarter" idx="11"/>
          </p:nvPr>
        </p:nvSpPr>
        <p:spPr>
          <a:xfrm>
            <a:off x="3048000" y="6477873"/>
            <a:ext cx="8381999" cy="380127"/>
          </a:xfrm>
          <a:prstGeom prst="rect">
            <a:avLst/>
          </a:prstGeom>
        </p:spPr>
        <p:txBody>
          <a:bodyPr/>
          <a:lstStyle/>
          <a:p>
            <a:pPr defTabSz="896386">
              <a:defRPr/>
            </a:pPr>
            <a:endParaRPr lang="en-US" sz="1765" kern="0">
              <a:solidFill>
                <a:srgbClr val="505050"/>
              </a:solidFill>
            </a:endParaRPr>
          </a:p>
        </p:txBody>
      </p:sp>
      <p:sp>
        <p:nvSpPr>
          <p:cNvPr id="5" name="Slide Number Placeholder 4"/>
          <p:cNvSpPr>
            <a:spLocks noGrp="1"/>
          </p:cNvSpPr>
          <p:nvPr>
            <p:ph type="sldNum" sz="quarter" idx="12"/>
          </p:nvPr>
        </p:nvSpPr>
        <p:spPr>
          <a:xfrm>
            <a:off x="11430001" y="6478587"/>
            <a:ext cx="761998" cy="379413"/>
          </a:xfrm>
          <a:prstGeom prst="rect">
            <a:avLst/>
          </a:prstGeom>
        </p:spPr>
        <p:txBody>
          <a:bodyPr/>
          <a:lstStyle/>
          <a:p>
            <a:pPr defTabSz="896386">
              <a:defRPr/>
            </a:pPr>
            <a:fld id="{6A4C1A4A-E5E6-4CC1-B72C-A20A4EB3E2D2}" type="slidenum">
              <a:rPr lang="en-US" sz="1765" kern="0" smtClean="0">
                <a:solidFill>
                  <a:srgbClr val="505050"/>
                </a:solidFill>
              </a:rPr>
              <a:pPr defTabSz="896386">
                <a:defRPr/>
              </a:pPr>
              <a:t>‹#›</a:t>
            </a:fld>
            <a:endParaRPr lang="en-US" sz="1765" kern="0">
              <a:solidFill>
                <a:srgbClr val="505050"/>
              </a:solidFill>
            </a:endParaRPr>
          </a:p>
        </p:txBody>
      </p:sp>
      <p:sp>
        <p:nvSpPr>
          <p:cNvPr id="6" name="Text Placeholder 5"/>
          <p:cNvSpPr>
            <a:spLocks noGrp="1"/>
          </p:cNvSpPr>
          <p:nvPr>
            <p:ph type="body" sz="quarter" idx="13" hasCustomPrompt="1"/>
          </p:nvPr>
        </p:nvSpPr>
        <p:spPr>
          <a:xfrm>
            <a:off x="1" y="573604"/>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a:t>Click to add subtitle</a:t>
            </a:r>
          </a:p>
        </p:txBody>
      </p:sp>
    </p:spTree>
    <p:extLst>
      <p:ext uri="{BB962C8B-B14F-4D97-AF65-F5344CB8AC3E}">
        <p14:creationId xmlns:p14="http://schemas.microsoft.com/office/powerpoint/2010/main" val="3706467344"/>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userDrawn="1">
  <p:cSld name="Blank Dar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82124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type="title">
  <p:cSld name="Diapositiva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1524000" y="1122363"/>
            <a:ext cx="9144000" cy="2387600"/>
          </a:xfrm>
        </p:spPr>
        <p:txBody>
          <a:bodyPr anchor="b"/>
          <a:lstStyle>
            <a:lvl1pPr algn="ctr">
              <a:defRPr sz="5998"/>
            </a:lvl1pPr>
          </a:lstStyle>
          <a:p>
            <a:r>
              <a:rPr lang="es-ES"/>
              <a:t>Haga clic para modificar el estilo de título del patrón</a:t>
            </a:r>
          </a:p>
        </p:txBody>
      </p:sp>
      <p:sp>
        <p:nvSpPr>
          <p:cNvPr id="3" name="Subtítulo 2"/>
          <p:cNvSpPr>
            <a:spLocks noGrp="1"/>
          </p:cNvSpPr>
          <p:nvPr>
            <p:ph type="subTitle" idx="1"/>
          </p:nvPr>
        </p:nvSpPr>
        <p:spPr>
          <a:xfrm>
            <a:off x="1524000" y="3602038"/>
            <a:ext cx="9144000" cy="517065"/>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s-ES"/>
              <a:t>Haga clic para modificar el estilo de subtítulo del patrón</a:t>
            </a:r>
          </a:p>
        </p:txBody>
      </p:sp>
      <p:sp>
        <p:nvSpPr>
          <p:cNvPr id="4" name="Marcador de fecha 3"/>
          <p:cNvSpPr>
            <a:spLocks noGrp="1"/>
          </p:cNvSpPr>
          <p:nvPr>
            <p:ph type="dt" sz="half" idx="10"/>
          </p:nvPr>
        </p:nvSpPr>
        <p:spPr/>
        <p:txBody>
          <a:bodyPr/>
          <a:lstStyle/>
          <a:p>
            <a:pPr defTabSz="896386">
              <a:defRPr/>
            </a:pPr>
            <a:fld id="{40771E8B-6CA5-40B2-8038-0E112F3DAC1C}" type="datetimeFigureOut">
              <a:rPr lang="es-ES" sz="1765" kern="0" smtClean="0">
                <a:solidFill>
                  <a:sysClr val="windowText" lastClr="000000"/>
                </a:solidFill>
              </a:rPr>
              <a:pPr defTabSz="896386">
                <a:defRPr/>
              </a:pPr>
              <a:t>11/05/2020</a:t>
            </a:fld>
            <a:endParaRPr lang="es-ES" sz="1765" kern="0">
              <a:solidFill>
                <a:sysClr val="windowText" lastClr="000000"/>
              </a:solidFill>
            </a:endParaRPr>
          </a:p>
        </p:txBody>
      </p:sp>
      <p:sp>
        <p:nvSpPr>
          <p:cNvPr id="5" name="Marcador de pie de página 4"/>
          <p:cNvSpPr>
            <a:spLocks noGrp="1"/>
          </p:cNvSpPr>
          <p:nvPr>
            <p:ph type="ftr" sz="quarter" idx="11"/>
          </p:nvPr>
        </p:nvSpPr>
        <p:spPr/>
        <p:txBody>
          <a:bodyPr/>
          <a:lstStyle/>
          <a:p>
            <a:pPr defTabSz="896386">
              <a:defRPr/>
            </a:pPr>
            <a:endParaRPr lang="es-ES" sz="1765" kern="0">
              <a:solidFill>
                <a:sysClr val="windowText" lastClr="000000"/>
              </a:solidFill>
            </a:endParaRPr>
          </a:p>
        </p:txBody>
      </p:sp>
      <p:sp>
        <p:nvSpPr>
          <p:cNvPr id="6" name="Marcador de número de diapositiva 5"/>
          <p:cNvSpPr>
            <a:spLocks noGrp="1"/>
          </p:cNvSpPr>
          <p:nvPr>
            <p:ph type="sldNum" sz="quarter" idx="12"/>
          </p:nvPr>
        </p:nvSpPr>
        <p:spPr/>
        <p:txBody>
          <a:bodyPr/>
          <a:lstStyle/>
          <a:p>
            <a:pPr defTabSz="896386">
              <a:defRPr/>
            </a:pPr>
            <a:fld id="{0F1556C4-DFC3-4611-A7CC-780699185E26}" type="slidenum">
              <a:rPr lang="es-ES" sz="1765" kern="0" smtClean="0">
                <a:solidFill>
                  <a:sysClr val="windowText" lastClr="000000"/>
                </a:solidFill>
              </a:rPr>
              <a:pPr defTabSz="896386">
                <a:defRPr/>
              </a:pPr>
              <a:t>‹#›</a:t>
            </a:fld>
            <a:endParaRPr lang="es-ES" sz="1765" kern="0">
              <a:solidFill>
                <a:sysClr val="windowText" lastClr="000000"/>
              </a:solidFill>
            </a:endParaRPr>
          </a:p>
        </p:txBody>
      </p:sp>
    </p:spTree>
    <p:extLst>
      <p:ext uri="{BB962C8B-B14F-4D97-AF65-F5344CB8AC3E}">
        <p14:creationId xmlns:p14="http://schemas.microsoft.com/office/powerpoint/2010/main" val="116840872"/>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userDrawn="1">
  <p:cSld name="11_Title Only white backgroun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895832603"/>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0775939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userDrawn="1"/>
        </p:nvGrpSpPr>
        <p:grpSpPr bwMode="ltGray">
          <a:xfrm>
            <a:off x="6256117" y="-21839"/>
            <a:ext cx="5932086" cy="6890047"/>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2834277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userDrawn="1">
  <p:cSld name="Single column white with bullets">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6274973" cy="2012859"/>
          </a:xfrm>
        </p:spPr>
        <p:txBody>
          <a:bodyPr wrap="square">
            <a:spAutoFit/>
          </a:bodyPr>
          <a:lstStyle>
            <a:lvl1pPr marL="392094" indent="-392094">
              <a:spcBef>
                <a:spcPts val="1200"/>
              </a:spcBef>
              <a:buClr>
                <a:srgbClr val="92D050"/>
              </a:buClr>
              <a:buSzPct val="100000"/>
              <a:buFont typeface="Wingdings" panose="05000000000000000000" pitchFamily="2" charset="2"/>
              <a:buChar char="ü"/>
              <a:defRPr sz="3136">
                <a:gradFill>
                  <a:gsLst>
                    <a:gs pos="7500">
                      <a:schemeClr val="bg1"/>
                    </a:gs>
                    <a:gs pos="43000">
                      <a:schemeClr val="bg1"/>
                    </a:gs>
                  </a:gsLst>
                  <a:lin ang="5400000" scaled="0"/>
                </a:gradFill>
              </a:defRPr>
            </a:lvl1pPr>
            <a:lvl2pPr marL="672161" indent="-280067">
              <a:buClr>
                <a:srgbClr val="92D050"/>
              </a:buClr>
              <a:buSzPct val="100000"/>
              <a:buFont typeface="Wingdings" panose="05000000000000000000" pitchFamily="2" charset="2"/>
              <a:buChar char="ü"/>
              <a:defRPr sz="2353">
                <a:gradFill>
                  <a:gsLst>
                    <a:gs pos="7500">
                      <a:schemeClr val="bg1"/>
                    </a:gs>
                    <a:gs pos="43000">
                      <a:schemeClr val="bg1"/>
                    </a:gs>
                  </a:gsLst>
                  <a:lin ang="5400000" scaled="0"/>
                </a:gradFill>
              </a:defRPr>
            </a:lvl2pPr>
            <a:lvl3pPr marL="684608" indent="267620">
              <a:buClr>
                <a:srgbClr val="92D050"/>
              </a:buClr>
              <a:buSzPct val="100000"/>
              <a:buFont typeface="Wingdings" panose="05000000000000000000" pitchFamily="2" charset="2"/>
              <a:buChar char="ü"/>
              <a:tabLst/>
              <a:defRPr sz="1961">
                <a:gradFill>
                  <a:gsLst>
                    <a:gs pos="7500">
                      <a:schemeClr val="bg1"/>
                    </a:gs>
                    <a:gs pos="43000">
                      <a:schemeClr val="bg1"/>
                    </a:gs>
                  </a:gsLst>
                  <a:lin ang="5400000" scaled="0"/>
                </a:gradFill>
              </a:defRPr>
            </a:lvl3pPr>
            <a:lvl4pPr marL="952227" indent="224054">
              <a:buClr>
                <a:srgbClr val="92D050"/>
              </a:buClr>
              <a:buSzPct val="100000"/>
              <a:buFont typeface="Wingdings" panose="05000000000000000000" pitchFamily="2" charset="2"/>
              <a:buChar char="ü"/>
              <a:defRPr>
                <a:gradFill>
                  <a:gsLst>
                    <a:gs pos="7500">
                      <a:schemeClr val="bg1"/>
                    </a:gs>
                    <a:gs pos="43000">
                      <a:schemeClr val="bg1"/>
                    </a:gs>
                  </a:gsLst>
                  <a:lin ang="5400000" scaled="0"/>
                </a:gradFill>
              </a:defRPr>
            </a:lvl4pPr>
            <a:lvl5pPr marL="1176281" indent="-224054">
              <a:buClr>
                <a:srgbClr val="92D050"/>
              </a:buClr>
              <a:buSzPct val="100000"/>
              <a:buFont typeface="Wingdings" panose="05000000000000000000" pitchFamily="2" charset="2"/>
              <a:buChar char="ü"/>
              <a:tabLst/>
              <a:defRPr>
                <a:gradFill>
                  <a:gsLst>
                    <a:gs pos="7500">
                      <a:schemeClr val="bg1"/>
                    </a:gs>
                    <a:gs pos="43000">
                      <a:schemeClr val="bg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p:cNvSpPr/>
          <p:nvPr userDrawn="1"/>
        </p:nvSpPr>
        <p:spPr>
          <a:xfrm>
            <a:off x="1558" y="5222104"/>
            <a:ext cx="12190443"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 name="Freeform 99"/>
          <p:cNvSpPr>
            <a:spLocks noChangeAspect="1"/>
          </p:cNvSpPr>
          <p:nvPr userDrawn="1"/>
        </p:nvSpPr>
        <p:spPr bwMode="black">
          <a:xfrm>
            <a:off x="474670" y="5491048"/>
            <a:ext cx="564934"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p:spPr>
        <p:txBody>
          <a:bodyPr lIns="68568" tIns="34284" rIns="68568" bIns="34284"/>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322" b="0" i="0" u="none" strike="noStrike" kern="1200" cap="none" spc="0" normalizeH="0" baseline="0" noProof="0">
              <a:ln>
                <a:noFill/>
              </a:ln>
              <a:solidFill>
                <a:srgbClr val="000000"/>
              </a:solidFill>
              <a:effectLst/>
              <a:uLnTx/>
              <a:uFillTx/>
              <a:latin typeface="Segoe UI"/>
              <a:ea typeface="MS PGothic" panose="020B0600070205080204" pitchFamily="34" charset="-128"/>
              <a:cs typeface="+mn-cs"/>
            </a:endParaRPr>
          </a:p>
        </p:txBody>
      </p:sp>
      <p:sp>
        <p:nvSpPr>
          <p:cNvPr id="13" name="Title 12"/>
          <p:cNvSpPr>
            <a:spLocks noGrp="1"/>
          </p:cNvSpPr>
          <p:nvPr>
            <p:ph type="title"/>
          </p:nvPr>
        </p:nvSpPr>
        <p:spPr/>
        <p:txBody>
          <a:bodyPr/>
          <a:lstStyle>
            <a:lvl1pPr>
              <a:defRPr>
                <a:gradFill>
                  <a:gsLst>
                    <a:gs pos="17500">
                      <a:schemeClr val="bg1"/>
                    </a:gs>
                    <a:gs pos="55000">
                      <a:schemeClr val="bg1"/>
                    </a:gs>
                  </a:gsLst>
                  <a:lin ang="5400000" scaled="0"/>
                </a:gradFill>
              </a:defRPr>
            </a:lvl1pPr>
          </a:lstStyle>
          <a:p>
            <a:r>
              <a:rPr lang="en-US"/>
              <a:t>Click to edit Master title style</a:t>
            </a:r>
          </a:p>
        </p:txBody>
      </p:sp>
      <p:sp>
        <p:nvSpPr>
          <p:cNvPr id="15" name="Text Placeholder 14"/>
          <p:cNvSpPr>
            <a:spLocks noGrp="1"/>
          </p:cNvSpPr>
          <p:nvPr>
            <p:ph type="body" sz="quarter" idx="11" hasCustomPrompt="1"/>
          </p:nvPr>
        </p:nvSpPr>
        <p:spPr>
          <a:xfrm>
            <a:off x="1039604" y="5403225"/>
            <a:ext cx="10883158" cy="627736"/>
          </a:xfrm>
        </p:spPr>
        <p:txBody>
          <a:bodyPr/>
          <a:lstStyle>
            <a:lvl1pPr marL="0" indent="0">
              <a:buFontTx/>
              <a:buNone/>
              <a:defRPr lang="en-US" sz="3136"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14192" rtl="0" eaLnBrk="1" fontAlgn="auto" latinLnBrk="0" hangingPunct="1">
              <a:lnSpc>
                <a:spcPct val="90000"/>
              </a:lnSpc>
              <a:spcBef>
                <a:spcPct val="20000"/>
              </a:spcBef>
              <a:spcAft>
                <a:spcPts val="0"/>
              </a:spcAft>
              <a:buClrTx/>
              <a:buSzPct val="90000"/>
              <a:buFontTx/>
              <a:buNone/>
              <a:tabLst/>
            </a:pPr>
            <a:r>
              <a:rPr lang="en-US"/>
              <a:t>Potential highlight or call to action goes here</a:t>
            </a:r>
          </a:p>
        </p:txBody>
      </p:sp>
      <p:sp>
        <p:nvSpPr>
          <p:cNvPr id="12" name="Freeform 82"/>
          <p:cNvSpPr>
            <a:spLocks/>
          </p:cNvSpPr>
          <p:nvPr userDrawn="1"/>
        </p:nvSpPr>
        <p:spPr bwMode="auto">
          <a:xfrm>
            <a:off x="6821138" y="1029109"/>
            <a:ext cx="3549571" cy="1990134"/>
          </a:xfrm>
          <a:custGeom>
            <a:avLst/>
            <a:gdLst>
              <a:gd name="T0" fmla="*/ 322 w 386"/>
              <a:gd name="T1" fmla="*/ 92 h 221"/>
              <a:gd name="T2" fmla="*/ 301 w 386"/>
              <a:gd name="T3" fmla="*/ 96 h 221"/>
              <a:gd name="T4" fmla="*/ 237 w 386"/>
              <a:gd name="T5" fmla="*/ 37 h 221"/>
              <a:gd name="T6" fmla="*/ 191 w 386"/>
              <a:gd name="T7" fmla="*/ 56 h 221"/>
              <a:gd name="T8" fmla="*/ 128 w 386"/>
              <a:gd name="T9" fmla="*/ 0 h 221"/>
              <a:gd name="T10" fmla="*/ 63 w 386"/>
              <a:gd name="T11" fmla="*/ 64 h 221"/>
              <a:gd name="T12" fmla="*/ 70 w 386"/>
              <a:gd name="T13" fmla="*/ 93 h 221"/>
              <a:gd name="T14" fmla="*/ 64 w 386"/>
              <a:gd name="T15" fmla="*/ 92 h 221"/>
              <a:gd name="T16" fmla="*/ 0 w 386"/>
              <a:gd name="T17" fmla="*/ 156 h 221"/>
              <a:gd name="T18" fmla="*/ 64 w 386"/>
              <a:gd name="T19" fmla="*/ 221 h 221"/>
              <a:gd name="T20" fmla="*/ 322 w 386"/>
              <a:gd name="T21" fmla="*/ 221 h 221"/>
              <a:gd name="T22" fmla="*/ 386 w 386"/>
              <a:gd name="T23" fmla="*/ 156 h 221"/>
              <a:gd name="T24" fmla="*/ 322 w 386"/>
              <a:gd name="T25" fmla="*/ 9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6" h="221">
                <a:moveTo>
                  <a:pt x="322" y="92"/>
                </a:moveTo>
                <a:cubicBezTo>
                  <a:pt x="315" y="92"/>
                  <a:pt x="307" y="94"/>
                  <a:pt x="301" y="96"/>
                </a:cubicBezTo>
                <a:cubicBezTo>
                  <a:pt x="298" y="63"/>
                  <a:pt x="270" y="37"/>
                  <a:pt x="237" y="37"/>
                </a:cubicBezTo>
                <a:cubicBezTo>
                  <a:pt x="219" y="37"/>
                  <a:pt x="203" y="44"/>
                  <a:pt x="191" y="56"/>
                </a:cubicBezTo>
                <a:cubicBezTo>
                  <a:pt x="187" y="24"/>
                  <a:pt x="160" y="0"/>
                  <a:pt x="128" y="0"/>
                </a:cubicBezTo>
                <a:cubicBezTo>
                  <a:pt x="92" y="0"/>
                  <a:pt x="63" y="28"/>
                  <a:pt x="63" y="64"/>
                </a:cubicBezTo>
                <a:cubicBezTo>
                  <a:pt x="63" y="74"/>
                  <a:pt x="66" y="84"/>
                  <a:pt x="70" y="93"/>
                </a:cubicBezTo>
                <a:cubicBezTo>
                  <a:pt x="68" y="92"/>
                  <a:pt x="66" y="92"/>
                  <a:pt x="64" y="92"/>
                </a:cubicBezTo>
                <a:cubicBezTo>
                  <a:pt x="29" y="92"/>
                  <a:pt x="0" y="121"/>
                  <a:pt x="0" y="156"/>
                </a:cubicBezTo>
                <a:cubicBezTo>
                  <a:pt x="0" y="192"/>
                  <a:pt x="29" y="221"/>
                  <a:pt x="64" y="221"/>
                </a:cubicBezTo>
                <a:cubicBezTo>
                  <a:pt x="322" y="221"/>
                  <a:pt x="322" y="221"/>
                  <a:pt x="322" y="221"/>
                </a:cubicBezTo>
                <a:cubicBezTo>
                  <a:pt x="357" y="221"/>
                  <a:pt x="386" y="192"/>
                  <a:pt x="386" y="156"/>
                </a:cubicBezTo>
                <a:cubicBezTo>
                  <a:pt x="386" y="121"/>
                  <a:pt x="357" y="92"/>
                  <a:pt x="322" y="92"/>
                </a:cubicBezTo>
                <a:close/>
              </a:path>
            </a:pathLst>
          </a:custGeom>
          <a:solidFill>
            <a:schemeClr val="tx1">
              <a:lumMod val="85000"/>
            </a:schemeClr>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endParaRPr>
          </a:p>
        </p:txBody>
      </p:sp>
      <p:sp>
        <p:nvSpPr>
          <p:cNvPr id="14" name="Freeform 82"/>
          <p:cNvSpPr>
            <a:spLocks/>
          </p:cNvSpPr>
          <p:nvPr userDrawn="1"/>
        </p:nvSpPr>
        <p:spPr bwMode="auto">
          <a:xfrm>
            <a:off x="8693990" y="981280"/>
            <a:ext cx="2617150" cy="1501422"/>
          </a:xfrm>
          <a:custGeom>
            <a:avLst/>
            <a:gdLst>
              <a:gd name="T0" fmla="*/ 322 w 386"/>
              <a:gd name="T1" fmla="*/ 92 h 221"/>
              <a:gd name="T2" fmla="*/ 301 w 386"/>
              <a:gd name="T3" fmla="*/ 96 h 221"/>
              <a:gd name="T4" fmla="*/ 237 w 386"/>
              <a:gd name="T5" fmla="*/ 37 h 221"/>
              <a:gd name="T6" fmla="*/ 191 w 386"/>
              <a:gd name="T7" fmla="*/ 56 h 221"/>
              <a:gd name="T8" fmla="*/ 128 w 386"/>
              <a:gd name="T9" fmla="*/ 0 h 221"/>
              <a:gd name="T10" fmla="*/ 63 w 386"/>
              <a:gd name="T11" fmla="*/ 64 h 221"/>
              <a:gd name="T12" fmla="*/ 70 w 386"/>
              <a:gd name="T13" fmla="*/ 93 h 221"/>
              <a:gd name="T14" fmla="*/ 64 w 386"/>
              <a:gd name="T15" fmla="*/ 92 h 221"/>
              <a:gd name="T16" fmla="*/ 0 w 386"/>
              <a:gd name="T17" fmla="*/ 156 h 221"/>
              <a:gd name="T18" fmla="*/ 64 w 386"/>
              <a:gd name="T19" fmla="*/ 221 h 221"/>
              <a:gd name="T20" fmla="*/ 322 w 386"/>
              <a:gd name="T21" fmla="*/ 221 h 221"/>
              <a:gd name="T22" fmla="*/ 386 w 386"/>
              <a:gd name="T23" fmla="*/ 156 h 221"/>
              <a:gd name="T24" fmla="*/ 322 w 386"/>
              <a:gd name="T25" fmla="*/ 9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6" h="221">
                <a:moveTo>
                  <a:pt x="322" y="92"/>
                </a:moveTo>
                <a:cubicBezTo>
                  <a:pt x="315" y="92"/>
                  <a:pt x="307" y="94"/>
                  <a:pt x="301" y="96"/>
                </a:cubicBezTo>
                <a:cubicBezTo>
                  <a:pt x="298" y="63"/>
                  <a:pt x="270" y="37"/>
                  <a:pt x="237" y="37"/>
                </a:cubicBezTo>
                <a:cubicBezTo>
                  <a:pt x="219" y="37"/>
                  <a:pt x="203" y="44"/>
                  <a:pt x="191" y="56"/>
                </a:cubicBezTo>
                <a:cubicBezTo>
                  <a:pt x="187" y="24"/>
                  <a:pt x="160" y="0"/>
                  <a:pt x="128" y="0"/>
                </a:cubicBezTo>
                <a:cubicBezTo>
                  <a:pt x="92" y="0"/>
                  <a:pt x="63" y="28"/>
                  <a:pt x="63" y="64"/>
                </a:cubicBezTo>
                <a:cubicBezTo>
                  <a:pt x="63" y="74"/>
                  <a:pt x="66" y="84"/>
                  <a:pt x="70" y="93"/>
                </a:cubicBezTo>
                <a:cubicBezTo>
                  <a:pt x="68" y="92"/>
                  <a:pt x="66" y="92"/>
                  <a:pt x="64" y="92"/>
                </a:cubicBezTo>
                <a:cubicBezTo>
                  <a:pt x="29" y="92"/>
                  <a:pt x="0" y="121"/>
                  <a:pt x="0" y="156"/>
                </a:cubicBezTo>
                <a:cubicBezTo>
                  <a:pt x="0" y="192"/>
                  <a:pt x="29" y="221"/>
                  <a:pt x="64" y="221"/>
                </a:cubicBezTo>
                <a:cubicBezTo>
                  <a:pt x="322" y="221"/>
                  <a:pt x="322" y="221"/>
                  <a:pt x="322" y="221"/>
                </a:cubicBezTo>
                <a:cubicBezTo>
                  <a:pt x="357" y="221"/>
                  <a:pt x="386" y="192"/>
                  <a:pt x="386" y="156"/>
                </a:cubicBezTo>
                <a:cubicBezTo>
                  <a:pt x="386" y="121"/>
                  <a:pt x="357" y="92"/>
                  <a:pt x="322" y="92"/>
                </a:cubicBezTo>
                <a:close/>
              </a:path>
            </a:pathLst>
          </a:custGeom>
          <a:solidFill>
            <a:schemeClr val="tx1">
              <a:lumMod val="95000"/>
            </a:schemeClr>
          </a:solidFill>
          <a:ln>
            <a:noFill/>
          </a:ln>
        </p:spPr>
        <p:txBody>
          <a:bodyPr vert="horz" wrap="square" lIns="89642" tIns="44821" rIns="89642" bIns="44821" numCol="1" anchor="t" anchorCtr="0" compatLnSpc="1">
            <a:prstTxWarp prst="textNoShape">
              <a:avLst/>
            </a:prstTxWarp>
          </a:bodyPr>
          <a:lstStyle/>
          <a:p>
            <a:endParaRPr lang="en-US" sz="1765"/>
          </a:p>
        </p:txBody>
      </p:sp>
      <p:grpSp>
        <p:nvGrpSpPr>
          <p:cNvPr id="9" name="Group 8"/>
          <p:cNvGrpSpPr>
            <a:grpSpLocks/>
          </p:cNvGrpSpPr>
          <p:nvPr userDrawn="1"/>
        </p:nvGrpSpPr>
        <p:grpSpPr bwMode="auto">
          <a:xfrm flipH="1">
            <a:off x="7082692" y="1905173"/>
            <a:ext cx="4228448"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30848286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2"/>
                                        </p:tgtEl>
                                        <p:attrNameLst>
                                          <p:attrName>style.visibility</p:attrName>
                                        </p:attrNameLst>
                                      </p:cBhvr>
                                      <p:to>
                                        <p:strVal val="visible"/>
                                      </p:to>
                                    </p:set>
                                    <p:animEffect transition="in" filter="fade">
                                      <p:cBhvr>
                                        <p:cTn id="11" dur="200"/>
                                        <p:tgtEl>
                                          <p:spTgt spid="12"/>
                                        </p:tgtEl>
                                      </p:cBhvr>
                                    </p:animEffect>
                                  </p:childTnLst>
                                </p:cTn>
                              </p:par>
                              <p:par>
                                <p:cTn id="12" presetID="10" presetClass="entr" presetSubtype="0" fill="hold" grpId="0" nodeType="withEffect">
                                  <p:stCondLst>
                                    <p:cond delay="250"/>
                                  </p:stCondLst>
                                  <p:childTnLst>
                                    <p:set>
                                      <p:cBhvr>
                                        <p:cTn id="13" dur="1" fill="hold">
                                          <p:stCondLst>
                                            <p:cond delay="0"/>
                                          </p:stCondLst>
                                        </p:cTn>
                                        <p:tgtEl>
                                          <p:spTgt spid="14"/>
                                        </p:tgtEl>
                                        <p:attrNameLst>
                                          <p:attrName>style.visibility</p:attrName>
                                        </p:attrNameLst>
                                      </p:cBhvr>
                                      <p:to>
                                        <p:strVal val="visible"/>
                                      </p:to>
                                    </p:set>
                                    <p:animEffect transition="in" filter="fade">
                                      <p:cBhvr>
                                        <p:cTn id="14" dur="2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Lst>
  </p:timing>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Slide - ANIMATED">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2" y="5729528"/>
            <a:ext cx="12188888" cy="1131586"/>
          </a:xfrm>
          <a:prstGeom prst="rect">
            <a:avLst/>
          </a:prstGeom>
          <a:solidFill>
            <a:srgbClr val="00188F"/>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8870537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p:ext uri="{DCECCB84-F9BA-43D5-87BE-67443E8EF086}">
      <p15:sldGuideLst xmlns:p15="http://schemas.microsoft.com/office/powerpoint/2012/main">
        <p15:guide id="1" orient="horz" pos="4494">
          <p15:clr>
            <a:srgbClr val="C35EA4"/>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50733076"/>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94306113"/>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38510290"/>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52172209"/>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3667657"/>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97198338"/>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p>
        </p:txBody>
      </p:sp>
    </p:spTree>
    <p:extLst>
      <p:ext uri="{BB962C8B-B14F-4D97-AF65-F5344CB8AC3E}">
        <p14:creationId xmlns:p14="http://schemas.microsoft.com/office/powerpoint/2010/main" val="1950650915"/>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p>
        </p:txBody>
      </p:sp>
    </p:spTree>
    <p:extLst>
      <p:ext uri="{BB962C8B-B14F-4D97-AF65-F5344CB8AC3E}">
        <p14:creationId xmlns:p14="http://schemas.microsoft.com/office/powerpoint/2010/main" val="207909857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3182462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1865129958"/>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Quote Layout_Accent Color 2">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a:t>Author’s Name</a:t>
            </a:r>
          </a:p>
          <a:p>
            <a:pPr lvl="0"/>
            <a:r>
              <a:rPr lang="en-US"/>
              <a:t>Title</a:t>
            </a:r>
          </a:p>
        </p:txBody>
      </p:sp>
    </p:spTree>
    <p:extLst>
      <p:ext uri="{BB962C8B-B14F-4D97-AF65-F5344CB8AC3E}">
        <p14:creationId xmlns:p14="http://schemas.microsoft.com/office/powerpoint/2010/main" val="590437571"/>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5661075"/>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763530"/>
          </a:xfrm>
        </p:spPr>
        <p:txBody>
          <a:bodyPr/>
          <a:lstStyle>
            <a:lvl1pPr>
              <a:defRPr sz="6469"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529495474"/>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6"/>
            <a:ext cx="5378548" cy="899665"/>
          </a:xfrm>
        </p:spPr>
        <p:txBody>
          <a:bodyPr/>
          <a:lstStyle>
            <a:lvl1pPr>
              <a:defRPr sz="6469" baseline="0">
                <a:gradFill>
                  <a:gsLst>
                    <a:gs pos="1250">
                      <a:schemeClr val="tx1"/>
                    </a:gs>
                    <a:gs pos="100000">
                      <a:schemeClr val="tx1"/>
                    </a:gs>
                  </a:gsLst>
                  <a:lin ang="5400000" scaled="0"/>
                </a:gradFill>
              </a:defRPr>
            </a:lvl1pPr>
          </a:lstStyle>
          <a:p>
            <a:r>
              <a:rPr lang="en-US"/>
              <a:t>Click to edit Master title style</a:t>
            </a:r>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451015006"/>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700565004"/>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1875768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Closing logo slide_color">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invGray">
          <a:xfrm>
            <a:off x="450205" y="3083652"/>
            <a:ext cx="3227129" cy="692059"/>
          </a:xfrm>
          <a:prstGeom prst="rect">
            <a:avLst/>
          </a:prstGeom>
        </p:spPr>
      </p:pic>
      <p:pic>
        <p:nvPicPr>
          <p:cNvPr id="3" name="Picture 2"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36209" y="2394244"/>
            <a:ext cx="4605934" cy="2064706"/>
          </a:xfrm>
          <a:prstGeom prst="rect">
            <a:avLst/>
          </a:prstGeom>
        </p:spPr>
      </p:pic>
    </p:spTree>
    <p:extLst>
      <p:ext uri="{BB962C8B-B14F-4D97-AF65-F5344CB8AC3E}">
        <p14:creationId xmlns:p14="http://schemas.microsoft.com/office/powerpoint/2010/main" val="28531497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78" t="14165" r="9710" b="9710"/>
          <a:stretch/>
        </p:blipFill>
        <p:spPr>
          <a:xfrm>
            <a:off x="0" y="0"/>
            <a:ext cx="12192000" cy="6858000"/>
          </a:xfrm>
          <a:prstGeom prst="rect">
            <a:avLst/>
          </a:prstGeom>
        </p:spPr>
      </p:pic>
      <p:sp>
        <p:nvSpPr>
          <p:cNvPr id="4" name="Rectangle 3"/>
          <p:cNvSpPr/>
          <p:nvPr userDrawn="1"/>
        </p:nvSpPr>
        <p:spPr bwMode="auto">
          <a:xfrm>
            <a:off x="269239" y="1187621"/>
            <a:ext cx="6274974" cy="2689656"/>
          </a:xfrm>
          <a:prstGeom prst="rect">
            <a:avLst/>
          </a:prstGeom>
          <a:solidFill>
            <a:schemeClr val="bg2">
              <a:alpha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p:cNvPicPr>
            <a:picLocks noChangeAspect="1"/>
          </p:cNvPicPr>
          <p:nvPr userDrawn="1"/>
        </p:nvPicPr>
        <p:blipFill rotWithShape="1">
          <a:blip r:embed="rId3" cstate="print">
            <a:extLst>
              <a:ext uri="{28A0092B-C50C-407E-A947-70E740481C1C}">
                <a14:useLocalDpi xmlns:a14="http://schemas.microsoft.com/office/drawing/2010/main" val="0"/>
              </a:ext>
            </a:extLst>
          </a:blip>
          <a:srcRect t="10283" b="5353"/>
          <a:stretch/>
        </p:blipFill>
        <p:spPr>
          <a:xfrm>
            <a:off x="0" y="0"/>
            <a:ext cx="12192000" cy="6858000"/>
          </a:xfrm>
          <a:prstGeom prst="rect">
            <a:avLst/>
          </a:prstGeom>
        </p:spPr>
      </p:pic>
      <p:sp>
        <p:nvSpPr>
          <p:cNvPr id="9" name="Title 1"/>
          <p:cNvSpPr>
            <a:spLocks noGrp="1"/>
          </p:cNvSpPr>
          <p:nvPr>
            <p:ph type="title" hasCustomPrompt="1"/>
          </p:nvPr>
        </p:nvSpPr>
        <p:spPr bwMode="auto">
          <a:xfrm>
            <a:off x="269239" y="1208198"/>
            <a:ext cx="8368705" cy="1167217"/>
          </a:xfrm>
          <a:noFill/>
        </p:spPr>
        <p:txBody>
          <a:bodyPr lIns="146304" tIns="91440" rIns="146304" bIns="91440" anchor="t" anchorCtr="0"/>
          <a:lstStyle>
            <a:lvl1pPr>
              <a:defRPr sz="5294" spc="-98" baseline="0">
                <a:gradFill>
                  <a:gsLst>
                    <a:gs pos="84066">
                      <a:schemeClr val="tx1"/>
                    </a:gs>
                    <a:gs pos="0">
                      <a:schemeClr val="tx1"/>
                    </a:gs>
                  </a:gsLst>
                  <a:lin ang="5400000" scaled="0"/>
                </a:gradFill>
              </a:defRPr>
            </a:lvl1pPr>
          </a:lstStyle>
          <a:p>
            <a:r>
              <a:rPr lang="en-US"/>
              <a:t>Event name here</a:t>
            </a:r>
          </a:p>
        </p:txBody>
      </p:sp>
      <p:sp>
        <p:nvSpPr>
          <p:cNvPr id="3" name="Text Placeholder 2"/>
          <p:cNvSpPr>
            <a:spLocks noGrp="1"/>
          </p:cNvSpPr>
          <p:nvPr>
            <p:ph type="body" sz="quarter" idx="14" hasCustomPrompt="1"/>
          </p:nvPr>
        </p:nvSpPr>
        <p:spPr bwMode="auto">
          <a:xfrm>
            <a:off x="269239" y="2110562"/>
            <a:ext cx="8368707" cy="2236058"/>
          </a:xfrm>
        </p:spPr>
        <p:txBody>
          <a:bodyPr tIns="109728" bIns="109728">
            <a:noAutofit/>
          </a:bodyPr>
          <a:lstStyle>
            <a:lvl1pPr marL="0" indent="0">
              <a:spcBef>
                <a:spcPts val="0"/>
              </a:spcBef>
              <a:buNone/>
              <a:defRPr sz="2353" baseline="0">
                <a:gradFill>
                  <a:gsLst>
                    <a:gs pos="84066">
                      <a:schemeClr val="tx1"/>
                    </a:gs>
                    <a:gs pos="0">
                      <a:schemeClr val="tx1"/>
                    </a:gs>
                  </a:gsLst>
                  <a:lin ang="5400000" scaled="0"/>
                </a:gradFill>
                <a:latin typeface="+mn-lt"/>
              </a:defRPr>
            </a:lvl1pPr>
          </a:lstStyle>
          <a:p>
            <a:pPr lvl="0"/>
            <a:r>
              <a:rPr lang="en-US"/>
              <a:t>Speaker name</a:t>
            </a:r>
          </a:p>
        </p:txBody>
      </p:sp>
      <p:pic>
        <p:nvPicPr>
          <p:cNvPr id="10" name="Picture 9"/>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bwMode="invGray">
          <a:xfrm>
            <a:off x="448585" y="6133828"/>
            <a:ext cx="1254995" cy="269134"/>
          </a:xfrm>
          <a:prstGeom prst="rect">
            <a:avLst/>
          </a:prstGeom>
        </p:spPr>
      </p:pic>
    </p:spTree>
    <p:extLst>
      <p:ext uri="{BB962C8B-B14F-4D97-AF65-F5344CB8AC3E}">
        <p14:creationId xmlns:p14="http://schemas.microsoft.com/office/powerpoint/2010/main" val="312178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9.xml><?xml version="1.0" encoding="utf-8"?>
<p:sldLayout xmlns:a="http://schemas.openxmlformats.org/drawingml/2006/main" xmlns:r="http://schemas.openxmlformats.org/officeDocument/2006/relationships" xmlns:p="http://schemas.openxmlformats.org/presentationml/2006/main"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4679465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2784692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cSld name="Speaker note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a:t>Click to add title</a:t>
            </a:r>
          </a:p>
        </p:txBody>
      </p:sp>
      <p:sp>
        <p:nvSpPr>
          <p:cNvPr id="5" name="Text Placeholder 15"/>
          <p:cNvSpPr>
            <a:spLocks noGrp="1"/>
          </p:cNvSpPr>
          <p:nvPr>
            <p:ph type="body" sz="quarter" idx="14" hasCustomPrompt="1"/>
          </p:nvPr>
        </p:nvSpPr>
        <p:spPr>
          <a:xfrm>
            <a:off x="227072" y="1600201"/>
            <a:ext cx="11356757" cy="2187843"/>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add speaker notes</a:t>
            </a:r>
          </a:p>
          <a:p>
            <a:pPr lvl="1"/>
            <a:r>
              <a:rPr lang="en-US"/>
              <a:t>Second level</a:t>
            </a:r>
          </a:p>
          <a:p>
            <a:pPr lvl="2"/>
            <a:r>
              <a:rPr lang="en-US"/>
              <a:t>Third level</a:t>
            </a:r>
          </a:p>
          <a:p>
            <a:pPr lvl="3"/>
            <a:r>
              <a:rPr lang="en-US"/>
              <a:t>Fourth level</a:t>
            </a:r>
          </a:p>
          <a:p>
            <a:pPr lvl="4"/>
            <a:r>
              <a:rPr lang="en-US"/>
              <a:t>Fifth level</a:t>
            </a:r>
          </a:p>
        </p:txBody>
      </p:sp>
      <p:sp>
        <p:nvSpPr>
          <p:cNvPr id="6"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a:t>Next slide topic</a:t>
            </a:r>
          </a:p>
        </p:txBody>
      </p:sp>
    </p:spTree>
    <p:extLst>
      <p:ext uri="{BB962C8B-B14F-4D97-AF65-F5344CB8AC3E}">
        <p14:creationId xmlns:p14="http://schemas.microsoft.com/office/powerpoint/2010/main" val="2683987903"/>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82"/>
            <a:ext cx="11653523" cy="2187843"/>
          </a:xfrm>
        </p:spPr>
        <p:txBody>
          <a:bodyPr>
            <a:spAutoFit/>
          </a:bodyPr>
          <a:lstStyle>
            <a:lvl1pPr>
              <a:defRPr>
                <a:solidFill>
                  <a:schemeClr val="accent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55883943"/>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2121478"/>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28611466"/>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12473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userDrawn="1">
  <p:cSld name="1_Blank 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3781899" cy="6280621"/>
          </a:xfrm>
        </p:spPr>
        <p:txBody>
          <a:bodyPr anchor="ctr"/>
          <a:lstStyle>
            <a:lvl1pPr>
              <a:defRPr sz="5398" spc="-150"/>
            </a:lvl1pPr>
          </a:lstStyle>
          <a:p>
            <a:r>
              <a:rPr lang="en-US"/>
              <a:t>Click to edit Master title style</a:t>
            </a:r>
          </a:p>
        </p:txBody>
      </p:sp>
    </p:spTree>
    <p:extLst>
      <p:ext uri="{BB962C8B-B14F-4D97-AF65-F5344CB8AC3E}">
        <p14:creationId xmlns:p14="http://schemas.microsoft.com/office/powerpoint/2010/main" val="2460112505"/>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1" y="228600"/>
            <a:ext cx="11582401" cy="863600"/>
          </a:xfrm>
        </p:spPr>
        <p:txBody>
          <a:bodyPr anchor="t" anchorCtr="0">
            <a:noAutofit/>
          </a:bodyPr>
          <a:lstStyle>
            <a:lvl1pPr>
              <a:defRPr sz="5330" cap="none" spc="-133" baseline="0">
                <a:solidFill>
                  <a:schemeClr val="accent1"/>
                </a:solidFill>
                <a:latin typeface="Segoe UI Light" pitchFamily="34" charset="0"/>
              </a:defRPr>
            </a:lvl1pPr>
          </a:lstStyle>
          <a:p>
            <a:r>
              <a:rPr lang="en-US"/>
              <a:t>Click To Edit Master Title Style</a:t>
            </a:r>
          </a:p>
        </p:txBody>
      </p:sp>
    </p:spTree>
    <p:extLst>
      <p:ext uri="{BB962C8B-B14F-4D97-AF65-F5344CB8AC3E}">
        <p14:creationId xmlns:p14="http://schemas.microsoft.com/office/powerpoint/2010/main" val="2488275062"/>
      </p:ext>
    </p:extLst>
  </p:cSld>
  <p:clrMapOvr>
    <a:masterClrMapping/>
  </p:clrMapOvr>
  <p:transition spd="slow">
    <p:push/>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733985" y="484298"/>
            <a:ext cx="6995026" cy="1300000"/>
          </a:xfrm>
          <a:prstGeom prst="rect">
            <a:avLst/>
          </a:prstGeom>
        </p:spPr>
      </p:pic>
    </p:spTree>
    <p:extLst>
      <p:ext uri="{BB962C8B-B14F-4D97-AF65-F5344CB8AC3E}">
        <p14:creationId xmlns:p14="http://schemas.microsoft.com/office/powerpoint/2010/main" val="11216161"/>
      </p:ext>
    </p:extLst>
  </p:cSld>
  <p:clrMapOvr>
    <a:masterClrMapping/>
  </p:clrMapOvr>
  <p:transition>
    <p:fade/>
  </p:transition>
  <p:extLst>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itle Slide - ANIMATED">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4" y="4309989"/>
            <a:ext cx="12188887" cy="2551127"/>
          </a:xfrm>
          <a:prstGeom prst="rect">
            <a:avLst/>
          </a:prstGeom>
          <a:solidFill>
            <a:srgbClr val="4DA0E2"/>
          </a:solidFill>
          <a:ln>
            <a:noFill/>
          </a:ln>
        </p:spPr>
        <p:txBody>
          <a:bodyPr vert="horz" wrap="square" lIns="89606" tIns="44804" rIns="89606" bIns="44804" numCol="1" anchor="t" anchorCtr="0" compatLnSpc="1">
            <a:prstTxWarp prst="textNoShape">
              <a:avLst/>
            </a:prstTxWarp>
          </a:bodyPr>
          <a:lstStyle/>
          <a:p>
            <a:endParaRPr lang="en-US" sz="2156" dirty="0"/>
          </a:p>
        </p:txBody>
      </p:sp>
      <p:sp>
        <p:nvSpPr>
          <p:cNvPr id="10" name="Rectangle 7"/>
          <p:cNvSpPr>
            <a:spLocks noChangeArrowheads="1"/>
          </p:cNvSpPr>
          <p:nvPr userDrawn="1"/>
        </p:nvSpPr>
        <p:spPr bwMode="auto">
          <a:xfrm>
            <a:off x="2" y="5729528"/>
            <a:ext cx="12188888" cy="1131586"/>
          </a:xfrm>
          <a:prstGeom prst="rect">
            <a:avLst/>
          </a:prstGeom>
          <a:solidFill>
            <a:srgbClr val="00188F"/>
          </a:solidFill>
          <a:ln>
            <a:noFill/>
          </a:ln>
        </p:spPr>
        <p:txBody>
          <a:bodyPr vert="horz" wrap="square" lIns="89606" tIns="44804" rIns="89606" bIns="44804" numCol="1" anchor="t" anchorCtr="0" compatLnSpc="1">
            <a:prstTxWarp prst="textNoShape">
              <a:avLst/>
            </a:prstTxWarp>
          </a:bodyPr>
          <a:lstStyle/>
          <a:p>
            <a:endParaRPr lang="en-US" sz="2156" dirty="0"/>
          </a:p>
        </p:txBody>
      </p:sp>
      <p:sp>
        <p:nvSpPr>
          <p:cNvPr id="11" name="Rectangle 8"/>
          <p:cNvSpPr>
            <a:spLocks noChangeArrowheads="1"/>
          </p:cNvSpPr>
          <p:nvPr userDrawn="1"/>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4" rIns="89606" bIns="44804" numCol="1" anchor="t" anchorCtr="0" compatLnSpc="1">
            <a:prstTxWarp prst="textNoShape">
              <a:avLst/>
            </a:prstTxWarp>
          </a:bodyPr>
          <a:lstStyle/>
          <a:p>
            <a:endParaRPr lang="en-US" sz="2156" dirty="0"/>
          </a:p>
        </p:txBody>
      </p:sp>
      <p:sp>
        <p:nvSpPr>
          <p:cNvPr id="13" name="Rectangle 12"/>
          <p:cNvSpPr/>
          <p:nvPr userDrawn="1"/>
        </p:nvSpPr>
        <p:spPr bwMode="white">
          <a:xfrm>
            <a:off x="1"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741"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5" y="3481915"/>
            <a:ext cx="6273418" cy="1794661"/>
          </a:xfrm>
          <a:noFill/>
        </p:spPr>
        <p:txBody>
          <a:bodyPr lIns="146304" tIns="109728" rIns="146304" bIns="109728">
            <a:no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80485"/>
            <a:ext cx="9860610" cy="1801436"/>
          </a:xfrm>
          <a:noFill/>
        </p:spPr>
        <p:txBody>
          <a:bodyPr lIns="146304" tIns="91440" rIns="146304" bIns="91440" anchor="t" anchorCtr="0"/>
          <a:lstStyle>
            <a:lvl1pPr>
              <a:defRPr sz="5880"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4" rIns="89606" bIns="44804" numCol="1" anchor="t" anchorCtr="0" compatLnSpc="1">
            <a:prstTxWarp prst="textNoShape">
              <a:avLst/>
            </a:prstTxWarp>
          </a:bodyPr>
          <a:lstStyle/>
          <a:p>
            <a:endParaRPr lang="en-US" sz="2156" dirty="0"/>
          </a:p>
        </p:txBody>
      </p:sp>
      <p:sp>
        <p:nvSpPr>
          <p:cNvPr id="14"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mn-lt"/>
              </a:rPr>
              <a:t> </a:t>
            </a:r>
          </a:p>
        </p:txBody>
      </p:sp>
      <p:sp>
        <p:nvSpPr>
          <p:cNvPr id="17" name="Text Placeholder 16"/>
          <p:cNvSpPr>
            <a:spLocks noGrp="1"/>
          </p:cNvSpPr>
          <p:nvPr>
            <p:ph type="body" sz="quarter" idx="13" hasCustomPrompt="1"/>
          </p:nvPr>
        </p:nvSpPr>
        <p:spPr>
          <a:xfrm>
            <a:off x="8315006" y="288561"/>
            <a:ext cx="3585699" cy="452654"/>
          </a:xfrm>
        </p:spPr>
        <p:txBody>
          <a:bodyPr/>
          <a:lstStyle>
            <a:lvl1pPr marL="0" indent="0" algn="r">
              <a:buNone/>
              <a:defRPr sz="1960">
                <a:latin typeface="+mn-lt"/>
              </a:defRPr>
            </a:lvl1pPr>
            <a:lvl2pPr marL="336012" indent="0">
              <a:buNone/>
              <a:defRPr sz="1960"/>
            </a:lvl2pPr>
            <a:lvl3pPr marL="560020" indent="0">
              <a:buNone/>
              <a:defRPr sz="1960"/>
            </a:lvl3pPr>
            <a:lvl4pPr marL="784027" indent="0">
              <a:buNone/>
              <a:defRPr sz="1960"/>
            </a:lvl4pPr>
            <a:lvl5pPr marL="1008036" indent="0">
              <a:buNone/>
              <a:defRPr sz="1960"/>
            </a:lvl5pPr>
          </a:lstStyle>
          <a:p>
            <a:pPr lvl="0"/>
            <a:r>
              <a:rPr lang="en-US" dirty="0"/>
              <a:t>Session Code</a:t>
            </a:r>
          </a:p>
        </p:txBody>
      </p:sp>
      <p:sp>
        <p:nvSpPr>
          <p:cNvPr id="15" name="Text Placeholder 16"/>
          <p:cNvSpPr>
            <a:spLocks noGrp="1"/>
          </p:cNvSpPr>
          <p:nvPr>
            <p:ph type="body" sz="quarter" idx="14" hasCustomPrompt="1"/>
          </p:nvPr>
        </p:nvSpPr>
        <p:spPr>
          <a:xfrm>
            <a:off x="269303" y="5908814"/>
            <a:ext cx="3585699" cy="452654"/>
          </a:xfrm>
        </p:spPr>
        <p:txBody>
          <a:bodyPr/>
          <a:lstStyle>
            <a:lvl1pPr marL="0" indent="0" algn="l">
              <a:buNone/>
              <a:defRPr sz="1960">
                <a:latin typeface="+mn-lt"/>
              </a:defRPr>
            </a:lvl1pPr>
            <a:lvl2pPr marL="336012" indent="0">
              <a:buNone/>
              <a:defRPr sz="1960"/>
            </a:lvl2pPr>
            <a:lvl3pPr marL="560020" indent="0">
              <a:buNone/>
              <a:defRPr sz="1960"/>
            </a:lvl3pPr>
            <a:lvl4pPr marL="784027" indent="0">
              <a:buNone/>
              <a:defRPr sz="1960"/>
            </a:lvl4pPr>
            <a:lvl5pPr marL="1008036" indent="0">
              <a:buNone/>
              <a:defRPr sz="1960"/>
            </a:lvl5pPr>
          </a:lstStyle>
          <a:p>
            <a:pPr lvl="0"/>
            <a:r>
              <a:rPr lang="en-US" dirty="0"/>
              <a:t>Yammer hashtag</a:t>
            </a:r>
          </a:p>
        </p:txBody>
      </p:sp>
      <p:pic>
        <p:nvPicPr>
          <p:cNvPr id="16" name="Picture 15"/>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649696610"/>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p:ext uri="{DCECCB84-F9BA-43D5-87BE-67443E8EF086}">
      <p15:sldGuideLst xmlns:p15="http://schemas.microsoft.com/office/powerpoint/2012/main">
        <p15:guide id="4" orient="horz" pos="4406">
          <p15:clr>
            <a:srgbClr val="C35EA4"/>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itle Slide - STATIC">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437345"/>
            <a:ext cx="6273418" cy="1794661"/>
          </a:xfrm>
          <a:noFill/>
        </p:spPr>
        <p:txBody>
          <a:bodyPr lIns="146304" tIns="109728" rIns="146304" bIns="109728">
            <a:no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35915"/>
            <a:ext cx="9860610" cy="1801436"/>
          </a:xfrm>
          <a:noFill/>
        </p:spPr>
        <p:txBody>
          <a:bodyPr lIns="146304" tIns="91440" rIns="146304" bIns="91440" anchor="t" anchorCtr="0"/>
          <a:lstStyle>
            <a:lvl1pPr>
              <a:defRPr sz="5880"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4" rIns="89606" bIns="44804" numCol="1" anchor="t" anchorCtr="0" compatLnSpc="1">
            <a:prstTxWarp prst="textNoShape">
              <a:avLst/>
            </a:prstTxWarp>
          </a:bodyPr>
          <a:lstStyle/>
          <a:p>
            <a:endParaRPr lang="en-US" sz="2156" dirty="0"/>
          </a:p>
        </p:txBody>
      </p:sp>
      <p:sp>
        <p:nvSpPr>
          <p:cNvPr id="14"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5995" rtl="0" eaLnBrk="1" latinLnBrk="0" hangingPunct="1"/>
            <a:r>
              <a:rPr lang="en-US" sz="1028" b="0" kern="1200" spc="147" baseline="0" dirty="0">
                <a:gradFill>
                  <a:gsLst>
                    <a:gs pos="0">
                      <a:schemeClr val="tx1">
                        <a:alpha val="50000"/>
                      </a:schemeClr>
                    </a:gs>
                    <a:gs pos="86000">
                      <a:schemeClr val="tx1">
                        <a:alpha val="50000"/>
                      </a:schemeClr>
                    </a:gs>
                  </a:gsLst>
                  <a:lin ang="5400000" scaled="0"/>
                </a:gradFill>
                <a:latin typeface="+mn-lt"/>
                <a:ea typeface="+mn-ea"/>
                <a:cs typeface="+mn-cs"/>
              </a:rPr>
              <a:t> </a:t>
            </a:r>
          </a:p>
        </p:txBody>
      </p:sp>
      <p:sp>
        <p:nvSpPr>
          <p:cNvPr id="15" name="Text Placeholder 16"/>
          <p:cNvSpPr>
            <a:spLocks noGrp="1"/>
          </p:cNvSpPr>
          <p:nvPr>
            <p:ph type="body" sz="quarter" idx="13" hasCustomPrompt="1"/>
          </p:nvPr>
        </p:nvSpPr>
        <p:spPr>
          <a:xfrm>
            <a:off x="8336911" y="280362"/>
            <a:ext cx="3585699" cy="452654"/>
          </a:xfrm>
        </p:spPr>
        <p:txBody>
          <a:bodyPr/>
          <a:lstStyle>
            <a:lvl1pPr marL="0" indent="0" algn="r">
              <a:buNone/>
              <a:defRPr sz="1960">
                <a:latin typeface="+mn-lt"/>
              </a:defRPr>
            </a:lvl1pPr>
            <a:lvl2pPr marL="336012" indent="0">
              <a:buNone/>
              <a:defRPr sz="1960"/>
            </a:lvl2pPr>
            <a:lvl3pPr marL="560020" indent="0">
              <a:buNone/>
              <a:defRPr sz="1960"/>
            </a:lvl3pPr>
            <a:lvl4pPr marL="784027" indent="0">
              <a:buNone/>
              <a:defRPr sz="1960"/>
            </a:lvl4pPr>
            <a:lvl5pPr marL="1008036" indent="0">
              <a:buNone/>
              <a:defRPr sz="1960"/>
            </a:lvl5pPr>
          </a:lstStyle>
          <a:p>
            <a:pPr lvl="0"/>
            <a:r>
              <a:rPr lang="en-US" dirty="0"/>
              <a:t>Session Code</a:t>
            </a:r>
          </a:p>
        </p:txBody>
      </p:sp>
      <p:sp>
        <p:nvSpPr>
          <p:cNvPr id="10" name="Text Placeholder 16"/>
          <p:cNvSpPr>
            <a:spLocks noGrp="1"/>
          </p:cNvSpPr>
          <p:nvPr>
            <p:ph type="body" sz="quarter" idx="14" hasCustomPrompt="1"/>
          </p:nvPr>
        </p:nvSpPr>
        <p:spPr>
          <a:xfrm>
            <a:off x="274547" y="5927468"/>
            <a:ext cx="3585699" cy="452654"/>
          </a:xfrm>
        </p:spPr>
        <p:txBody>
          <a:bodyPr/>
          <a:lstStyle>
            <a:lvl1pPr marL="0" indent="0" algn="l">
              <a:buNone/>
              <a:defRPr sz="1960">
                <a:latin typeface="+mn-lt"/>
              </a:defRPr>
            </a:lvl1pPr>
            <a:lvl2pPr marL="336012" indent="0">
              <a:buNone/>
              <a:defRPr sz="1960"/>
            </a:lvl2pPr>
            <a:lvl3pPr marL="560020" indent="0">
              <a:buNone/>
              <a:defRPr sz="1960"/>
            </a:lvl3pPr>
            <a:lvl4pPr marL="784027" indent="0">
              <a:buNone/>
              <a:defRPr sz="1960"/>
            </a:lvl4pPr>
            <a:lvl5pPr marL="1008036" indent="0">
              <a:buNone/>
              <a:defRPr sz="1960"/>
            </a:lvl5pPr>
          </a:lstStyle>
          <a:p>
            <a:pPr lvl="0"/>
            <a:r>
              <a:rPr lang="en-US" dirty="0"/>
              <a:t>Yammer hashtag</a:t>
            </a:r>
          </a:p>
        </p:txBody>
      </p:sp>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40672174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406">
          <p15:clr>
            <a:srgbClr val="C35EA4"/>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Confidentiality Slide">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38791673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678415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0"/>
            </a:lvl2pPr>
            <a:lvl3pPr marL="224008" indent="0">
              <a:buNone/>
              <a:defRPr/>
            </a:lvl3pPr>
            <a:lvl4pPr marL="448016" indent="0">
              <a:buNone/>
              <a:defRPr/>
            </a:lvl4pPr>
            <a:lvl5pPr marL="672024"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13147452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08" indent="0">
              <a:buNone/>
              <a:defRPr/>
            </a:lvl3pPr>
            <a:lvl4pPr marL="448016" indent="0">
              <a:buNone/>
              <a:defRPr/>
            </a:lvl4pPr>
            <a:lvl5pPr marL="672024"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11476254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19">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1500407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1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11928220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0"/>
            </a:lvl2pPr>
            <a:lvl3pPr marL="227120" indent="0">
              <a:buNone/>
              <a:tabLst/>
              <a:defRPr sz="1960"/>
            </a:lvl3pPr>
            <a:lvl4pPr marL="451127" indent="0">
              <a:buNone/>
              <a:defRPr/>
            </a:lvl4pPr>
            <a:lvl5pPr marL="672024"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0"/>
            </a:lvl2pPr>
            <a:lvl3pPr marL="227120" indent="0">
              <a:buNone/>
              <a:tabLst/>
              <a:defRPr sz="1960"/>
            </a:lvl3pPr>
            <a:lvl4pPr marL="451127" indent="0">
              <a:buNone/>
              <a:defRPr/>
            </a:lvl4pPr>
            <a:lvl5pPr marL="672024"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23633855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0"/>
            </a:lvl2pPr>
            <a:lvl3pPr marL="227120" indent="0">
              <a:buNone/>
              <a:tabLst/>
              <a:defRPr sz="1960"/>
            </a:lvl3pPr>
            <a:lvl4pPr marL="451127" indent="0">
              <a:buNone/>
              <a:defRPr/>
            </a:lvl4pPr>
            <a:lvl5pPr marL="672024"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0"/>
            </a:lvl2pPr>
            <a:lvl3pPr marL="227120" indent="0">
              <a:buNone/>
              <a:tabLst/>
              <a:defRPr sz="1960"/>
            </a:lvl3pPr>
            <a:lvl4pPr marL="451127" indent="0">
              <a:buNone/>
              <a:defRPr/>
            </a:lvl4pPr>
            <a:lvl5pPr marL="672024"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8901793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566" indent="-281566">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496" indent="-228510">
              <a:defRPr sz="2352"/>
            </a:lvl2pPr>
            <a:lvl3pPr marL="685532" indent="-165035">
              <a:tabLst/>
              <a:defRPr sz="1960"/>
            </a:lvl3pPr>
            <a:lvl4pPr marL="863261" indent="-177731">
              <a:defRPr/>
            </a:lvl4pPr>
            <a:lvl5pPr marL="1028296" indent="-16503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566" indent="-281566">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496" indent="-228510">
              <a:defRPr sz="2352"/>
            </a:lvl2pPr>
            <a:lvl3pPr marL="685532" indent="-165035">
              <a:tabLst/>
              <a:defRPr sz="1960"/>
            </a:lvl3pPr>
            <a:lvl4pPr marL="863261" indent="-177731">
              <a:defRPr/>
            </a:lvl4pPr>
            <a:lvl5pPr marL="1028296" indent="-16503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18053453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566" indent="-281566">
              <a:spcBef>
                <a:spcPts val="1200"/>
              </a:spcBef>
              <a:buClr>
                <a:schemeClr val="tx1"/>
              </a:buClr>
              <a:buFont typeface="Arial" pitchFamily="34" charset="0"/>
              <a:buChar char="•"/>
              <a:defRPr sz="3135"/>
            </a:lvl1pPr>
            <a:lvl2pPr marL="520496" indent="-228510">
              <a:defRPr sz="2352"/>
            </a:lvl2pPr>
            <a:lvl3pPr marL="685532" indent="-165035">
              <a:tabLst/>
              <a:defRPr sz="1960"/>
            </a:lvl3pPr>
            <a:lvl4pPr marL="863261" indent="-177731">
              <a:defRPr/>
            </a:lvl4pPr>
            <a:lvl5pPr marL="1028296" indent="-16503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566" indent="-281566">
              <a:spcBef>
                <a:spcPts val="1200"/>
              </a:spcBef>
              <a:buClr>
                <a:schemeClr val="tx1"/>
              </a:buClr>
              <a:buFont typeface="Arial" pitchFamily="34" charset="0"/>
              <a:buChar char="•"/>
              <a:defRPr sz="3135"/>
            </a:lvl1pPr>
            <a:lvl2pPr marL="520496" indent="-228510">
              <a:defRPr sz="2352"/>
            </a:lvl2pPr>
            <a:lvl3pPr marL="685532" indent="-165035">
              <a:tabLst/>
              <a:defRPr sz="1960"/>
            </a:lvl3pPr>
            <a:lvl4pPr marL="863261" indent="-177731">
              <a:defRPr/>
            </a:lvl4pPr>
            <a:lvl5pPr marL="1028296" indent="-16503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290993475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879143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7171398" cy="1158793"/>
          </a:xfrm>
          <a:noFill/>
        </p:spPr>
        <p:txBody>
          <a:bodyPr wrap="square" tIns="91440" bIns="91440" anchor="t" anchorCtr="0">
            <a:spAutoFit/>
          </a:bodyPr>
          <a:lstStyle>
            <a:lvl1pPr>
              <a:defRPr sz="7055"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604953" y="298255"/>
            <a:ext cx="4322760" cy="6275864"/>
          </a:xfrm>
          <a:prstGeom prst="rect">
            <a:avLst/>
          </a:prstGeom>
        </p:spPr>
      </p:pic>
      <p:sp>
        <p:nvSpPr>
          <p:cNvPr id="8"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5995" rtl="0" eaLnBrk="1" latinLnBrk="0" hangingPunct="1"/>
            <a:r>
              <a:rPr lang="en-US" sz="1028" b="0" kern="1200" spc="147" baseline="0" dirty="0">
                <a:gradFill>
                  <a:gsLst>
                    <a:gs pos="0">
                      <a:schemeClr val="tx1">
                        <a:alpha val="50000"/>
                      </a:schemeClr>
                    </a:gs>
                    <a:gs pos="86000">
                      <a:schemeClr val="tx1">
                        <a:alpha val="50000"/>
                      </a:schemeClr>
                    </a:gs>
                  </a:gsLst>
                  <a:lin ang="5400000" scaled="0"/>
                </a:gradFill>
                <a:latin typeface="+mn-lt"/>
                <a:ea typeface="+mn-ea"/>
                <a:cs typeface="+mn-cs"/>
              </a:rPr>
              <a:t> </a:t>
            </a:r>
          </a:p>
        </p:txBody>
      </p:sp>
    </p:spTree>
    <p:extLst>
      <p:ext uri="{BB962C8B-B14F-4D97-AF65-F5344CB8AC3E}">
        <p14:creationId xmlns:p14="http://schemas.microsoft.com/office/powerpoint/2010/main" val="15226361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45716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4481416" cy="1158793"/>
          </a:xfrm>
          <a:noFill/>
        </p:spPr>
        <p:txBody>
          <a:bodyPr wrap="square" tIns="91440" bIns="91440" anchor="t" anchorCtr="0">
            <a:spAutoFit/>
          </a:bodyPr>
          <a:lstStyle>
            <a:lvl1pPr>
              <a:defRPr sz="7055" spc="-98"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23" y="3343635"/>
            <a:ext cx="12191377" cy="3043622"/>
          </a:xfrm>
          <a:prstGeom prst="rect">
            <a:avLst/>
          </a:prstGeom>
        </p:spPr>
      </p:pic>
      <p:sp>
        <p:nvSpPr>
          <p:cNvPr id="5"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5995" rtl="0" eaLnBrk="1" latinLnBrk="0" hangingPunct="1"/>
            <a:r>
              <a:rPr lang="en-US" sz="1028" b="0" kern="1200" spc="147" baseline="0" dirty="0">
                <a:gradFill>
                  <a:gsLst>
                    <a:gs pos="0">
                      <a:schemeClr val="tx1">
                        <a:alpha val="50000"/>
                      </a:schemeClr>
                    </a:gs>
                    <a:gs pos="86000">
                      <a:schemeClr val="tx1">
                        <a:alpha val="50000"/>
                      </a:schemeClr>
                    </a:gs>
                  </a:gsLst>
                  <a:lin ang="5400000" scaled="0"/>
                </a:gradFill>
                <a:latin typeface="+mn-lt"/>
                <a:ea typeface="+mn-ea"/>
                <a:cs typeface="+mn-cs"/>
              </a:rPr>
              <a:t> </a:t>
            </a:r>
          </a:p>
        </p:txBody>
      </p:sp>
    </p:spTree>
    <p:extLst>
      <p:ext uri="{BB962C8B-B14F-4D97-AF65-F5344CB8AC3E}">
        <p14:creationId xmlns:p14="http://schemas.microsoft.com/office/powerpoint/2010/main" val="30833410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129986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376691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Fact Layout_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0" baseline="0"/>
            </a:lvl1pPr>
          </a:lstStyle>
          <a:p>
            <a:r>
              <a:rPr lang="en-US" dirty="0"/>
              <a:t>Click to edit Master title style</a:t>
            </a:r>
          </a:p>
        </p:txBody>
      </p:sp>
      <p:sp>
        <p:nvSpPr>
          <p:cNvPr id="3"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5995" rtl="0" eaLnBrk="1" latinLnBrk="0" hangingPunct="1"/>
            <a:r>
              <a:rPr lang="en-US" sz="1028" b="0" kern="1200" spc="147" baseline="0" dirty="0">
                <a:gradFill>
                  <a:gsLst>
                    <a:gs pos="0">
                      <a:schemeClr val="tx1">
                        <a:alpha val="50000"/>
                      </a:schemeClr>
                    </a:gs>
                    <a:gs pos="86000">
                      <a:schemeClr val="tx1">
                        <a:alpha val="50000"/>
                      </a:schemeClr>
                    </a:gs>
                  </a:gsLst>
                  <a:lin ang="5400000" scaled="0"/>
                </a:gradFill>
                <a:latin typeface="+mn-lt"/>
                <a:ea typeface="+mn-ea"/>
                <a:cs typeface="+mn-cs"/>
              </a:rPr>
              <a:t> </a:t>
            </a:r>
          </a:p>
        </p:txBody>
      </p:sp>
    </p:spTree>
    <p:extLst>
      <p:ext uri="{BB962C8B-B14F-4D97-AF65-F5344CB8AC3E}">
        <p14:creationId xmlns:p14="http://schemas.microsoft.com/office/powerpoint/2010/main" val="20318970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Quote Layout_Accent Color 2">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5" y="2084174"/>
            <a:ext cx="9860672" cy="899665"/>
          </a:xfrm>
        </p:spPr>
        <p:txBody>
          <a:bodyPr/>
          <a:lstStyle>
            <a:lvl1pPr marL="276898" indent="-276898">
              <a:tabLst>
                <a:tab pos="276898" algn="l"/>
              </a:tabLst>
              <a:defRPr sz="588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lgn="r">
              <a:spcBef>
                <a:spcPts val="0"/>
              </a:spcBef>
              <a:buNone/>
              <a:defRPr sz="3135"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8523564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8"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41325472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
        <p:nvSpPr>
          <p:cNvPr id="2"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35460910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8219284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4" tIns="45704" rIns="45704" bIns="45704" numCol="1" spcCol="0" rtlCol="0" fromWordArt="0" anchor="ctr" anchorCtr="0" forceAA="0" compatLnSpc="1">
            <a:prstTxWarp prst="textNoShape">
              <a:avLst/>
            </a:prstTxWarp>
            <a:noAutofit/>
          </a:bodyPr>
          <a:lstStyle/>
          <a:p>
            <a:pPr algn="ctr" defTabSz="913741" fontAlgn="base">
              <a:spcBef>
                <a:spcPct val="0"/>
              </a:spcBef>
              <a:spcAft>
                <a:spcPct val="0"/>
              </a:spcAft>
            </a:pPr>
            <a:endParaRPr lang="en-US" sz="2156"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0" y="1197323"/>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1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8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86943162"/>
      </p:ext>
    </p:extLst>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Closing logo slide_color">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1617"/>
            <a:ext cx="11653522" cy="395317"/>
          </a:xfrm>
          <a:prstGeom prst="rect">
            <a:avLst/>
          </a:prstGeom>
          <a:noFill/>
          <a:ln w="12700">
            <a:noFill/>
            <a:miter lim="800000"/>
            <a:headEnd type="none" w="sm" len="sm"/>
            <a:tailEnd type="none" w="sm" len="sm"/>
          </a:ln>
          <a:effectLst/>
        </p:spPr>
        <p:txBody>
          <a:bodyPr vert="horz" wrap="square" lIns="179212" tIns="143371" rIns="179212" bIns="143371" numCol="1" anchor="t" anchorCtr="0" compatLnSpc="1">
            <a:prstTxWarp prst="textNoShape">
              <a:avLst/>
            </a:prstTxWarp>
            <a:spAutoFit/>
          </a:bodyPr>
          <a:lstStyle/>
          <a:p>
            <a:pPr defTabSz="913561"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7325160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4247392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396047"/>
          </a:xfrm>
          <a:prstGeom prst="rect">
            <a:avLst/>
          </a:prstGeom>
        </p:spPr>
        <p:txBody>
          <a:bodyPr/>
          <a:lstStyle>
            <a:lvl1pPr marL="284677" indent="-284677">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0" indent="-275343">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697" indent="-284677">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04" indent="-224008">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13" indent="-224008">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924701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806659536"/>
      </p:ext>
    </p:extLst>
  </p:cSld>
  <p:clrMapOvr>
    <a:overrideClrMapping bg1="dk1" tx1="lt1" bg2="dk2" tx2="lt2" accent1="accent1" accent2="accent2" accent3="accent3" accent4="accent4" accent5="accent5" accent6="accent6" hlink="hlink" folHlink="folHlink"/>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7126226"/>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userDrawn="1">
  <p:cSld name="1_Title Slide 1">
    <p:spTree>
      <p:nvGrpSpPr>
        <p:cNvPr id="1" name=""/>
        <p:cNvGrpSpPr/>
        <p:nvPr/>
      </p:nvGrpSpPr>
      <p:grpSpPr>
        <a:xfrm>
          <a:off x="0" y="0"/>
          <a:ext cx="0" cy="0"/>
          <a:chOff x="0" y="0"/>
          <a:chExt cx="0" cy="0"/>
        </a:xfrm>
      </p:grpSpPr>
      <p:sp>
        <p:nvSpPr>
          <p:cNvPr id="7" name="Rectangle 6"/>
          <p:cNvSpPr/>
          <p:nvPr userDrawn="1"/>
        </p:nvSpPr>
        <p:spPr bwMode="auto">
          <a:xfrm>
            <a:off x="1" y="2021398"/>
            <a:ext cx="12192000" cy="3765518"/>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ctr" defTabSz="913741"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636860" y="79373"/>
            <a:ext cx="4555141" cy="6791497"/>
          </a:xfrm>
          <a:prstGeom prst="rect">
            <a:avLst/>
          </a:prstGeom>
        </p:spPr>
      </p:pic>
      <p:pic>
        <p:nvPicPr>
          <p:cNvPr id="4" name="Picture 4"/>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bwMode="invGray">
          <a:xfrm>
            <a:off x="449770" y="471626"/>
            <a:ext cx="1702585" cy="36422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2"/>
          </p:nvPr>
        </p:nvSpPr>
        <p:spPr>
          <a:xfrm>
            <a:off x="271105" y="4263287"/>
            <a:ext cx="6273418" cy="1239992"/>
          </a:xfrm>
          <a:noFill/>
        </p:spPr>
        <p:txBody>
          <a:bodyPr tIns="109728" bIns="109728">
            <a:noAutofit/>
          </a:bodyPr>
          <a:lstStyle>
            <a:lvl1pPr marL="0" indent="0">
              <a:spcBef>
                <a:spcPts val="0"/>
              </a:spcBef>
              <a:buNone/>
              <a:defRPr sz="3527" spc="0" baseline="0">
                <a:gradFill>
                  <a:gsLst>
                    <a:gs pos="0">
                      <a:srgbClr val="FFFFFF"/>
                    </a:gs>
                    <a:gs pos="100000">
                      <a:srgbClr val="FFFFFF"/>
                    </a:gs>
                  </a:gsLst>
                  <a:lin ang="5400000" scaled="0"/>
                </a:gradFill>
                <a:latin typeface="+mj-lt"/>
              </a:defRPr>
            </a:lvl1pPr>
          </a:lstStyle>
          <a:p>
            <a:pPr lvl="0"/>
            <a:r>
              <a:rPr lang="en-US"/>
              <a:t>Click to edit Master text styles</a:t>
            </a:r>
          </a:p>
        </p:txBody>
      </p:sp>
      <p:sp>
        <p:nvSpPr>
          <p:cNvPr id="9" name="Title 1"/>
          <p:cNvSpPr>
            <a:spLocks noGrp="1"/>
          </p:cNvSpPr>
          <p:nvPr>
            <p:ph type="title"/>
          </p:nvPr>
        </p:nvSpPr>
        <p:spPr>
          <a:xfrm>
            <a:off x="269304" y="2291187"/>
            <a:ext cx="6491234" cy="1972099"/>
          </a:xfrm>
          <a:noFill/>
        </p:spPr>
        <p:txBody>
          <a:bodyPr anchorCtr="0"/>
          <a:lstStyle>
            <a:lvl1pPr>
              <a:defRPr sz="5880" spc="-98" baseline="0">
                <a:gradFill>
                  <a:gsLst>
                    <a:gs pos="0">
                      <a:srgbClr val="FFFFFF"/>
                    </a:gs>
                    <a:gs pos="100000">
                      <a:srgbClr val="FFFFFF"/>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948171613"/>
      </p:ext>
    </p:extLst>
  </p:cSld>
  <p:clrMapOvr>
    <a:masterClrMapping/>
  </p:clrMapOvr>
  <p:transition spd="slow"/>
</p:sldLayout>
</file>

<file path=ppt/slideLayouts/slideLayout354.xml><?xml version="1.0" encoding="utf-8"?>
<p:sldLayout xmlns:a="http://schemas.openxmlformats.org/drawingml/2006/main" xmlns:r="http://schemas.openxmlformats.org/officeDocument/2006/relationships" xmlns:p="http://schemas.openxmlformats.org/presentationml/2006/main" userDrawn="1">
  <p:cSld name="1_Title Slide Europe ">
    <p:spTree>
      <p:nvGrpSpPr>
        <p:cNvPr id="1" name=""/>
        <p:cNvGrpSpPr/>
        <p:nvPr/>
      </p:nvGrpSpPr>
      <p:grpSpPr>
        <a:xfrm>
          <a:off x="0" y="0"/>
          <a:ext cx="0" cy="0"/>
          <a:chOff x="0" y="0"/>
          <a:chExt cx="0" cy="0"/>
        </a:xfrm>
      </p:grpSpPr>
      <p:sp>
        <p:nvSpPr>
          <p:cNvPr id="100" name="Rectangle 99"/>
          <p:cNvSpPr/>
          <p:nvPr userDrawn="1"/>
        </p:nvSpPr>
        <p:spPr bwMode="auto">
          <a:xfrm>
            <a:off x="269239" y="3866380"/>
            <a:ext cx="8964248" cy="179310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220647" y="3866380"/>
            <a:ext cx="3012841" cy="179310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69239" y="2084175"/>
            <a:ext cx="8964248" cy="17931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3" y="2084188"/>
            <a:ext cx="8964185" cy="999056"/>
          </a:xfrm>
          <a:noFill/>
        </p:spPr>
        <p:txBody>
          <a:bodyPr lIns="146304" tIns="91440" rIns="146304" bIns="91440" anchor="t" anchorCtr="0"/>
          <a:lstStyle>
            <a:lvl1pPr>
              <a:defRPr sz="5879" spc="-98"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4"/>
            <a:ext cx="5951344" cy="1792326"/>
          </a:xfrm>
          <a:noFill/>
        </p:spPr>
        <p:txBody>
          <a:bodyPr lIns="182880" tIns="146304" rIns="182880" bIns="146304">
            <a:noAutofit/>
          </a:bodyPr>
          <a:lstStyle>
            <a:lvl1pPr marL="0" indent="0">
              <a:spcBef>
                <a:spcPts val="0"/>
              </a:spcBef>
              <a:buNone/>
              <a:defRPr sz="3527" spc="0" baseline="0">
                <a:gradFill>
                  <a:gsLst>
                    <a:gs pos="0">
                      <a:schemeClr val="bg2"/>
                    </a:gs>
                    <a:gs pos="100000">
                      <a:schemeClr val="bg2"/>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49323" y="6087148"/>
            <a:ext cx="1522405" cy="326167"/>
          </a:xfrm>
          <a:prstGeom prst="rect">
            <a:avLst/>
          </a:prstGeom>
        </p:spPr>
      </p:pic>
      <p:grpSp>
        <p:nvGrpSpPr>
          <p:cNvPr id="98" name="Group 97"/>
          <p:cNvGrpSpPr/>
          <p:nvPr userDrawn="1"/>
        </p:nvGrpSpPr>
        <p:grpSpPr>
          <a:xfrm>
            <a:off x="6996387" y="4030595"/>
            <a:ext cx="1461360" cy="1486471"/>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grpSp>
    </p:spTree>
    <p:extLst>
      <p:ext uri="{BB962C8B-B14F-4D97-AF65-F5344CB8AC3E}">
        <p14:creationId xmlns:p14="http://schemas.microsoft.com/office/powerpoint/2010/main" val="1189926679"/>
      </p:ext>
    </p:extLst>
  </p:cSld>
  <p:clrMapOvr>
    <a:masterClrMapping/>
  </p:clrMapOvr>
  <p:extLst>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FF4135B-C3B5-4634-BAA2-9D535D191B13}" type="datetimeFigureOut">
              <a:rPr lang="en-US" smtClean="0"/>
              <a:t>5/11/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49C4A6-61B5-4631-8D99-8B0E006EB3E8}" type="slidenum">
              <a:rPr lang="en-US" smtClean="0"/>
              <a:t>‹#›</a:t>
            </a:fld>
            <a:endParaRPr lang="en-US"/>
          </a:p>
        </p:txBody>
      </p:sp>
    </p:spTree>
    <p:extLst>
      <p:ext uri="{BB962C8B-B14F-4D97-AF65-F5344CB8AC3E}">
        <p14:creationId xmlns:p14="http://schemas.microsoft.com/office/powerpoint/2010/main" val="1603389338"/>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40"/>
            <a:ext cx="10515600" cy="2852737"/>
          </a:xfrm>
        </p:spPr>
        <p:txBody>
          <a:bodyPr anchor="b"/>
          <a:lstStyle>
            <a:lvl1pPr>
              <a:defRPr sz="5996"/>
            </a:lvl1pPr>
          </a:lstStyle>
          <a:p>
            <a:r>
              <a:rPr lang="en-US"/>
              <a:t>Click to edit Master title style</a:t>
            </a:r>
          </a:p>
        </p:txBody>
      </p:sp>
      <p:sp>
        <p:nvSpPr>
          <p:cNvPr id="3" name="Text Placeholder 2"/>
          <p:cNvSpPr>
            <a:spLocks noGrp="1"/>
          </p:cNvSpPr>
          <p:nvPr>
            <p:ph type="body" idx="1"/>
          </p:nvPr>
        </p:nvSpPr>
        <p:spPr>
          <a:xfrm>
            <a:off x="831850" y="4589465"/>
            <a:ext cx="10515600" cy="513385"/>
          </a:xfrm>
        </p:spPr>
        <p:txBody>
          <a:bodyPr/>
          <a:lstStyle>
            <a:lvl1pPr marL="0" indent="0">
              <a:buNone/>
              <a:defRPr sz="2399">
                <a:solidFill>
                  <a:schemeClr val="tx1">
                    <a:tint val="75000"/>
                  </a:schemeClr>
                </a:solidFill>
              </a:defRPr>
            </a:lvl1pPr>
            <a:lvl2pPr marL="456976" indent="0">
              <a:buNone/>
              <a:defRPr sz="1999">
                <a:solidFill>
                  <a:schemeClr val="tx1">
                    <a:tint val="75000"/>
                  </a:schemeClr>
                </a:solidFill>
              </a:defRPr>
            </a:lvl2pPr>
            <a:lvl3pPr marL="913950" indent="0">
              <a:buNone/>
              <a:defRPr sz="1799">
                <a:solidFill>
                  <a:schemeClr val="tx1">
                    <a:tint val="75000"/>
                  </a:schemeClr>
                </a:solidFill>
              </a:defRPr>
            </a:lvl3pPr>
            <a:lvl4pPr marL="1370926" indent="0">
              <a:buNone/>
              <a:defRPr sz="1600">
                <a:solidFill>
                  <a:schemeClr val="tx1">
                    <a:tint val="75000"/>
                  </a:schemeClr>
                </a:solidFill>
              </a:defRPr>
            </a:lvl4pPr>
            <a:lvl5pPr marL="1827900" indent="0">
              <a:buNone/>
              <a:defRPr sz="1600">
                <a:solidFill>
                  <a:schemeClr val="tx1">
                    <a:tint val="75000"/>
                  </a:schemeClr>
                </a:solidFill>
              </a:defRPr>
            </a:lvl5pPr>
            <a:lvl6pPr marL="2284875" indent="0">
              <a:buNone/>
              <a:defRPr sz="1600">
                <a:solidFill>
                  <a:schemeClr val="tx1">
                    <a:tint val="75000"/>
                  </a:schemeClr>
                </a:solidFill>
              </a:defRPr>
            </a:lvl6pPr>
            <a:lvl7pPr marL="2741850" indent="0">
              <a:buNone/>
              <a:defRPr sz="1600">
                <a:solidFill>
                  <a:schemeClr val="tx1">
                    <a:tint val="75000"/>
                  </a:schemeClr>
                </a:solidFill>
              </a:defRPr>
            </a:lvl7pPr>
            <a:lvl8pPr marL="3198826" indent="0">
              <a:buNone/>
              <a:defRPr sz="1600">
                <a:solidFill>
                  <a:schemeClr val="tx1">
                    <a:tint val="75000"/>
                  </a:schemeClr>
                </a:solidFill>
              </a:defRPr>
            </a:lvl8pPr>
            <a:lvl9pPr marL="36558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7FF4135B-C3B5-4634-BAA2-9D535D191B13}" type="datetimeFigureOut">
              <a:rPr lang="en-US" smtClean="0"/>
              <a:t>5/11/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49C4A6-61B5-4631-8D99-8B0E006EB3E8}" type="slidenum">
              <a:rPr lang="en-US" smtClean="0"/>
              <a:t>‹#›</a:t>
            </a:fld>
            <a:endParaRPr lang="en-US"/>
          </a:p>
        </p:txBody>
      </p:sp>
    </p:spTree>
    <p:extLst>
      <p:ext uri="{BB962C8B-B14F-4D97-AF65-F5344CB8AC3E}">
        <p14:creationId xmlns:p14="http://schemas.microsoft.com/office/powerpoint/2010/main" val="2515307075"/>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1" y="1189178"/>
            <a:ext cx="11655840" cy="1984886"/>
          </a:xfrm>
        </p:spPr>
        <p:txBody>
          <a:bodyPr/>
          <a:lstStyle>
            <a:lvl1pPr marL="0" indent="0">
              <a:buNone/>
              <a:defRPr/>
            </a:lvl1pPr>
            <a:lvl2pPr marL="27998" indent="0">
              <a:buNone/>
              <a:defRPr sz="1960"/>
            </a:lvl2pPr>
            <a:lvl3pPr marL="219320" indent="0">
              <a:buNone/>
              <a:defRPr sz="1960"/>
            </a:lvl3pPr>
            <a:lvl4pPr marL="466638" indent="0">
              <a:buNone/>
              <a:defRPr sz="1764"/>
            </a:lvl4pPr>
            <a:lvl5pPr marL="724844" indent="0">
              <a:buNone/>
              <a:defRPr sz="1764"/>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19595561"/>
      </p:ext>
    </p:extLst>
  </p:cSld>
  <p:clrMapOvr>
    <a:masterClrMapping/>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userDrawn="1">
  <p:cSld name="1_diagrams slide with breadcrumb and subhead">
    <p:spTree>
      <p:nvGrpSpPr>
        <p:cNvPr id="1" name=""/>
        <p:cNvGrpSpPr/>
        <p:nvPr/>
      </p:nvGrpSpPr>
      <p:grpSpPr>
        <a:xfrm>
          <a:off x="0" y="0"/>
          <a:ext cx="0" cy="0"/>
          <a:chOff x="0" y="0"/>
          <a:chExt cx="0" cy="0"/>
        </a:xfrm>
      </p:grpSpPr>
      <p:sp>
        <p:nvSpPr>
          <p:cNvPr id="4" name="Rectangle 3"/>
          <p:cNvSpPr/>
          <p:nvPr userDrawn="1"/>
        </p:nvSpPr>
        <p:spPr bwMode="auto">
          <a:xfrm>
            <a:off x="1" y="1848718"/>
            <a:ext cx="12192000" cy="5009282"/>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1" rIns="0" bIns="46611" numCol="1" rtlCol="0" anchor="ctr" anchorCtr="0" compatLnSpc="1">
            <a:prstTxWarp prst="textNoShape">
              <a:avLst/>
            </a:prstTxWarp>
          </a:bodyPr>
          <a:lstStyle/>
          <a:p>
            <a:pPr marL="0" marR="0" lvl="0" indent="0" algn="ctr" defTabSz="931924"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2" name="Title 1"/>
          <p:cNvSpPr>
            <a:spLocks noGrp="1"/>
          </p:cNvSpPr>
          <p:nvPr>
            <p:ph type="title"/>
          </p:nvPr>
        </p:nvSpPr>
        <p:spPr>
          <a:xfrm>
            <a:off x="269242" y="672854"/>
            <a:ext cx="11655078" cy="747641"/>
          </a:xfrm>
        </p:spPr>
        <p:txBody>
          <a:bodyPr/>
          <a:lstStyle/>
          <a:p>
            <a:r>
              <a:rPr lang="en-US" dirty="0"/>
              <a:t>Click to edit Master title style</a:t>
            </a:r>
          </a:p>
        </p:txBody>
      </p:sp>
      <p:sp>
        <p:nvSpPr>
          <p:cNvPr id="6" name="Text Placeholder 5"/>
          <p:cNvSpPr>
            <a:spLocks noGrp="1"/>
          </p:cNvSpPr>
          <p:nvPr>
            <p:ph type="body" sz="quarter" idx="10" hasCustomPrompt="1"/>
          </p:nvPr>
        </p:nvSpPr>
        <p:spPr>
          <a:xfrm>
            <a:off x="269240" y="289767"/>
            <a:ext cx="11653523" cy="402674"/>
          </a:xfrm>
        </p:spPr>
        <p:txBody>
          <a:bodyPr/>
          <a:lstStyle>
            <a:lvl1pPr marL="0" indent="0">
              <a:buNone/>
              <a:defRPr sz="1600" b="1">
                <a:solidFill>
                  <a:schemeClr val="accent4"/>
                </a:solidFill>
                <a:latin typeface="+mn-lt"/>
              </a:defRPr>
            </a:lvl1pPr>
            <a:lvl2pPr marL="0" indent="0">
              <a:buFontTx/>
              <a:buNone/>
              <a:defRPr sz="1960"/>
            </a:lvl2pPr>
            <a:lvl3pPr marL="223966" indent="0">
              <a:buNone/>
              <a:defRPr/>
            </a:lvl3pPr>
            <a:lvl4pPr marL="447928" indent="0">
              <a:buNone/>
              <a:defRPr/>
            </a:lvl4pPr>
            <a:lvl5pPr marL="671895" indent="0">
              <a:buNone/>
              <a:defRPr/>
            </a:lvl5pPr>
          </a:lstStyle>
          <a:p>
            <a:pPr lvl="0"/>
            <a:r>
              <a:rPr lang="en-US" dirty="0"/>
              <a:t>CHAPTER TITLE BREADCRUM</a:t>
            </a:r>
          </a:p>
        </p:txBody>
      </p:sp>
      <p:sp>
        <p:nvSpPr>
          <p:cNvPr id="5" name="Text Placeholder 3"/>
          <p:cNvSpPr>
            <a:spLocks noGrp="1"/>
          </p:cNvSpPr>
          <p:nvPr>
            <p:ph type="body" sz="quarter" idx="11" hasCustomPrompt="1"/>
          </p:nvPr>
        </p:nvSpPr>
        <p:spPr>
          <a:xfrm>
            <a:off x="269240" y="1319887"/>
            <a:ext cx="11653523" cy="485660"/>
          </a:xfrm>
        </p:spPr>
        <p:txBody>
          <a:bodyPr>
            <a:spAutoFit/>
          </a:bodyPr>
          <a:lstStyle>
            <a:lvl1pPr marL="0" indent="0">
              <a:buNone/>
              <a:defRPr sz="2199" b="0">
                <a:solidFill>
                  <a:schemeClr val="accent2"/>
                </a:solidFill>
                <a:latin typeface="+mn-lt"/>
              </a:defRPr>
            </a:lvl1pPr>
            <a:lvl2pPr marL="335948" indent="0">
              <a:buNone/>
              <a:defRPr/>
            </a:lvl2pPr>
            <a:lvl3pPr marL="559911" indent="0">
              <a:buNone/>
              <a:defRPr/>
            </a:lvl3pPr>
            <a:lvl4pPr marL="783876" indent="0">
              <a:buNone/>
              <a:defRPr/>
            </a:lvl4pPr>
            <a:lvl5pPr marL="1007842" indent="0">
              <a:buNone/>
              <a:defRPr/>
            </a:lvl5pPr>
          </a:lstStyle>
          <a:p>
            <a:pPr lvl="0"/>
            <a:r>
              <a:rPr lang="en-US" dirty="0"/>
              <a:t>Subhead</a:t>
            </a:r>
          </a:p>
        </p:txBody>
      </p:sp>
    </p:spTree>
    <p:extLst>
      <p:ext uri="{BB962C8B-B14F-4D97-AF65-F5344CB8AC3E}">
        <p14:creationId xmlns:p14="http://schemas.microsoft.com/office/powerpoint/2010/main" val="669318491"/>
      </p:ext>
    </p:extLst>
  </p:cSld>
  <p:clrMapOvr>
    <a:masterClrMapping/>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userDrawn="1">
  <p:cSld name="1_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4"/>
            <a:ext cx="11653834" cy="896518"/>
          </a:xfrm>
        </p:spPr>
        <p:txBody>
          <a:bodyPr/>
          <a:lstStyle>
            <a:lvl1pPr>
              <a:defRPr sz="5682">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41" y="1663939"/>
            <a:ext cx="10757099" cy="1865318"/>
          </a:xfrm>
        </p:spPr>
        <p:txBody>
          <a:bodyPr/>
          <a:lstStyle>
            <a:lvl1pPr>
              <a:defRPr sz="2548">
                <a:gradFill>
                  <a:gsLst>
                    <a:gs pos="1250">
                      <a:schemeClr val="tx1"/>
                    </a:gs>
                    <a:gs pos="100000">
                      <a:schemeClr val="tx1"/>
                    </a:gs>
                  </a:gsLst>
                  <a:lin ang="5400000" scaled="0"/>
                </a:gradFill>
                <a:latin typeface="+mn-lt"/>
              </a:defRPr>
            </a:lvl1pPr>
            <a:lvl2pPr>
              <a:defRPr sz="2352"/>
            </a:lvl2pPr>
            <a:lvl3pPr>
              <a:defRPr sz="1960"/>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42037020"/>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2015022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991691"/>
            <a:ext cx="5157788" cy="513385"/>
          </a:xfrm>
        </p:spPr>
        <p:txBody>
          <a:bodyPr anchor="b"/>
          <a:lstStyle>
            <a:lvl1pPr marL="0" indent="0">
              <a:buNone/>
              <a:defRPr sz="2399" b="1"/>
            </a:lvl1pPr>
            <a:lvl2pPr marL="456976" indent="0">
              <a:buNone/>
              <a:defRPr sz="1999" b="1"/>
            </a:lvl2pPr>
            <a:lvl3pPr marL="913950" indent="0">
              <a:buNone/>
              <a:defRPr sz="1799" b="1"/>
            </a:lvl3pPr>
            <a:lvl4pPr marL="1370926" indent="0">
              <a:buNone/>
              <a:defRPr sz="1600" b="1"/>
            </a:lvl4pPr>
            <a:lvl5pPr marL="1827900" indent="0">
              <a:buNone/>
              <a:defRPr sz="1600" b="1"/>
            </a:lvl5pPr>
            <a:lvl6pPr marL="2284875" indent="0">
              <a:buNone/>
              <a:defRPr sz="1600" b="1"/>
            </a:lvl6pPr>
            <a:lvl7pPr marL="2741850" indent="0">
              <a:buNone/>
              <a:defRPr sz="1600" b="1"/>
            </a:lvl7pPr>
            <a:lvl8pPr marL="3198826" indent="0">
              <a:buNone/>
              <a:defRPr sz="1600" b="1"/>
            </a:lvl8pPr>
            <a:lvl9pPr marL="36558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8" cy="20512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1" y="1991691"/>
            <a:ext cx="5183188" cy="513385"/>
          </a:xfrm>
        </p:spPr>
        <p:txBody>
          <a:bodyPr anchor="b"/>
          <a:lstStyle>
            <a:lvl1pPr marL="0" indent="0">
              <a:buNone/>
              <a:defRPr sz="2399" b="1"/>
            </a:lvl1pPr>
            <a:lvl2pPr marL="456976" indent="0">
              <a:buNone/>
              <a:defRPr sz="1999" b="1"/>
            </a:lvl2pPr>
            <a:lvl3pPr marL="913950" indent="0">
              <a:buNone/>
              <a:defRPr sz="1799" b="1"/>
            </a:lvl3pPr>
            <a:lvl4pPr marL="1370926" indent="0">
              <a:buNone/>
              <a:defRPr sz="1600" b="1"/>
            </a:lvl4pPr>
            <a:lvl5pPr marL="1827900" indent="0">
              <a:buNone/>
              <a:defRPr sz="1600" b="1"/>
            </a:lvl5pPr>
            <a:lvl6pPr marL="2284875" indent="0">
              <a:buNone/>
              <a:defRPr sz="1600" b="1"/>
            </a:lvl6pPr>
            <a:lvl7pPr marL="2741850" indent="0">
              <a:buNone/>
              <a:defRPr sz="1600" b="1"/>
            </a:lvl7pPr>
            <a:lvl8pPr marL="3198826" indent="0">
              <a:buNone/>
              <a:defRPr sz="1600" b="1"/>
            </a:lvl8pPr>
            <a:lvl9pPr marL="3655800" indent="0">
              <a:buNone/>
              <a:defRPr sz="1600" b="1"/>
            </a:lvl9pPr>
          </a:lstStyle>
          <a:p>
            <a:pPr lvl="0"/>
            <a:r>
              <a:rPr lang="en-US"/>
              <a:t>Edit Master text styles</a:t>
            </a:r>
          </a:p>
        </p:txBody>
      </p:sp>
      <p:sp>
        <p:nvSpPr>
          <p:cNvPr id="6" name="Content Placeholder 5"/>
          <p:cNvSpPr>
            <a:spLocks noGrp="1"/>
          </p:cNvSpPr>
          <p:nvPr>
            <p:ph sz="quarter" idx="4"/>
          </p:nvPr>
        </p:nvSpPr>
        <p:spPr>
          <a:xfrm>
            <a:off x="6172201" y="2505075"/>
            <a:ext cx="5183188" cy="20512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FF4135B-C3B5-4634-BAA2-9D535D191B13}" type="datetimeFigureOut">
              <a:rPr lang="en-US" smtClean="0"/>
              <a:t>5/11/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449C4A6-61B5-4631-8D99-8B0E006EB3E8}" type="slidenum">
              <a:rPr lang="en-US" smtClean="0"/>
              <a:t>‹#›</a:t>
            </a:fld>
            <a:endParaRPr lang="en-US"/>
          </a:p>
        </p:txBody>
      </p:sp>
    </p:spTree>
    <p:extLst>
      <p:ext uri="{BB962C8B-B14F-4D97-AF65-F5344CB8AC3E}">
        <p14:creationId xmlns:p14="http://schemas.microsoft.com/office/powerpoint/2010/main" val="4162847471"/>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3"/>
            <a:ext cx="8964247" cy="979755"/>
          </a:xfrm>
        </p:spPr>
        <p:txBody>
          <a:bodyPr lIns="146304" tIns="91440" rIns="146304" bIns="91440"/>
          <a:lstStyle>
            <a:lvl1pPr>
              <a:lnSpc>
                <a:spcPts val="6173"/>
              </a:lnSpc>
              <a:defRPr sz="5683" baseline="0">
                <a:solidFill>
                  <a:schemeClr val="accent1"/>
                </a:solidFill>
              </a:defRPr>
            </a:lvl1pPr>
          </a:lstStyle>
          <a:p>
            <a:r>
              <a:rPr lang="en-US"/>
              <a:t>Lorem ipsum dolor sit.</a:t>
            </a:r>
          </a:p>
        </p:txBody>
      </p:sp>
      <p:sp>
        <p:nvSpPr>
          <p:cNvPr id="3" name="Footer Placeholder 2"/>
          <p:cNvSpPr>
            <a:spLocks noGrp="1"/>
          </p:cNvSpPr>
          <p:nvPr>
            <p:ph type="ftr" sz="quarter" idx="10"/>
          </p:nvPr>
        </p:nvSpPr>
        <p:spPr>
          <a:xfrm>
            <a:off x="448212" y="6437244"/>
            <a:ext cx="3859607" cy="134483"/>
          </a:xfrm>
          <a:prstGeom prst="rect">
            <a:avLst/>
          </a:prstGeom>
        </p:spPr>
        <p:txBody>
          <a:bodyPr/>
          <a:lstStyle/>
          <a:p>
            <a:endParaRPr lang="en-US" dirty="0"/>
          </a:p>
        </p:txBody>
      </p:sp>
      <p:sp>
        <p:nvSpPr>
          <p:cNvPr id="4" name="Slide Number Placeholder 3"/>
          <p:cNvSpPr>
            <a:spLocks noGrp="1"/>
          </p:cNvSpPr>
          <p:nvPr>
            <p:ph type="sldNum" sz="quarter" idx="11"/>
          </p:nvPr>
        </p:nvSpPr>
        <p:spPr>
          <a:xfrm>
            <a:off x="11367167" y="6437244"/>
            <a:ext cx="555596" cy="134483"/>
          </a:xfrm>
          <a:prstGeom prst="rect">
            <a:avLst/>
          </a:prstGeom>
        </p:spPr>
        <p:txBody>
          <a:bodyPr/>
          <a:lstStyle/>
          <a:p>
            <a:fld id="{4FCB46E6-3407-48EA-8551-2FC832B20F73}" type="slidenum">
              <a:rPr lang="en-US" smtClean="0"/>
              <a:t>‹#›</a:t>
            </a:fld>
            <a:endParaRPr lang="en-US" dirty="0"/>
          </a:p>
        </p:txBody>
      </p:sp>
    </p:spTree>
    <p:extLst>
      <p:ext uri="{BB962C8B-B14F-4D97-AF65-F5344CB8AC3E}">
        <p14:creationId xmlns:p14="http://schemas.microsoft.com/office/powerpoint/2010/main" val="382140430"/>
      </p:ext>
    </p:extLst>
  </p:cSld>
  <p:clrMapOvr>
    <a:masterClrMapping/>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47897"/>
          </a:xfrm>
        </p:spPr>
        <p:txBody>
          <a:bodyPr/>
          <a:lstStyle>
            <a:lvl1pPr>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49" y="1447803"/>
            <a:ext cx="11151917" cy="20512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36954802"/>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4" y="1187645"/>
            <a:ext cx="11655078" cy="20512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61972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1" y="1122363"/>
            <a:ext cx="9144001" cy="2387600"/>
          </a:xfrm>
        </p:spPr>
        <p:txBody>
          <a:bodyPr anchor="b"/>
          <a:lstStyle>
            <a:lvl1pPr algn="ctr">
              <a:defRPr sz="5996"/>
            </a:lvl1pPr>
          </a:lstStyle>
          <a:p>
            <a:r>
              <a:rPr lang="en-US" dirty="0"/>
              <a:t>Click to edit Master title style</a:t>
            </a:r>
          </a:p>
        </p:txBody>
      </p:sp>
      <p:sp>
        <p:nvSpPr>
          <p:cNvPr id="3" name="Subtitle 2"/>
          <p:cNvSpPr>
            <a:spLocks noGrp="1"/>
          </p:cNvSpPr>
          <p:nvPr>
            <p:ph type="subTitle" idx="1"/>
          </p:nvPr>
        </p:nvSpPr>
        <p:spPr>
          <a:xfrm>
            <a:off x="1524001" y="3602038"/>
            <a:ext cx="9144001" cy="513385"/>
          </a:xfrm>
        </p:spPr>
        <p:txBody>
          <a:bodyPr/>
          <a:lstStyle>
            <a:lvl1pPr marL="0" indent="0" algn="ctr">
              <a:buNone/>
              <a:defRPr sz="2399"/>
            </a:lvl1pPr>
            <a:lvl2pPr marL="456976" indent="0" algn="ctr">
              <a:buNone/>
              <a:defRPr sz="1999"/>
            </a:lvl2pPr>
            <a:lvl3pPr marL="913950" indent="0" algn="ctr">
              <a:buNone/>
              <a:defRPr sz="1799"/>
            </a:lvl3pPr>
            <a:lvl4pPr marL="1370926" indent="0" algn="ctr">
              <a:buNone/>
              <a:defRPr sz="1600"/>
            </a:lvl4pPr>
            <a:lvl5pPr marL="1827900" indent="0" algn="ctr">
              <a:buNone/>
              <a:defRPr sz="1600"/>
            </a:lvl5pPr>
            <a:lvl6pPr marL="2284875" indent="0" algn="ctr">
              <a:buNone/>
              <a:defRPr sz="1600"/>
            </a:lvl6pPr>
            <a:lvl7pPr marL="2741850" indent="0" algn="ctr">
              <a:buNone/>
              <a:defRPr sz="1600"/>
            </a:lvl7pPr>
            <a:lvl8pPr marL="3198826" indent="0" algn="ctr">
              <a:buNone/>
              <a:defRPr sz="1600"/>
            </a:lvl8pPr>
            <a:lvl9pPr marL="36558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7FF4135B-C3B5-4634-BAA2-9D535D191B13}" type="datetimeFigureOut">
              <a:rPr lang="en-US" smtClean="0"/>
              <a:t>5/11/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49C4A6-61B5-4631-8D99-8B0E006EB3E8}" type="slidenum">
              <a:rPr lang="en-US" smtClean="0"/>
              <a:t>‹#›</a:t>
            </a:fld>
            <a:endParaRPr lang="en-US"/>
          </a:p>
        </p:txBody>
      </p:sp>
    </p:spTree>
    <p:extLst>
      <p:ext uri="{BB962C8B-B14F-4D97-AF65-F5344CB8AC3E}">
        <p14:creationId xmlns:p14="http://schemas.microsoft.com/office/powerpoint/2010/main" val="4113473964"/>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7" name="Content Placeholder 6"/>
          <p:cNvSpPr>
            <a:spLocks noGrp="1"/>
          </p:cNvSpPr>
          <p:nvPr>
            <p:ph sz="quarter" idx="10"/>
          </p:nvPr>
        </p:nvSpPr>
        <p:spPr>
          <a:xfrm>
            <a:off x="269239" y="1190739"/>
            <a:ext cx="11653523" cy="20512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01092362"/>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userDrawn="1">
  <p:cSld name="04Trust_Text">
    <p:spTree>
      <p:nvGrpSpPr>
        <p:cNvPr id="1" name=""/>
        <p:cNvGrpSpPr/>
        <p:nvPr/>
      </p:nvGrpSpPr>
      <p:grpSpPr>
        <a:xfrm>
          <a:off x="0" y="0"/>
          <a:ext cx="0" cy="0"/>
          <a:chOff x="0" y="0"/>
          <a:chExt cx="0" cy="0"/>
        </a:xfrm>
      </p:grpSpPr>
      <p:grpSp>
        <p:nvGrpSpPr>
          <p:cNvPr id="20" name="Group 19"/>
          <p:cNvGrpSpPr/>
          <p:nvPr userDrawn="1"/>
        </p:nvGrpSpPr>
        <p:grpSpPr>
          <a:xfrm>
            <a:off x="9743883" y="121604"/>
            <a:ext cx="1955993" cy="644102"/>
            <a:chOff x="9743882" y="121604"/>
            <a:chExt cx="1955993" cy="644102"/>
          </a:xfrm>
        </p:grpSpPr>
        <p:sp>
          <p:nvSpPr>
            <p:cNvPr id="21" name="Rectangle 20"/>
            <p:cNvSpPr/>
            <p:nvPr/>
          </p:nvSpPr>
          <p:spPr bwMode="auto">
            <a:xfrm rot="5400000">
              <a:off x="10399828" y="-534341"/>
              <a:ext cx="644102" cy="1955992"/>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pPr>
              <a:endParaRPr lang="en-US" sz="1050" dirty="0">
                <a:solidFill>
                  <a:schemeClr val="tx1">
                    <a:lumMod val="50000"/>
                  </a:schemeClr>
                </a:solidFill>
                <a:latin typeface="Segoe UI Semibold" panose="020B0702040204020203" pitchFamily="34" charset="0"/>
                <a:cs typeface="Segoe UI" pitchFamily="34" charset="0"/>
              </a:endParaRPr>
            </a:p>
          </p:txBody>
        </p:sp>
        <p:sp>
          <p:nvSpPr>
            <p:cNvPr id="22" name="Isosceles Triangle 21"/>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grpSp>
      <p:sp>
        <p:nvSpPr>
          <p:cNvPr id="23" name="Text Placeholder 3"/>
          <p:cNvSpPr>
            <a:spLocks noGrp="1"/>
          </p:cNvSpPr>
          <p:nvPr>
            <p:ph type="body" sz="quarter" idx="13" hasCustomPrompt="1"/>
          </p:nvPr>
        </p:nvSpPr>
        <p:spPr>
          <a:xfrm>
            <a:off x="9997898" y="168629"/>
            <a:ext cx="1275437" cy="550052"/>
          </a:xfrm>
        </p:spPr>
        <p:txBody>
          <a:bodyPr wrap="square" lIns="0" rIns="0" anchor="ctr" anchorCtr="0">
            <a:noAutofit/>
          </a:bodyPr>
          <a:lstStyle>
            <a:lvl1pPr marL="0" indent="0" algn="ctr" defTabSz="932013"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bg1"/>
                </a:solidFill>
                <a:latin typeface="Segoe UI Semibold" panose="020B0702040204020203" pitchFamily="34" charset="0"/>
                <a:ea typeface="Segoe UI" pitchFamily="34" charset="0"/>
                <a:cs typeface="Segoe UI" pitchFamily="34" charset="0"/>
              </a:defRPr>
            </a:lvl1pPr>
            <a:lvl2pPr marL="291957" indent="0">
              <a:buNone/>
              <a:defRPr sz="2352">
                <a:solidFill>
                  <a:schemeClr val="bg1"/>
                </a:solidFill>
                <a:latin typeface="+mn-lt"/>
              </a:defRPr>
            </a:lvl2pPr>
            <a:lvl3pPr marL="520446" indent="0">
              <a:buNone/>
              <a:tabLst/>
              <a:defRPr sz="1960">
                <a:solidFill>
                  <a:schemeClr val="bg1"/>
                </a:solidFill>
                <a:latin typeface="+mn-lt"/>
              </a:defRPr>
            </a:lvl3pPr>
            <a:lvl4pPr marL="685464" indent="0">
              <a:buNone/>
              <a:defRPr>
                <a:solidFill>
                  <a:schemeClr val="bg1"/>
                </a:solidFill>
                <a:latin typeface="+mn-lt"/>
              </a:defRPr>
            </a:lvl4pPr>
            <a:lvl5pPr marL="863179" indent="0">
              <a:buNone/>
              <a:tabLst/>
              <a:defRPr>
                <a:solidFill>
                  <a:schemeClr val="bg1"/>
                </a:solidFill>
                <a:latin typeface="+mn-lt"/>
              </a:defRPr>
            </a:lvl5pPr>
          </a:lstStyle>
          <a:p>
            <a:pPr lvl="0"/>
            <a:r>
              <a:rPr lang="en-US" dirty="0"/>
              <a:t>Preview</a:t>
            </a:r>
          </a:p>
          <a:p>
            <a:pPr lvl="0"/>
            <a:r>
              <a:rPr lang="en-US" dirty="0"/>
              <a:t>Released</a:t>
            </a:r>
          </a:p>
          <a:p>
            <a:pPr lvl="0"/>
            <a:r>
              <a:rPr lang="en-US" dirty="0"/>
              <a:t>Date</a:t>
            </a:r>
          </a:p>
        </p:txBody>
      </p:sp>
      <p:sp>
        <p:nvSpPr>
          <p:cNvPr id="6" name="Rectangle 5"/>
          <p:cNvSpPr/>
          <p:nvPr userDrawn="1"/>
        </p:nvSpPr>
        <p:spPr bwMode="auto">
          <a:xfrm>
            <a:off x="3" y="487"/>
            <a:ext cx="4264181" cy="6857514"/>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1" y="5912501"/>
            <a:ext cx="4264183" cy="69258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5" rIns="182806" bIns="146245"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269242" y="6044561"/>
            <a:ext cx="428461" cy="428460"/>
          </a:xfrm>
          <a:prstGeom prst="ellipse">
            <a:avLst/>
          </a:prstGeom>
          <a:solidFill>
            <a:srgbClr val="F8F8F8"/>
          </a:solidFill>
          <a:ln w="28575" cap="flat" cmpd="sng" algn="ctr">
            <a:solidFill>
              <a:srgbClr val="008272"/>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1834" eaLnBrk="1" fontAlgn="base" latinLnBrk="0" hangingPunct="1">
              <a:lnSpc>
                <a:spcPct val="100000"/>
              </a:lnSpc>
              <a:spcBef>
                <a:spcPct val="0"/>
              </a:spcBef>
              <a:spcAft>
                <a:spcPct val="0"/>
              </a:spcAft>
              <a:buClrTx/>
              <a:buSzTx/>
              <a:buFontTx/>
              <a:buNone/>
              <a:tabLst/>
              <a:defRPr/>
            </a:pPr>
            <a:r>
              <a:rPr kumimoji="0" lang="en-US" sz="1999" b="0" i="0" u="none" strike="noStrike" kern="0" cap="none" spc="0" normalizeH="0" baseline="0" noProof="0" dirty="0">
                <a:ln w="19050">
                  <a:noFill/>
                </a:ln>
                <a:solidFill>
                  <a:srgbClr val="008272"/>
                </a:solidFill>
                <a:effectLst/>
                <a:uLnTx/>
                <a:uFillTx/>
                <a:latin typeface="Segoe UI"/>
                <a:ea typeface="Segoe UI" pitchFamily="34" charset="0"/>
                <a:cs typeface="Segoe UI" pitchFamily="34" charset="0"/>
                <a:sym typeface="Wingdings" panose="05000000000000000000" pitchFamily="2" charset="2"/>
              </a:rPr>
              <a:t></a:t>
            </a:r>
            <a:endParaRPr kumimoji="0" lang="en-US" sz="1999" b="0" i="0" u="none" strike="noStrike" kern="0" cap="none" spc="0" normalizeH="0" baseline="0" noProof="0" dirty="0">
              <a:ln w="19050">
                <a:noFill/>
              </a:ln>
              <a:solidFill>
                <a:srgbClr val="008272"/>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69240" y="289513"/>
            <a:ext cx="3780246" cy="1107739"/>
          </a:xfrm>
        </p:spPr>
        <p:txBody>
          <a:bodyPr/>
          <a:lstStyle>
            <a:lvl1pPr>
              <a:defRPr sz="3999">
                <a:solidFill>
                  <a:schemeClr val="bg1"/>
                </a:solidFill>
              </a:defRPr>
            </a:lvl1pPr>
          </a:lstStyle>
          <a:p>
            <a:r>
              <a:rPr lang="en-US" dirty="0"/>
              <a:t>Click to edit Master title style</a:t>
            </a:r>
          </a:p>
        </p:txBody>
      </p:sp>
      <p:sp>
        <p:nvSpPr>
          <p:cNvPr id="13" name="Text Placeholder 3"/>
          <p:cNvSpPr>
            <a:spLocks noGrp="1"/>
          </p:cNvSpPr>
          <p:nvPr>
            <p:ph type="body" sz="quarter" idx="10"/>
          </p:nvPr>
        </p:nvSpPr>
        <p:spPr>
          <a:xfrm>
            <a:off x="269243" y="1604088"/>
            <a:ext cx="3780245" cy="430272"/>
          </a:xfrm>
        </p:spPr>
        <p:txBody>
          <a:bodyPr wrap="square">
            <a:spAutoFit/>
          </a:bodyPr>
          <a:lstStyle>
            <a:lvl1pPr marL="0" indent="0">
              <a:spcBef>
                <a:spcPts val="1799"/>
              </a:spcBef>
              <a:buClr>
                <a:schemeClr val="tx1"/>
              </a:buClr>
              <a:buFont typeface="Arial" pitchFamily="34" charset="0"/>
              <a:buNone/>
              <a:defRPr sz="1799">
                <a:solidFill>
                  <a:schemeClr val="bg1"/>
                </a:solidFill>
                <a:latin typeface="+mn-lt"/>
              </a:defRPr>
            </a:lvl1pPr>
            <a:lvl2pPr marL="291957" indent="0">
              <a:buNone/>
              <a:defRPr sz="2352">
                <a:solidFill>
                  <a:schemeClr val="bg1"/>
                </a:solidFill>
                <a:latin typeface="+mn-lt"/>
              </a:defRPr>
            </a:lvl2pPr>
            <a:lvl3pPr marL="520446" indent="0">
              <a:buNone/>
              <a:tabLst/>
              <a:defRPr sz="1960">
                <a:solidFill>
                  <a:schemeClr val="bg1"/>
                </a:solidFill>
                <a:latin typeface="+mn-lt"/>
              </a:defRPr>
            </a:lvl3pPr>
            <a:lvl4pPr marL="685464" indent="0">
              <a:buNone/>
              <a:defRPr>
                <a:solidFill>
                  <a:schemeClr val="bg1"/>
                </a:solidFill>
                <a:latin typeface="+mn-lt"/>
              </a:defRPr>
            </a:lvl4pPr>
            <a:lvl5pPr marL="863179" indent="0">
              <a:buNone/>
              <a:tabLst/>
              <a:defRPr>
                <a:solidFill>
                  <a:schemeClr val="bg1"/>
                </a:solidFill>
                <a:latin typeface="+mn-lt"/>
              </a:defRPr>
            </a:lvl5pPr>
          </a:lstStyle>
          <a:p>
            <a:pPr lvl="0"/>
            <a:r>
              <a:rPr lang="en-US" dirty="0"/>
              <a:t>Edit Master text styles</a:t>
            </a:r>
          </a:p>
        </p:txBody>
      </p:sp>
      <p:sp>
        <p:nvSpPr>
          <p:cNvPr id="14" name="Text Placeholder 3"/>
          <p:cNvSpPr>
            <a:spLocks noGrp="1"/>
          </p:cNvSpPr>
          <p:nvPr>
            <p:ph type="body" sz="quarter" idx="11"/>
          </p:nvPr>
        </p:nvSpPr>
        <p:spPr>
          <a:xfrm>
            <a:off x="707150" y="6057454"/>
            <a:ext cx="3329638" cy="402674"/>
          </a:xfrm>
        </p:spPr>
        <p:txBody>
          <a:bodyPr wrap="square" anchor="ctr" anchorCtr="0">
            <a:spAutoFit/>
          </a:bodyPr>
          <a:lstStyle>
            <a:lvl1pPr marL="0" indent="0">
              <a:spcBef>
                <a:spcPts val="1200"/>
              </a:spcBef>
              <a:buClr>
                <a:schemeClr val="tx1"/>
              </a:buClr>
              <a:buFont typeface="Arial" pitchFamily="34" charset="0"/>
              <a:buNone/>
              <a:defRPr sz="1600">
                <a:solidFill>
                  <a:schemeClr val="tx1"/>
                </a:solidFill>
                <a:latin typeface="+mn-lt"/>
              </a:defRPr>
            </a:lvl1pPr>
            <a:lvl2pPr marL="291957" indent="0">
              <a:buNone/>
              <a:defRPr sz="2352">
                <a:solidFill>
                  <a:schemeClr val="bg1"/>
                </a:solidFill>
                <a:latin typeface="+mn-lt"/>
              </a:defRPr>
            </a:lvl2pPr>
            <a:lvl3pPr marL="520446" indent="0">
              <a:buNone/>
              <a:tabLst/>
              <a:defRPr sz="1960">
                <a:solidFill>
                  <a:schemeClr val="bg1"/>
                </a:solidFill>
                <a:latin typeface="+mn-lt"/>
              </a:defRPr>
            </a:lvl3pPr>
            <a:lvl4pPr marL="685464" indent="0">
              <a:buNone/>
              <a:defRPr>
                <a:solidFill>
                  <a:schemeClr val="bg1"/>
                </a:solidFill>
                <a:latin typeface="+mn-lt"/>
              </a:defRPr>
            </a:lvl4pPr>
            <a:lvl5pPr marL="863179" indent="0">
              <a:buNone/>
              <a:tabLst/>
              <a:defRPr>
                <a:solidFill>
                  <a:schemeClr val="bg1"/>
                </a:solidFill>
                <a:latin typeface="+mn-lt"/>
              </a:defRPr>
            </a:lvl5pPr>
          </a:lstStyle>
          <a:p>
            <a:pPr lvl="0"/>
            <a:r>
              <a:rPr lang="en-US" dirty="0"/>
              <a:t>Edit Master text styles</a:t>
            </a:r>
          </a:p>
        </p:txBody>
      </p:sp>
      <p:grpSp>
        <p:nvGrpSpPr>
          <p:cNvPr id="16" name="Group 15"/>
          <p:cNvGrpSpPr/>
          <p:nvPr userDrawn="1"/>
        </p:nvGrpSpPr>
        <p:grpSpPr>
          <a:xfrm>
            <a:off x="11378792" y="121603"/>
            <a:ext cx="644100" cy="644101"/>
            <a:chOff x="457580" y="5628520"/>
            <a:chExt cx="657017" cy="657017"/>
          </a:xfrm>
        </p:grpSpPr>
        <p:sp>
          <p:nvSpPr>
            <p:cNvPr id="17" name="Oval 16"/>
            <p:cNvSpPr/>
            <p:nvPr/>
          </p:nvSpPr>
          <p:spPr bwMode="auto">
            <a:xfrm>
              <a:off x="457580" y="5628520"/>
              <a:ext cx="657017" cy="657017"/>
            </a:xfrm>
            <a:prstGeom prst="ellipse">
              <a:avLst/>
            </a:prstGeom>
            <a:solidFill>
              <a:srgbClr val="008272"/>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3652"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18" name="Freeform 13"/>
            <p:cNvSpPr>
              <a:spLocks noChangeAspect="1" noEditPoints="1"/>
            </p:cNvSpPr>
            <p:nvPr/>
          </p:nvSpPr>
          <p:spPr bwMode="auto">
            <a:xfrm>
              <a:off x="657125" y="5818271"/>
              <a:ext cx="257926" cy="277514"/>
            </a:xfrm>
            <a:custGeom>
              <a:avLst/>
              <a:gdLst>
                <a:gd name="T0" fmla="*/ 49 w 97"/>
                <a:gd name="T1" fmla="*/ 105 h 105"/>
                <a:gd name="T2" fmla="*/ 47 w 97"/>
                <a:gd name="T3" fmla="*/ 104 h 105"/>
                <a:gd name="T4" fmla="*/ 0 w 97"/>
                <a:gd name="T5" fmla="*/ 44 h 105"/>
                <a:gd name="T6" fmla="*/ 0 w 97"/>
                <a:gd name="T7" fmla="*/ 0 h 105"/>
                <a:gd name="T8" fmla="*/ 6 w 97"/>
                <a:gd name="T9" fmla="*/ 4 h 105"/>
                <a:gd name="T10" fmla="*/ 26 w 97"/>
                <a:gd name="T11" fmla="*/ 10 h 105"/>
                <a:gd name="T12" fmla="*/ 47 w 97"/>
                <a:gd name="T13" fmla="*/ 4 h 105"/>
                <a:gd name="T14" fmla="*/ 49 w 97"/>
                <a:gd name="T15" fmla="*/ 3 h 105"/>
                <a:gd name="T16" fmla="*/ 51 w 97"/>
                <a:gd name="T17" fmla="*/ 4 h 105"/>
                <a:gd name="T18" fmla="*/ 72 w 97"/>
                <a:gd name="T19" fmla="*/ 10 h 105"/>
                <a:gd name="T20" fmla="*/ 91 w 97"/>
                <a:gd name="T21" fmla="*/ 4 h 105"/>
                <a:gd name="T22" fmla="*/ 97 w 97"/>
                <a:gd name="T23" fmla="*/ 0 h 105"/>
                <a:gd name="T24" fmla="*/ 97 w 97"/>
                <a:gd name="T25" fmla="*/ 44 h 105"/>
                <a:gd name="T26" fmla="*/ 50 w 97"/>
                <a:gd name="T27" fmla="*/ 104 h 105"/>
                <a:gd name="T28" fmla="*/ 49 w 97"/>
                <a:gd name="T29" fmla="*/ 105 h 105"/>
                <a:gd name="T30" fmla="*/ 8 w 97"/>
                <a:gd name="T31" fmla="*/ 14 h 105"/>
                <a:gd name="T32" fmla="*/ 8 w 97"/>
                <a:gd name="T33" fmla="*/ 44 h 105"/>
                <a:gd name="T34" fmla="*/ 49 w 97"/>
                <a:gd name="T35" fmla="*/ 96 h 105"/>
                <a:gd name="T36" fmla="*/ 89 w 97"/>
                <a:gd name="T37" fmla="*/ 44 h 105"/>
                <a:gd name="T38" fmla="*/ 89 w 97"/>
                <a:gd name="T39" fmla="*/ 14 h 105"/>
                <a:gd name="T40" fmla="*/ 72 w 97"/>
                <a:gd name="T41" fmla="*/ 18 h 105"/>
                <a:gd name="T42" fmla="*/ 49 w 97"/>
                <a:gd name="T43" fmla="*/ 12 h 105"/>
                <a:gd name="T44" fmla="*/ 26 w 97"/>
                <a:gd name="T45" fmla="*/ 18 h 105"/>
                <a:gd name="T46" fmla="*/ 8 w 97"/>
                <a:gd name="T47"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7" h="105">
                  <a:moveTo>
                    <a:pt x="49" y="105"/>
                  </a:moveTo>
                  <a:cubicBezTo>
                    <a:pt x="47" y="104"/>
                    <a:pt x="47" y="104"/>
                    <a:pt x="47" y="104"/>
                  </a:cubicBezTo>
                  <a:cubicBezTo>
                    <a:pt x="45" y="103"/>
                    <a:pt x="0" y="85"/>
                    <a:pt x="0" y="44"/>
                  </a:cubicBezTo>
                  <a:cubicBezTo>
                    <a:pt x="0" y="0"/>
                    <a:pt x="0" y="0"/>
                    <a:pt x="0" y="0"/>
                  </a:cubicBezTo>
                  <a:cubicBezTo>
                    <a:pt x="6" y="4"/>
                    <a:pt x="6" y="4"/>
                    <a:pt x="6" y="4"/>
                  </a:cubicBezTo>
                  <a:cubicBezTo>
                    <a:pt x="6" y="4"/>
                    <a:pt x="16" y="10"/>
                    <a:pt x="26" y="10"/>
                  </a:cubicBezTo>
                  <a:cubicBezTo>
                    <a:pt x="36" y="10"/>
                    <a:pt x="47" y="4"/>
                    <a:pt x="47" y="4"/>
                  </a:cubicBezTo>
                  <a:cubicBezTo>
                    <a:pt x="49" y="3"/>
                    <a:pt x="49" y="3"/>
                    <a:pt x="49" y="3"/>
                  </a:cubicBezTo>
                  <a:cubicBezTo>
                    <a:pt x="51" y="4"/>
                    <a:pt x="51" y="4"/>
                    <a:pt x="51" y="4"/>
                  </a:cubicBezTo>
                  <a:cubicBezTo>
                    <a:pt x="51" y="4"/>
                    <a:pt x="61" y="10"/>
                    <a:pt x="72" y="10"/>
                  </a:cubicBezTo>
                  <a:cubicBezTo>
                    <a:pt x="82" y="10"/>
                    <a:pt x="91" y="4"/>
                    <a:pt x="91" y="4"/>
                  </a:cubicBezTo>
                  <a:cubicBezTo>
                    <a:pt x="97" y="0"/>
                    <a:pt x="97" y="0"/>
                    <a:pt x="97" y="0"/>
                  </a:cubicBezTo>
                  <a:cubicBezTo>
                    <a:pt x="97" y="44"/>
                    <a:pt x="97" y="44"/>
                    <a:pt x="97" y="44"/>
                  </a:cubicBezTo>
                  <a:cubicBezTo>
                    <a:pt x="97" y="85"/>
                    <a:pt x="52" y="103"/>
                    <a:pt x="50" y="104"/>
                  </a:cubicBezTo>
                  <a:lnTo>
                    <a:pt x="49" y="105"/>
                  </a:lnTo>
                  <a:close/>
                  <a:moveTo>
                    <a:pt x="8" y="14"/>
                  </a:moveTo>
                  <a:cubicBezTo>
                    <a:pt x="8" y="44"/>
                    <a:pt x="8" y="44"/>
                    <a:pt x="8" y="44"/>
                  </a:cubicBezTo>
                  <a:cubicBezTo>
                    <a:pt x="8" y="76"/>
                    <a:pt x="41" y="93"/>
                    <a:pt x="49" y="96"/>
                  </a:cubicBezTo>
                  <a:cubicBezTo>
                    <a:pt x="56" y="93"/>
                    <a:pt x="89" y="76"/>
                    <a:pt x="89" y="44"/>
                  </a:cubicBezTo>
                  <a:cubicBezTo>
                    <a:pt x="89" y="14"/>
                    <a:pt x="89" y="14"/>
                    <a:pt x="89" y="14"/>
                  </a:cubicBezTo>
                  <a:cubicBezTo>
                    <a:pt x="85" y="16"/>
                    <a:pt x="79" y="18"/>
                    <a:pt x="72" y="18"/>
                  </a:cubicBezTo>
                  <a:cubicBezTo>
                    <a:pt x="61" y="18"/>
                    <a:pt x="53" y="14"/>
                    <a:pt x="49" y="12"/>
                  </a:cubicBezTo>
                  <a:cubicBezTo>
                    <a:pt x="45" y="14"/>
                    <a:pt x="35" y="18"/>
                    <a:pt x="26" y="18"/>
                  </a:cubicBezTo>
                  <a:cubicBezTo>
                    <a:pt x="19" y="18"/>
                    <a:pt x="13" y="15"/>
                    <a:pt x="8" y="14"/>
                  </a:cubicBezTo>
                  <a:close/>
                </a:path>
              </a:pathLst>
            </a:custGeom>
            <a:solidFill>
              <a:srgbClr val="FFFFFF"/>
            </a:solidFill>
          </p:spPr>
          <p:txBody>
            <a:bodyPr vert="horz" wrap="square" lIns="89642" tIns="44821" rIns="89642" bIns="44821" numCol="1" anchor="t" anchorCtr="0" compatLnSpc="1">
              <a:prstTxWarp prst="textNoShape">
                <a:avLst/>
              </a:prstTxWarp>
            </a:bodyPr>
            <a:lstStyle/>
            <a:p>
              <a:pPr defTabSz="895945">
                <a:defRPr/>
              </a:pPr>
              <a:endParaRPr lang="en-US" sz="1764" kern="0" dirty="0">
                <a:solidFill>
                  <a:srgbClr val="505050"/>
                </a:solidFill>
                <a:latin typeface="Segoe UI Semilight"/>
              </a:endParaRPr>
            </a:p>
          </p:txBody>
        </p:sp>
      </p:grpSp>
      <p:sp>
        <p:nvSpPr>
          <p:cNvPr id="19" name="Content Placeholder 25"/>
          <p:cNvSpPr>
            <a:spLocks noGrp="1"/>
          </p:cNvSpPr>
          <p:nvPr>
            <p:ph sz="quarter" idx="14"/>
          </p:nvPr>
        </p:nvSpPr>
        <p:spPr>
          <a:xfrm>
            <a:off x="4800601" y="288927"/>
            <a:ext cx="6096000" cy="6172997"/>
          </a:xfrm>
        </p:spPr>
        <p:txBody>
          <a:bodyPr>
            <a:noAutofit/>
          </a:bodyPr>
          <a:lstStyle>
            <a:lvl1pPr marL="0" indent="0">
              <a:buNone/>
              <a:defRPr sz="2799"/>
            </a:lvl1pPr>
            <a:lvl2pPr marL="335979" indent="0">
              <a:buNone/>
              <a:defRPr/>
            </a:lvl2p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4813600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570239570"/>
      </p:ext>
    </p:extLst>
  </p:cSld>
  <p:clrMapOvr>
    <a:masterClrMapping/>
  </p:clrMapOvr>
  <p:transition>
    <p:fade/>
  </p:transition>
</p:sldLayout>
</file>

<file path=ppt/slideLayouts/slideLayout368.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9009771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Tree>
    <p:extLst>
      <p:ext uri="{BB962C8B-B14F-4D97-AF65-F5344CB8AC3E}">
        <p14:creationId xmlns:p14="http://schemas.microsoft.com/office/powerpoint/2010/main" val="5748102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4572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572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10" name="Picture 9">
            <a:extLst>
              <a:ext uri="{FF2B5EF4-FFF2-40B4-BE49-F238E27FC236}">
                <a16:creationId xmlns:a16="http://schemas.microsoft.com/office/drawing/2014/main" id="{9125E4DB-85EC-4C86-9AA0-FC1BD5F812F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164208" y="1570863"/>
            <a:ext cx="5197584" cy="3716273"/>
          </a:xfrm>
          <a:prstGeom prst="rect">
            <a:avLst/>
          </a:prstGeom>
        </p:spPr>
      </p:pic>
    </p:spTree>
    <p:extLst>
      <p:ext uri="{BB962C8B-B14F-4D97-AF65-F5344CB8AC3E}">
        <p14:creationId xmlns:p14="http://schemas.microsoft.com/office/powerpoint/2010/main" val="18895069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showMasterSp="0" userDrawn="1">
  <p:cSld name="3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4" y="1187645"/>
            <a:ext cx="11655078" cy="20512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18674914"/>
      </p:ext>
    </p:extLst>
  </p:cSld>
  <p:clrMapOvr>
    <a:masterClrMapping/>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userDrawn="1">
  <p:cSld name="1_CENTER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5" name="Text Placeholder 4">
            <a:extLst>
              <a:ext uri="{FF2B5EF4-FFF2-40B4-BE49-F238E27FC236}">
                <a16:creationId xmlns:a16="http://schemas.microsoft.com/office/drawing/2014/main" id="{995C8D41-03F8-4AE1-9268-78A3204074CD}"/>
              </a:ext>
            </a:extLst>
          </p:cNvPr>
          <p:cNvSpPr>
            <a:spLocks noGrp="1"/>
          </p:cNvSpPr>
          <p:nvPr>
            <p:ph type="body" sz="quarter" idx="10"/>
          </p:nvPr>
        </p:nvSpPr>
        <p:spPr>
          <a:xfrm>
            <a:off x="584200" y="1011239"/>
            <a:ext cx="11025188" cy="458060"/>
          </a:xfrm>
        </p:spPr>
        <p:txBody>
          <a:bodyPr/>
          <a:lstStyle>
            <a:lvl1pPr algn="ctr">
              <a:defRPr sz="2000">
                <a:solidFill>
                  <a:schemeClr val="accent1"/>
                </a:solidFill>
                <a:latin typeface="+mn-lt"/>
              </a:defRPr>
            </a:lvl1pPr>
            <a:lvl2pPr algn="ctr">
              <a:defRPr/>
            </a:lvl2pPr>
            <a:lvl3pPr algn="ctr">
              <a:defRPr/>
            </a:lvl3pPr>
            <a:lvl4pPr algn="ctr">
              <a:defRPr/>
            </a:lvl4pPr>
            <a:lvl5pPr algn="ctr">
              <a:defRPr/>
            </a:lvl5pPr>
          </a:lstStyle>
          <a:p>
            <a:pPr lvl="0"/>
            <a:r>
              <a:rPr lang="en-US"/>
              <a:t>Edit Master text styles</a:t>
            </a:r>
          </a:p>
        </p:txBody>
      </p:sp>
    </p:spTree>
    <p:extLst>
      <p:ext uri="{BB962C8B-B14F-4D97-AF65-F5344CB8AC3E}">
        <p14:creationId xmlns:p14="http://schemas.microsoft.com/office/powerpoint/2010/main" val="120491682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52270E26-89BA-4369-9EF4-1B9EBAA3D00B}"/>
              </a:ext>
            </a:extLst>
          </p:cNvPr>
          <p:cNvSpPr/>
          <p:nvPr userDrawn="1"/>
        </p:nvSpPr>
        <p:spPr bwMode="auto">
          <a:xfrm>
            <a:off x="5334000" y="0"/>
            <a:ext cx="6858000" cy="6858000"/>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MS logo gray - EMF" descr="Microsoft logo, gray text version">
            <a:extLst>
              <a:ext uri="{FF2B5EF4-FFF2-40B4-BE49-F238E27FC236}">
                <a16:creationId xmlns:a16="http://schemas.microsoft.com/office/drawing/2014/main" id="{D03FE64B-525F-4B73-8C45-B4BC3BAD6A2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8" name="Picture 7">
            <a:extLst>
              <a:ext uri="{FF2B5EF4-FFF2-40B4-BE49-F238E27FC236}">
                <a16:creationId xmlns:a16="http://schemas.microsoft.com/office/drawing/2014/main" id="{BE7317D9-DED5-46FF-B275-B2DB7FC09EE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164208" y="1570863"/>
            <a:ext cx="5197584" cy="3716273"/>
          </a:xfrm>
          <a:prstGeom prst="rect">
            <a:avLst/>
          </a:prstGeom>
        </p:spPr>
      </p:pic>
    </p:spTree>
    <p:extLst>
      <p:ext uri="{BB962C8B-B14F-4D97-AF65-F5344CB8AC3E}">
        <p14:creationId xmlns:p14="http://schemas.microsoft.com/office/powerpoint/2010/main" val="41209612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8" name="Rectangle 7">
            <a:extLst>
              <a:ext uri="{FF2B5EF4-FFF2-40B4-BE49-F238E27FC236}">
                <a16:creationId xmlns:a16="http://schemas.microsoft.com/office/drawing/2014/main" id="{9D026004-6E63-4034-A1B0-34BE8CEF3D76}"/>
              </a:ext>
            </a:extLst>
          </p:cNvPr>
          <p:cNvSpPr/>
          <p:nvPr userDrawn="1"/>
        </p:nvSpPr>
        <p:spPr bwMode="auto">
          <a:xfrm>
            <a:off x="5334000" y="0"/>
            <a:ext cx="6858000" cy="6858000"/>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240D"/>
              </a:solidFill>
              <a:ea typeface="Segoe UI" pitchFamily="34" charset="0"/>
              <a:cs typeface="Segoe UI" pitchFamily="34" charset="0"/>
            </a:endParaRPr>
          </a:p>
        </p:txBody>
      </p:sp>
      <p:pic>
        <p:nvPicPr>
          <p:cNvPr id="11" name="Picture 10">
            <a:extLst>
              <a:ext uri="{FF2B5EF4-FFF2-40B4-BE49-F238E27FC236}">
                <a16:creationId xmlns:a16="http://schemas.microsoft.com/office/drawing/2014/main" id="{FB3B8AD8-E296-4E64-ADD0-A70C30EFB49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164208" y="1570863"/>
            <a:ext cx="5197584" cy="3716273"/>
          </a:xfrm>
          <a:prstGeom prst="rect">
            <a:avLst/>
          </a:prstGeom>
        </p:spPr>
      </p:pic>
    </p:spTree>
    <p:extLst>
      <p:ext uri="{BB962C8B-B14F-4D97-AF65-F5344CB8AC3E}">
        <p14:creationId xmlns:p14="http://schemas.microsoft.com/office/powerpoint/2010/main" val="1614672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5984977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2"/>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952371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86283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0661074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4038366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861581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631101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925737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39363591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3347385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82657933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0500121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2890555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10" name="Picture 9">
            <a:extLst>
              <a:ext uri="{FF2B5EF4-FFF2-40B4-BE49-F238E27FC236}">
                <a16:creationId xmlns:a16="http://schemas.microsoft.com/office/drawing/2014/main" id="{FAB72F22-3A6F-4A20-977A-AB974F40435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937593" y="4358705"/>
            <a:ext cx="2671795" cy="1910333"/>
          </a:xfrm>
          <a:prstGeom prst="rect">
            <a:avLst/>
          </a:prstGeom>
        </p:spPr>
      </p:pic>
    </p:spTree>
    <p:extLst>
      <p:ext uri="{BB962C8B-B14F-4D97-AF65-F5344CB8AC3E}">
        <p14:creationId xmlns:p14="http://schemas.microsoft.com/office/powerpoint/2010/main" val="16582542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7809331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5" name="Picture 4">
            <a:extLst>
              <a:ext uri="{FF2B5EF4-FFF2-40B4-BE49-F238E27FC236}">
                <a16:creationId xmlns:a16="http://schemas.microsoft.com/office/drawing/2014/main" id="{86967169-3BFF-48F2-957F-8A78DE66952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937593" y="4358705"/>
            <a:ext cx="2671795" cy="1910333"/>
          </a:xfrm>
          <a:prstGeom prst="rect">
            <a:avLst/>
          </a:prstGeom>
        </p:spPr>
      </p:pic>
    </p:spTree>
    <p:extLst>
      <p:ext uri="{BB962C8B-B14F-4D97-AF65-F5344CB8AC3E}">
        <p14:creationId xmlns:p14="http://schemas.microsoft.com/office/powerpoint/2010/main" val="34845760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9126942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FFB9AA58-93DB-418F-B77A-2B50F65D398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937593" y="4358705"/>
            <a:ext cx="2671795" cy="1910333"/>
          </a:xfrm>
          <a:prstGeom prst="rect">
            <a:avLst/>
          </a:prstGeom>
        </p:spPr>
      </p:pic>
    </p:spTree>
    <p:extLst>
      <p:ext uri="{BB962C8B-B14F-4D97-AF65-F5344CB8AC3E}">
        <p14:creationId xmlns:p14="http://schemas.microsoft.com/office/powerpoint/2010/main" val="25307099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27939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6966847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362424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4141251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49781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59104CAE-91B8-4A7E-9F8E-214C5F88093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5981139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54198132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1" y="214605"/>
            <a:ext cx="11612207" cy="801994"/>
          </a:xfrm>
          <a:prstGeom prst="rect">
            <a:avLst/>
          </a:prstGeom>
        </p:spPr>
        <p:txBody>
          <a:bodyPr>
            <a:normAutofit/>
          </a:bodyPr>
          <a:lstStyle>
            <a:lvl1pPr>
              <a:defRPr sz="3591">
                <a:solidFill>
                  <a:schemeClr val="tx1">
                    <a:lumMod val="75000"/>
                    <a:lumOff val="25000"/>
                  </a:schemeClr>
                </a:solidFill>
              </a:defRPr>
            </a:lvl1pPr>
          </a:lstStyle>
          <a:p>
            <a:r>
              <a:rPr lang="en-US"/>
              <a:t>Click to edit Master title style</a:t>
            </a:r>
          </a:p>
        </p:txBody>
      </p:sp>
      <p:sp>
        <p:nvSpPr>
          <p:cNvPr id="30" name="Content Placeholder 29">
            <a:extLst>
              <a:ext uri="{FF2B5EF4-FFF2-40B4-BE49-F238E27FC236}">
                <a16:creationId xmlns:a16="http://schemas.microsoft.com/office/drawing/2014/main" id="{F8BB29DD-44A4-4426-B422-46C47C0E1EE9}"/>
              </a:ext>
            </a:extLst>
          </p:cNvPr>
          <p:cNvSpPr>
            <a:spLocks noGrp="1"/>
          </p:cNvSpPr>
          <p:nvPr>
            <p:ph sz="quarter" idx="20" hasCustomPrompt="1"/>
          </p:nvPr>
        </p:nvSpPr>
        <p:spPr>
          <a:xfrm>
            <a:off x="4258491" y="1541411"/>
            <a:ext cx="2865892" cy="2316254"/>
          </a:xfrm>
          <a:prstGeom prst="rect">
            <a:avLst/>
          </a:prstGeom>
        </p:spPr>
        <p:txBody>
          <a:bodyPr/>
          <a:lstStyle>
            <a:lvl1pPr marL="0" indent="0">
              <a:buFontTx/>
              <a:buNone/>
              <a:defRPr lang="en-US" sz="2000" kern="1200" dirty="0" smtClean="0">
                <a:solidFill>
                  <a:schemeClr val="bg1">
                    <a:lumMod val="65000"/>
                  </a:schemeClr>
                </a:solidFill>
                <a:latin typeface="+mn-lt"/>
                <a:ea typeface="+mn-ea"/>
                <a:cs typeface="+mn-cs"/>
              </a:defRPr>
            </a:lvl1pPr>
          </a:lstStyle>
          <a:p>
            <a:pPr marL="228029" lvl="0" indent="-228029" algn="l" defTabSz="912114" rtl="0" eaLnBrk="1" latinLnBrk="0" hangingPunct="1">
              <a:lnSpc>
                <a:spcPct val="90000"/>
              </a:lnSpc>
              <a:spcBef>
                <a:spcPts val="998"/>
              </a:spcBef>
              <a:buFont typeface="Arial" panose="020B0604020202020204" pitchFamily="34" charset="0"/>
              <a:buChar char="•"/>
            </a:pPr>
            <a:r>
              <a:rPr lang="en-US"/>
              <a:t>Retention</a:t>
            </a:r>
          </a:p>
          <a:p>
            <a:pPr lvl="1"/>
            <a:r>
              <a:rPr lang="en-US"/>
              <a:t>Second level</a:t>
            </a:r>
          </a:p>
          <a:p>
            <a:pPr lvl="2"/>
            <a:r>
              <a:rPr lang="en-US"/>
              <a:t>Third level</a:t>
            </a:r>
          </a:p>
          <a:p>
            <a:pPr lvl="3"/>
            <a:r>
              <a:rPr lang="en-US"/>
              <a:t>Fourth level</a:t>
            </a:r>
          </a:p>
          <a:p>
            <a:pPr lvl="4"/>
            <a:r>
              <a:rPr lang="en-US"/>
              <a:t>Fifth level</a:t>
            </a:r>
          </a:p>
        </p:txBody>
      </p:sp>
      <p:sp>
        <p:nvSpPr>
          <p:cNvPr id="33" name="Content Placeholder 29">
            <a:extLst>
              <a:ext uri="{FF2B5EF4-FFF2-40B4-BE49-F238E27FC236}">
                <a16:creationId xmlns:a16="http://schemas.microsoft.com/office/drawing/2014/main" id="{46068081-8972-40A8-A424-E4F40D35A681}"/>
              </a:ext>
            </a:extLst>
          </p:cNvPr>
          <p:cNvSpPr>
            <a:spLocks noGrp="1"/>
          </p:cNvSpPr>
          <p:nvPr>
            <p:ph sz="quarter" idx="21" hasCustomPrompt="1"/>
          </p:nvPr>
        </p:nvSpPr>
        <p:spPr>
          <a:xfrm>
            <a:off x="7859485" y="1541411"/>
            <a:ext cx="2865892" cy="2316254"/>
          </a:xfrm>
          <a:prstGeom prst="rect">
            <a:avLst/>
          </a:prstGeom>
        </p:spPr>
        <p:txBody>
          <a:bodyPr/>
          <a:lstStyle>
            <a:lvl1pPr marL="0" indent="0">
              <a:buNone/>
              <a:defRPr lang="en-US" sz="2000" kern="1200" dirty="0" smtClean="0">
                <a:solidFill>
                  <a:schemeClr val="bg1">
                    <a:lumMod val="65000"/>
                  </a:schemeClr>
                </a:solidFill>
                <a:latin typeface="+mn-lt"/>
                <a:ea typeface="+mn-ea"/>
                <a:cs typeface="+mn-cs"/>
              </a:defRPr>
            </a:lvl1pPr>
          </a:lstStyle>
          <a:p>
            <a:pPr marL="228029" lvl="0" indent="-228029" algn="l" defTabSz="912114" rtl="0" eaLnBrk="1" latinLnBrk="0" hangingPunct="1">
              <a:lnSpc>
                <a:spcPct val="90000"/>
              </a:lnSpc>
              <a:spcBef>
                <a:spcPts val="998"/>
              </a:spcBef>
              <a:buFont typeface="Arial" panose="020B0604020202020204" pitchFamily="34" charset="0"/>
              <a:buChar char="•"/>
            </a:pPr>
            <a:r>
              <a:rPr lang="en-US"/>
              <a:t>Satisfaction</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9">
            <a:extLst>
              <a:ext uri="{FF2B5EF4-FFF2-40B4-BE49-F238E27FC236}">
                <a16:creationId xmlns:a16="http://schemas.microsoft.com/office/drawing/2014/main" id="{0007AE31-B4E1-4AE3-BB80-FE5169E9A5AD}"/>
              </a:ext>
            </a:extLst>
          </p:cNvPr>
          <p:cNvSpPr>
            <a:spLocks noGrp="1"/>
          </p:cNvSpPr>
          <p:nvPr>
            <p:ph sz="quarter" idx="22" hasCustomPrompt="1"/>
          </p:nvPr>
        </p:nvSpPr>
        <p:spPr>
          <a:xfrm>
            <a:off x="840377" y="1541411"/>
            <a:ext cx="2865892" cy="2316254"/>
          </a:xfrm>
          <a:prstGeom prst="rect">
            <a:avLst/>
          </a:prstGeom>
        </p:spPr>
        <p:txBody>
          <a:bodyPr/>
          <a:lstStyle>
            <a:lvl1pPr marL="0" indent="0">
              <a:buFontTx/>
              <a:buNone/>
              <a:defRPr lang="en-US" sz="2000" kern="1200" dirty="0" smtClean="0">
                <a:solidFill>
                  <a:schemeClr val="bg1">
                    <a:lumMod val="65000"/>
                  </a:schemeClr>
                </a:solidFill>
                <a:latin typeface="+mn-lt"/>
                <a:ea typeface="+mn-ea"/>
                <a:cs typeface="+mn-cs"/>
              </a:defRPr>
            </a:lvl1pPr>
          </a:lstStyle>
          <a:p>
            <a:pPr marL="228029" lvl="0" indent="-228029" algn="l" defTabSz="912114" rtl="0" eaLnBrk="1" latinLnBrk="0" hangingPunct="1">
              <a:lnSpc>
                <a:spcPct val="90000"/>
              </a:lnSpc>
              <a:spcBef>
                <a:spcPts val="998"/>
              </a:spcBef>
              <a:buFont typeface="Arial" panose="020B0604020202020204" pitchFamily="34" charset="0"/>
              <a:buChar char="•"/>
            </a:pPr>
            <a:r>
              <a:rPr lang="en-US"/>
              <a:t>Adoption</a:t>
            </a:r>
          </a:p>
          <a:p>
            <a:pPr lvl="1"/>
            <a:r>
              <a:rPr lang="en-US"/>
              <a:t>Second level</a:t>
            </a:r>
          </a:p>
          <a:p>
            <a:pPr lvl="2"/>
            <a:r>
              <a:rPr lang="en-US"/>
              <a:t>Third level</a:t>
            </a:r>
          </a:p>
          <a:p>
            <a:pPr lvl="3"/>
            <a:r>
              <a:rPr lang="en-US"/>
              <a:t>Fourth level</a:t>
            </a:r>
          </a:p>
          <a:p>
            <a:pPr lvl="4"/>
            <a:r>
              <a:rPr lang="en-US"/>
              <a:t>Fifth level</a:t>
            </a:r>
          </a:p>
        </p:txBody>
      </p:sp>
      <p:sp>
        <p:nvSpPr>
          <p:cNvPr id="35" name="Content Placeholder 29">
            <a:extLst>
              <a:ext uri="{FF2B5EF4-FFF2-40B4-BE49-F238E27FC236}">
                <a16:creationId xmlns:a16="http://schemas.microsoft.com/office/drawing/2014/main" id="{38095733-32A6-4AEE-8ACA-18B6D1A83C1C}"/>
              </a:ext>
            </a:extLst>
          </p:cNvPr>
          <p:cNvSpPr>
            <a:spLocks noGrp="1"/>
          </p:cNvSpPr>
          <p:nvPr>
            <p:ph sz="quarter" idx="23" hasCustomPrompt="1"/>
          </p:nvPr>
        </p:nvSpPr>
        <p:spPr>
          <a:xfrm>
            <a:off x="2538549" y="4280257"/>
            <a:ext cx="2865892" cy="2316254"/>
          </a:xfrm>
          <a:prstGeom prst="rect">
            <a:avLst/>
          </a:prstGeom>
        </p:spPr>
        <p:txBody>
          <a:bodyPr/>
          <a:lstStyle>
            <a:lvl1pPr marL="0" indent="0">
              <a:buNone/>
              <a:defRPr lang="en-US" sz="2000" kern="1200" dirty="0" smtClean="0">
                <a:solidFill>
                  <a:schemeClr val="bg1">
                    <a:lumMod val="65000"/>
                  </a:schemeClr>
                </a:solidFill>
                <a:latin typeface="+mn-lt"/>
                <a:ea typeface="+mn-ea"/>
                <a:cs typeface="+mn-cs"/>
              </a:defRPr>
            </a:lvl1pPr>
          </a:lstStyle>
          <a:p>
            <a:pPr marL="228029" lvl="0" indent="-228029" algn="l" defTabSz="912114" rtl="0" eaLnBrk="1" latinLnBrk="0" hangingPunct="1">
              <a:lnSpc>
                <a:spcPct val="90000"/>
              </a:lnSpc>
              <a:spcBef>
                <a:spcPts val="998"/>
              </a:spcBef>
              <a:buFont typeface="Arial" panose="020B0604020202020204" pitchFamily="34" charset="0"/>
              <a:buChar char="•"/>
            </a:pPr>
            <a:r>
              <a:rPr lang="en-US"/>
              <a:t>Engagement (breadth)</a:t>
            </a:r>
          </a:p>
          <a:p>
            <a:pPr lvl="1"/>
            <a:r>
              <a:rPr lang="en-US"/>
              <a:t>Second level</a:t>
            </a:r>
          </a:p>
          <a:p>
            <a:pPr lvl="2"/>
            <a:r>
              <a:rPr lang="en-US"/>
              <a:t>Third level</a:t>
            </a:r>
          </a:p>
          <a:p>
            <a:pPr lvl="3"/>
            <a:r>
              <a:rPr lang="en-US"/>
              <a:t>Fourth level</a:t>
            </a:r>
          </a:p>
          <a:p>
            <a:pPr lvl="4"/>
            <a:r>
              <a:rPr lang="en-US"/>
              <a:t>Fifth level</a:t>
            </a:r>
          </a:p>
        </p:txBody>
      </p:sp>
      <p:sp>
        <p:nvSpPr>
          <p:cNvPr id="36" name="Content Placeholder 29">
            <a:extLst>
              <a:ext uri="{FF2B5EF4-FFF2-40B4-BE49-F238E27FC236}">
                <a16:creationId xmlns:a16="http://schemas.microsoft.com/office/drawing/2014/main" id="{D2101B65-9CE7-4065-9157-478E75333AC4}"/>
              </a:ext>
            </a:extLst>
          </p:cNvPr>
          <p:cNvSpPr>
            <a:spLocks noGrp="1"/>
          </p:cNvSpPr>
          <p:nvPr>
            <p:ph sz="quarter" idx="24" hasCustomPrompt="1"/>
          </p:nvPr>
        </p:nvSpPr>
        <p:spPr>
          <a:xfrm>
            <a:off x="6979919" y="4280257"/>
            <a:ext cx="2865892" cy="2316254"/>
          </a:xfrm>
          <a:prstGeom prst="rect">
            <a:avLst/>
          </a:prstGeom>
        </p:spPr>
        <p:txBody>
          <a:bodyPr/>
          <a:lstStyle>
            <a:lvl1pPr marL="0" indent="0">
              <a:buNone/>
              <a:defRPr lang="en-US" sz="2000" kern="1200" dirty="0" smtClean="0">
                <a:solidFill>
                  <a:schemeClr val="bg1">
                    <a:lumMod val="65000"/>
                  </a:schemeClr>
                </a:solidFill>
                <a:latin typeface="+mn-lt"/>
                <a:ea typeface="+mn-ea"/>
                <a:cs typeface="+mn-cs"/>
              </a:defRPr>
            </a:lvl1pPr>
          </a:lstStyle>
          <a:p>
            <a:pPr marL="228029" lvl="0" indent="-228029" algn="l" defTabSz="912114" rtl="0" eaLnBrk="1" latinLnBrk="0" hangingPunct="1">
              <a:lnSpc>
                <a:spcPct val="90000"/>
              </a:lnSpc>
              <a:spcBef>
                <a:spcPts val="998"/>
              </a:spcBef>
              <a:buFont typeface="Arial" panose="020B0604020202020204" pitchFamily="34" charset="0"/>
              <a:buChar char="•"/>
            </a:pPr>
            <a:r>
              <a:rPr lang="en-US"/>
              <a:t>Engagement (depth)</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4523635"/>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1" y="214605"/>
            <a:ext cx="11612207" cy="801994"/>
          </a:xfrm>
          <a:prstGeom prst="rect">
            <a:avLst/>
          </a:prstGeom>
        </p:spPr>
        <p:txBody>
          <a:bodyPr>
            <a:normAutofit/>
          </a:bodyPr>
          <a:lstStyle>
            <a:lvl1pPr>
              <a:defRPr sz="3591">
                <a:solidFill>
                  <a:schemeClr val="tx1">
                    <a:lumMod val="75000"/>
                    <a:lumOff val="25000"/>
                  </a:schemeClr>
                </a:solidFill>
              </a:defRPr>
            </a:lvl1pPr>
          </a:lstStyle>
          <a:p>
            <a:r>
              <a:rPr lang="en-US"/>
              <a:t>Click to edit Master title style</a:t>
            </a:r>
          </a:p>
        </p:txBody>
      </p:sp>
      <p:sp>
        <p:nvSpPr>
          <p:cNvPr id="3" name="Content Placeholder 2"/>
          <p:cNvSpPr>
            <a:spLocks noGrp="1"/>
          </p:cNvSpPr>
          <p:nvPr>
            <p:ph idx="1"/>
          </p:nvPr>
        </p:nvSpPr>
        <p:spPr>
          <a:xfrm>
            <a:off x="285750" y="1016599"/>
            <a:ext cx="11612206" cy="5339750"/>
          </a:xfrm>
          <a:prstGeom prst="rect">
            <a:avLst/>
          </a:prstGeom>
          <a:ln>
            <a:solidFill>
              <a:schemeClr val="tx1">
                <a:lumMod val="75000"/>
                <a:lumOff val="25000"/>
              </a:schemeClr>
            </a:solidFill>
          </a:ln>
        </p:spPr>
        <p:txBody>
          <a:bodyPr>
            <a:normAutofit/>
          </a:bodyPr>
          <a:lstStyle>
            <a:lvl1pPr marL="228029" indent="-228029">
              <a:buFont typeface="Wingdings" charset="2"/>
              <a:buChar char="§"/>
              <a:defRPr sz="1795">
                <a:solidFill>
                  <a:schemeClr val="tx1">
                    <a:lumMod val="75000"/>
                    <a:lumOff val="25000"/>
                  </a:schemeClr>
                </a:solidFill>
              </a:defRPr>
            </a:lvl1pPr>
            <a:lvl2pPr marL="684086" indent="-228029">
              <a:buFont typeface="Wingdings" charset="2"/>
              <a:buChar char="ü"/>
              <a:defRPr sz="1795">
                <a:solidFill>
                  <a:schemeClr val="tx1">
                    <a:lumMod val="75000"/>
                    <a:lumOff val="25000"/>
                  </a:schemeClr>
                </a:solidFill>
              </a:defRPr>
            </a:lvl2pPr>
            <a:lvl3pPr marL="1140143" indent="-228029">
              <a:buFont typeface="Courier New" charset="0"/>
              <a:buChar char="o"/>
              <a:defRPr sz="1795">
                <a:solidFill>
                  <a:schemeClr val="tx1">
                    <a:lumMod val="75000"/>
                    <a:lumOff val="25000"/>
                  </a:schemeClr>
                </a:solidFill>
              </a:defRPr>
            </a:lvl3pPr>
            <a:lvl4pPr marL="1596200" indent="-228029">
              <a:buFont typeface="Wingdings" charset="2"/>
              <a:buChar char="Ø"/>
              <a:defRPr sz="1795">
                <a:solidFill>
                  <a:schemeClr val="tx1">
                    <a:lumMod val="75000"/>
                    <a:lumOff val="25000"/>
                  </a:schemeClr>
                </a:solidFill>
              </a:defRPr>
            </a:lvl4pPr>
            <a:lvl5pPr marL="2052257" indent="-228029">
              <a:buFont typeface="Wingdings" charset="2"/>
              <a:buChar char="v"/>
              <a:defRPr sz="1795">
                <a:solidFill>
                  <a:schemeClr val="tx1">
                    <a:lumMod val="75000"/>
                    <a:lumOff val="2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197">
                <a:solidFill>
                  <a:schemeClr val="tx1">
                    <a:lumMod val="65000"/>
                    <a:lumOff val="35000"/>
                  </a:schemeClr>
                </a:solidFill>
              </a:defRPr>
            </a:lvl1pPr>
          </a:lstStyle>
          <a:p>
            <a:pPr marL="0" marR="0" lvl="0" indent="0" algn="r" defTabSz="912114" rtl="0" eaLnBrk="1" fontAlgn="auto" latinLnBrk="0" hangingPunct="1">
              <a:lnSpc>
                <a:spcPct val="100000"/>
              </a:lnSpc>
              <a:spcBef>
                <a:spcPts val="0"/>
              </a:spcBef>
              <a:spcAft>
                <a:spcPts val="0"/>
              </a:spcAft>
              <a:buClrTx/>
              <a:buSzTx/>
              <a:buFontTx/>
              <a:buNone/>
              <a:tabLst/>
              <a:defRPr/>
            </a:pPr>
            <a:fld id="{29E5D54C-0D7A-4FF7-AF7B-57BAE1C99EB4}" type="slidenum">
              <a:rPr kumimoji="0" lang="en-US" sz="1197" b="0" i="0" u="none" strike="noStrike" kern="1200" cap="none" spc="0" normalizeH="0" baseline="0" noProof="0" smtClean="0">
                <a:ln>
                  <a:noFill/>
                </a:ln>
                <a:solidFill>
                  <a:prstClr val="black">
                    <a:lumMod val="65000"/>
                    <a:lumOff val="35000"/>
                  </a:prstClr>
                </a:solidFill>
                <a:effectLst/>
                <a:uLnTx/>
                <a:uFillTx/>
                <a:latin typeface="Calibri" panose="020F0502020204030204"/>
                <a:ea typeface="+mn-ea"/>
                <a:cs typeface="+mn-cs"/>
              </a:rPr>
              <a:pPr marL="0" marR="0" lvl="0" indent="0" algn="r" defTabSz="912114" rtl="0" eaLnBrk="1" fontAlgn="auto" latinLnBrk="0" hangingPunct="1">
                <a:lnSpc>
                  <a:spcPct val="100000"/>
                </a:lnSpc>
                <a:spcBef>
                  <a:spcPts val="0"/>
                </a:spcBef>
                <a:spcAft>
                  <a:spcPts val="0"/>
                </a:spcAft>
                <a:buClrTx/>
                <a:buSzTx/>
                <a:buFontTx/>
                <a:buNone/>
                <a:tabLst/>
                <a:defRPr/>
              </a:pPr>
              <a:t>‹#›</a:t>
            </a:fld>
            <a:endParaRPr kumimoji="0" lang="en-US" sz="1197"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endParaRPr>
          </a:p>
        </p:txBody>
      </p:sp>
      <p:sp>
        <p:nvSpPr>
          <p:cNvPr id="14" name="Date Placeholder 3"/>
          <p:cNvSpPr>
            <a:spLocks noGrp="1"/>
          </p:cNvSpPr>
          <p:nvPr>
            <p:ph type="dt" sz="half" idx="2"/>
          </p:nvPr>
        </p:nvSpPr>
        <p:spPr>
          <a:xfrm>
            <a:off x="285750" y="6356351"/>
            <a:ext cx="2743200" cy="365125"/>
          </a:xfrm>
          <a:prstGeom prst="rect">
            <a:avLst/>
          </a:prstGeom>
        </p:spPr>
        <p:txBody>
          <a:bodyPr vert="horz" lIns="91440" tIns="45720" rIns="91440" bIns="45720" rtlCol="0" anchor="ctr"/>
          <a:lstStyle>
            <a:lvl1pPr algn="l">
              <a:defRPr sz="1197">
                <a:solidFill>
                  <a:schemeClr val="tx1">
                    <a:lumMod val="65000"/>
                    <a:lumOff val="35000"/>
                  </a:schemeClr>
                </a:solidFill>
              </a:defRPr>
            </a:lvl1pPr>
          </a:lstStyle>
          <a:p>
            <a:pPr marL="0" marR="0" lvl="0" indent="0" algn="l"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rPr>
              <a:t>WINDOWS AND DEVICES GROUP</a:t>
            </a:r>
          </a:p>
        </p:txBody>
      </p:sp>
    </p:spTree>
    <p:extLst>
      <p:ext uri="{BB962C8B-B14F-4D97-AF65-F5344CB8AC3E}">
        <p14:creationId xmlns:p14="http://schemas.microsoft.com/office/powerpoint/2010/main" val="157252812"/>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310956" y="77140"/>
            <a:ext cx="11576243" cy="892525"/>
          </a:xfrm>
        </p:spPr>
        <p:txBody>
          <a:bodyPr/>
          <a:lstStyle>
            <a:lvl1pPr>
              <a:defRPr sz="3200" b="0" spc="0">
                <a:solidFill>
                  <a:schemeClr val="accent2"/>
                </a:solidFill>
                <a:latin typeface="+mj-lt"/>
              </a:defRPr>
            </a:lvl1pPr>
          </a:lstStyle>
          <a:p>
            <a:r>
              <a:rPr lang="en-US"/>
              <a:t>Click to edit Master title style</a:t>
            </a:r>
          </a:p>
        </p:txBody>
      </p:sp>
      <p:sp>
        <p:nvSpPr>
          <p:cNvPr id="7" name="Text Placeholder 6"/>
          <p:cNvSpPr>
            <a:spLocks noGrp="1"/>
          </p:cNvSpPr>
          <p:nvPr>
            <p:ph type="body" sz="quarter" idx="11" hasCustomPrompt="1"/>
          </p:nvPr>
        </p:nvSpPr>
        <p:spPr>
          <a:xfrm>
            <a:off x="310956" y="6293920"/>
            <a:ext cx="11576243" cy="225633"/>
          </a:xfrm>
          <a:prstGeom prst="rect">
            <a:avLst/>
          </a:prstGeom>
        </p:spPr>
        <p:txBody>
          <a:bodyPr/>
          <a:lstStyle>
            <a:lvl1pPr marL="0" indent="0">
              <a:buNone/>
              <a:defRPr sz="1000" spc="0" baseline="0">
                <a:solidFill>
                  <a:schemeClr val="tx1">
                    <a:lumMod val="75000"/>
                    <a:lumOff val="25000"/>
                  </a:schemeClr>
                </a:solidFill>
                <a:latin typeface="+mn-lt"/>
                <a:cs typeface="Segoe UI" panose="020B0502040204020203" pitchFamily="34" charset="0"/>
              </a:defRPr>
            </a:lvl1pPr>
          </a:lstStyle>
          <a:p>
            <a:pPr lvl="0"/>
            <a:r>
              <a:rPr lang="en-US"/>
              <a:t>Click here to insert source</a:t>
            </a:r>
          </a:p>
        </p:txBody>
      </p:sp>
      <p:sp>
        <p:nvSpPr>
          <p:cNvPr id="9" name="Text Placeholder 8"/>
          <p:cNvSpPr>
            <a:spLocks noGrp="1"/>
          </p:cNvSpPr>
          <p:nvPr>
            <p:ph type="body" sz="quarter" idx="12"/>
          </p:nvPr>
        </p:nvSpPr>
        <p:spPr>
          <a:xfrm>
            <a:off x="311150" y="1070067"/>
            <a:ext cx="11576050" cy="5152871"/>
          </a:xfrm>
          <a:prstGeom prst="rect">
            <a:avLst/>
          </a:prstGeom>
        </p:spPr>
        <p:txBody>
          <a:bodyPr/>
          <a:lstStyle>
            <a:lvl1pPr marL="225425" indent="-225425">
              <a:defRPr sz="1800" spc="0">
                <a:solidFill>
                  <a:schemeClr val="tx1"/>
                </a:solidFill>
                <a:latin typeface="+mn-lt"/>
                <a:cs typeface="Segoe UI" panose="020B0502040204020203" pitchFamily="34" charset="0"/>
              </a:defRPr>
            </a:lvl1pPr>
            <a:lvl2pPr marL="463550" indent="-238125">
              <a:buFont typeface="Wingdings" panose="05000000000000000000" pitchFamily="2" charset="2"/>
              <a:buChar char="ü"/>
              <a:defRPr sz="1800" spc="0">
                <a:solidFill>
                  <a:schemeClr val="tx1"/>
                </a:solidFill>
                <a:latin typeface="+mn-lt"/>
                <a:cs typeface="Segoe UI" panose="020B0502040204020203" pitchFamily="34" charset="0"/>
              </a:defRPr>
            </a:lvl2pPr>
            <a:lvl3pPr marL="688975" indent="-225425">
              <a:buFont typeface="Courier New" panose="02070309020205020404" pitchFamily="49" charset="0"/>
              <a:buChar char="o"/>
              <a:defRPr sz="1800" spc="0">
                <a:solidFill>
                  <a:schemeClr val="tx1"/>
                </a:solidFill>
                <a:latin typeface="+mn-lt"/>
                <a:cs typeface="Segoe UI" panose="020B0502040204020203" pitchFamily="34" charset="0"/>
              </a:defRPr>
            </a:lvl3pPr>
            <a:lvl4pPr marL="914400" indent="-225425">
              <a:buFont typeface="Wingdings" panose="05000000000000000000" pitchFamily="2" charset="2"/>
              <a:buChar char="Ø"/>
              <a:defRPr sz="1800" spc="0">
                <a:solidFill>
                  <a:schemeClr val="tx1"/>
                </a:solidFill>
                <a:latin typeface="+mn-lt"/>
                <a:cs typeface="Segoe UI" panose="020B0502040204020203" pitchFamily="34" charset="0"/>
              </a:defRPr>
            </a:lvl4pPr>
            <a:lvl5pPr marL="1139825" indent="-225425">
              <a:buFont typeface="Wingdings" panose="05000000000000000000" pitchFamily="2" charset="2"/>
              <a:buChar char="v"/>
              <a:tabLst/>
              <a:defRPr sz="1800" spc="0">
                <a:solidFill>
                  <a:schemeClr val="tx1"/>
                </a:solidFill>
                <a:latin typeface="+mn-lt"/>
                <a:cs typeface="Segoe UI"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69825379"/>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userDrawn="1">
  <p:cSld name="2_Title Only MAIN">
    <p:spTree>
      <p:nvGrpSpPr>
        <p:cNvPr id="1" name=""/>
        <p:cNvGrpSpPr/>
        <p:nvPr/>
      </p:nvGrpSpPr>
      <p:grpSpPr>
        <a:xfrm>
          <a:off x="0" y="0"/>
          <a:ext cx="0" cy="0"/>
          <a:chOff x="0" y="0"/>
          <a:chExt cx="0" cy="0"/>
        </a:xfrm>
      </p:grpSpPr>
      <p:sp>
        <p:nvSpPr>
          <p:cNvPr id="37" name="Text Placeholder 2"/>
          <p:cNvSpPr>
            <a:spLocks noGrp="1"/>
          </p:cNvSpPr>
          <p:nvPr>
            <p:ph type="body" sz="quarter" idx="15" hasCustomPrompt="1"/>
          </p:nvPr>
        </p:nvSpPr>
        <p:spPr>
          <a:xfrm>
            <a:off x="269240" y="289511"/>
            <a:ext cx="11493678" cy="794064"/>
          </a:xfrm>
        </p:spPr>
        <p:txBody>
          <a:bodyPr/>
          <a:lstStyle>
            <a:lvl1pPr marL="0" indent="0" algn="l" defTabSz="932563" rtl="0" eaLnBrk="1" latinLnBrk="0" hangingPunct="1">
              <a:lnSpc>
                <a:spcPct val="90000"/>
              </a:lnSpc>
              <a:spcBef>
                <a:spcPct val="0"/>
              </a:spcBef>
              <a:buNone/>
              <a:defRPr lang="en-US" sz="4400" b="0" kern="1200" cap="none" spc="-102" baseline="0" dirty="0">
                <a:ln w="3175">
                  <a:noFill/>
                </a:ln>
                <a:gradFill>
                  <a:gsLst>
                    <a:gs pos="1250">
                      <a:schemeClr val="accent1"/>
                    </a:gs>
                    <a:gs pos="100000">
                      <a:schemeClr val="accent1"/>
                    </a:gs>
                  </a:gsLst>
                  <a:lin ang="5400000" scaled="0"/>
                </a:gradFill>
                <a:effectLst/>
                <a:latin typeface="+mj-lt"/>
                <a:ea typeface="+mn-ea"/>
                <a:cs typeface="Segoe UI" pitchFamily="34" charset="0"/>
              </a:defRPr>
            </a:lvl1pPr>
            <a:lvl2pPr marL="336080" indent="0">
              <a:buNone/>
              <a:defRPr/>
            </a:lvl2pPr>
            <a:lvl3pPr marL="560134" indent="0">
              <a:buNone/>
              <a:defRPr/>
            </a:lvl3pPr>
            <a:lvl4pPr marL="784187" indent="0">
              <a:buNone/>
              <a:defRPr/>
            </a:lvl4pPr>
            <a:lvl5pPr marL="1008241" indent="0">
              <a:buNone/>
              <a:defRPr/>
            </a:lvl5pPr>
          </a:lstStyle>
          <a:p>
            <a:pPr lvl="0"/>
            <a:r>
              <a:rPr lang="en-US"/>
              <a:t>Header text goes here</a:t>
            </a:r>
          </a:p>
        </p:txBody>
      </p:sp>
    </p:spTree>
    <p:extLst>
      <p:ext uri="{BB962C8B-B14F-4D97-AF65-F5344CB8AC3E}">
        <p14:creationId xmlns:p14="http://schemas.microsoft.com/office/powerpoint/2010/main" val="1787163824"/>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2"/>
            <a:ext cx="598239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6"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3"/>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1024146147"/>
      </p:ext>
    </p:extLst>
  </p:cSld>
  <p:clrMapOvr>
    <a:masterClrMapping/>
  </p:clrMapOvr>
  <p:transition>
    <p:fade/>
  </p:transition>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5" y="3029995"/>
            <a:ext cx="9401560" cy="1793104"/>
          </a:xfrm>
          <a:noFill/>
        </p:spPr>
        <p:txBody>
          <a:bodyPr lIns="0" tIns="0" rIns="0" bIns="182880" anchor="b" anchorCtr="0"/>
          <a:lstStyle>
            <a:lvl1pPr>
              <a:defRPr sz="5294"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9544" y="437139"/>
            <a:ext cx="896425" cy="190218"/>
          </a:xfrm>
          <a:prstGeom prst="rect">
            <a:avLst/>
          </a:prstGeom>
        </p:spPr>
      </p:pic>
    </p:spTree>
    <p:extLst>
      <p:ext uri="{BB962C8B-B14F-4D97-AF65-F5344CB8AC3E}">
        <p14:creationId xmlns:p14="http://schemas.microsoft.com/office/powerpoint/2010/main" val="20527437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7"/>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8681" y="437142"/>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29496626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3" name="Picture 2" descr="A close up of a computer&#10;&#10;Description generated with very high confidence">
            <a:extLst>
              <a:ext uri="{FF2B5EF4-FFF2-40B4-BE49-F238E27FC236}">
                <a16:creationId xmlns:a16="http://schemas.microsoft.com/office/drawing/2014/main" id="{526CAB38-C067-42AB-B30D-0B60633D91F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 b="-1"/>
          <a:stretch/>
        </p:blipFill>
        <p:spPr>
          <a:xfrm>
            <a:off x="1766" y="0"/>
            <a:ext cx="12188468" cy="6858000"/>
          </a:xfrm>
          <a:prstGeom prst="rect">
            <a:avLst/>
          </a:prstGeom>
        </p:spPr>
      </p:pic>
      <p:sp>
        <p:nvSpPr>
          <p:cNvPr id="8" name="Rectangle 7">
            <a:extLst>
              <a:ext uri="{FF2B5EF4-FFF2-40B4-BE49-F238E27FC236}">
                <a16:creationId xmlns:a16="http://schemas.microsoft.com/office/drawing/2014/main" id="{E49DE887-6B72-4CA7-9C1C-CD555B5F7493}"/>
              </a:ext>
            </a:extLst>
          </p:cNvPr>
          <p:cNvSpPr/>
          <p:nvPr userDrawn="1"/>
        </p:nvSpPr>
        <p:spPr bwMode="auto">
          <a:xfrm>
            <a:off x="1" y="0"/>
            <a:ext cx="7262561" cy="6858000"/>
          </a:xfrm>
          <a:prstGeom prst="rect">
            <a:avLst/>
          </a:prstGeom>
          <a:gradFill flip="none" rotWithShape="1">
            <a:gsLst>
              <a:gs pos="0">
                <a:srgbClr val="000000">
                  <a:alpha val="50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3" name="Picture 12">
            <a:extLst>
              <a:ext uri="{FF2B5EF4-FFF2-40B4-BE49-F238E27FC236}">
                <a16:creationId xmlns:a16="http://schemas.microsoft.com/office/drawing/2014/main" id="{54F71F07-3FF3-4902-A108-DE5C884EF863}"/>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28681" y="437142"/>
            <a:ext cx="896425" cy="191140"/>
          </a:xfrm>
          <a:prstGeom prst="rect">
            <a:avLst/>
          </a:prstGeom>
        </p:spPr>
      </p:pic>
    </p:spTree>
    <p:extLst>
      <p:ext uri="{BB962C8B-B14F-4D97-AF65-F5344CB8AC3E}">
        <p14:creationId xmlns:p14="http://schemas.microsoft.com/office/powerpoint/2010/main" val="17257510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28182801"/>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3660233618"/>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3"/>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107071855"/>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6"/>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3"/>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523228660"/>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992388964"/>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2"/>
            <a:ext cx="598239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6"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3"/>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3006633662"/>
      </p:ext>
    </p:extLst>
  </p:cSld>
  <p:clrMapOvr>
    <a:masterClrMapping/>
  </p:clrMapOvr>
  <p:transition>
    <p:fade/>
  </p:transition>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4" y="2135538"/>
            <a:ext cx="3634002" cy="2583814"/>
          </a:xfrm>
          <a:blipFill>
            <a:blip r:embed="rId4"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5"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1155980571"/>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2" y="2145843"/>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5" y="2145843"/>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1379849370"/>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6"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3"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4"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637781063"/>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1"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4"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6"/>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4"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1"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4271451244"/>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3437567838"/>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02355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1"/>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12447562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7"/>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1"/>
            <a:ext cx="7477989" cy="3535032"/>
          </a:xfrm>
          <a:noFill/>
        </p:spPr>
        <p:txBody>
          <a:bodyPr vert="horz" wrap="square" lIns="0" tIns="0" rIns="0" bIns="0" rtlCol="0" anchor="t" anchorCtr="0">
            <a:noAutofit/>
          </a:bodyPr>
          <a:lstStyle>
            <a:lvl1pPr>
              <a:lnSpc>
                <a:spcPct val="90000"/>
              </a:lnSpc>
              <a:defRPr lang="en-US" sz="5294"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7890341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2"/>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21"/>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24665785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6601883"/>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9544" y="437139"/>
            <a:ext cx="896425" cy="190218"/>
          </a:xfrm>
          <a:prstGeom prst="rect">
            <a:avLst/>
          </a:prstGeom>
        </p:spPr>
      </p:pic>
    </p:spTree>
    <p:extLst>
      <p:ext uri="{BB962C8B-B14F-4D97-AF65-F5344CB8AC3E}">
        <p14:creationId xmlns:p14="http://schemas.microsoft.com/office/powerpoint/2010/main" val="33075429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8681" y="437142"/>
            <a:ext cx="896425" cy="191140"/>
          </a:xfrm>
          <a:prstGeom prst="rect">
            <a:avLst/>
          </a:prstGeom>
        </p:spPr>
      </p:pic>
    </p:spTree>
    <p:extLst>
      <p:ext uri="{BB962C8B-B14F-4D97-AF65-F5344CB8AC3E}">
        <p14:creationId xmlns:p14="http://schemas.microsoft.com/office/powerpoint/2010/main" val="38770650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5692321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56FAD87F-DBF5-4E2F-A61B-3CCEC5C7D0B9}"/>
              </a:ext>
            </a:extLst>
          </p:cNvPr>
          <p:cNvGrpSpPr/>
          <p:nvPr userDrawn="1"/>
        </p:nvGrpSpPr>
        <p:grpSpPr bwMode="ltGray">
          <a:xfrm>
            <a:off x="8710812" y="1771650"/>
            <a:ext cx="3481189" cy="4196081"/>
            <a:chOff x="8710812" y="1771650"/>
            <a:chExt cx="3481189" cy="4196081"/>
          </a:xfrm>
        </p:grpSpPr>
        <p:sp>
          <p:nvSpPr>
            <p:cNvPr id="32" name="Freeform 5">
              <a:extLst>
                <a:ext uri="{FF2B5EF4-FFF2-40B4-BE49-F238E27FC236}">
                  <a16:creationId xmlns:a16="http://schemas.microsoft.com/office/drawing/2014/main" id="{6B0365F1-E7DF-4958-962E-9FFD3A394140}"/>
                </a:ext>
              </a:extLst>
            </p:cNvPr>
            <p:cNvSpPr>
              <a:spLocks/>
            </p:cNvSpPr>
            <p:nvPr userDrawn="1"/>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6">
              <a:extLst>
                <a:ext uri="{FF2B5EF4-FFF2-40B4-BE49-F238E27FC236}">
                  <a16:creationId xmlns:a16="http://schemas.microsoft.com/office/drawing/2014/main" id="{39253E4C-431D-4257-8CC7-C1456CD2F32D}"/>
                </a:ext>
              </a:extLst>
            </p:cNvPr>
            <p:cNvSpPr>
              <a:spLocks/>
            </p:cNvSpPr>
            <p:nvPr userDrawn="1"/>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7">
              <a:extLst>
                <a:ext uri="{FF2B5EF4-FFF2-40B4-BE49-F238E27FC236}">
                  <a16:creationId xmlns:a16="http://schemas.microsoft.com/office/drawing/2014/main" id="{E928826C-9C74-4194-A556-98EC9A96F677}"/>
                </a:ext>
              </a:extLst>
            </p:cNvPr>
            <p:cNvSpPr>
              <a:spLocks/>
            </p:cNvSpPr>
            <p:nvPr userDrawn="1"/>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8">
              <a:extLst>
                <a:ext uri="{FF2B5EF4-FFF2-40B4-BE49-F238E27FC236}">
                  <a16:creationId xmlns:a16="http://schemas.microsoft.com/office/drawing/2014/main" id="{7ACB5DE1-DAC6-4C99-B2CC-0EB12CE0D5FE}"/>
                </a:ext>
              </a:extLst>
            </p:cNvPr>
            <p:cNvSpPr>
              <a:spLocks/>
            </p:cNvSpPr>
            <p:nvPr userDrawn="1"/>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9">
              <a:extLst>
                <a:ext uri="{FF2B5EF4-FFF2-40B4-BE49-F238E27FC236}">
                  <a16:creationId xmlns:a16="http://schemas.microsoft.com/office/drawing/2014/main" id="{5D630C8B-3A7C-4321-A3EF-B1D0A698F738}"/>
                </a:ext>
              </a:extLst>
            </p:cNvPr>
            <p:cNvSpPr>
              <a:spLocks/>
            </p:cNvSpPr>
            <p:nvPr userDrawn="1"/>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0">
              <a:extLst>
                <a:ext uri="{FF2B5EF4-FFF2-40B4-BE49-F238E27FC236}">
                  <a16:creationId xmlns:a16="http://schemas.microsoft.com/office/drawing/2014/main" id="{2A590461-2675-4E4A-B9BB-BF5471E89538}"/>
                </a:ext>
              </a:extLst>
            </p:cNvPr>
            <p:cNvSpPr>
              <a:spLocks/>
            </p:cNvSpPr>
            <p:nvPr userDrawn="1"/>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1">
              <a:extLst>
                <a:ext uri="{FF2B5EF4-FFF2-40B4-BE49-F238E27FC236}">
                  <a16:creationId xmlns:a16="http://schemas.microsoft.com/office/drawing/2014/main" id="{48EAECFD-0CA3-492F-BA94-22EF6EB2205B}"/>
                </a:ext>
              </a:extLst>
            </p:cNvPr>
            <p:cNvSpPr>
              <a:spLocks/>
            </p:cNvSpPr>
            <p:nvPr userDrawn="1"/>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2">
              <a:extLst>
                <a:ext uri="{FF2B5EF4-FFF2-40B4-BE49-F238E27FC236}">
                  <a16:creationId xmlns:a16="http://schemas.microsoft.com/office/drawing/2014/main" id="{62FFEC32-2F2F-43F4-9C21-7F15A26966AC}"/>
                </a:ext>
              </a:extLst>
            </p:cNvPr>
            <p:cNvSpPr>
              <a:spLocks/>
            </p:cNvSpPr>
            <p:nvPr userDrawn="1"/>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3">
              <a:extLst>
                <a:ext uri="{FF2B5EF4-FFF2-40B4-BE49-F238E27FC236}">
                  <a16:creationId xmlns:a16="http://schemas.microsoft.com/office/drawing/2014/main" id="{647709D2-F4CC-4414-B183-427A6D2A22AB}"/>
                </a:ext>
              </a:extLst>
            </p:cNvPr>
            <p:cNvSpPr>
              <a:spLocks/>
            </p:cNvSpPr>
            <p:nvPr userDrawn="1"/>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1" name="Freeform 14">
              <a:extLst>
                <a:ext uri="{FF2B5EF4-FFF2-40B4-BE49-F238E27FC236}">
                  <a16:creationId xmlns:a16="http://schemas.microsoft.com/office/drawing/2014/main" id="{72928ABA-DF2E-4C8E-B194-7FA528229810}"/>
                </a:ext>
              </a:extLst>
            </p:cNvPr>
            <p:cNvSpPr>
              <a:spLocks/>
            </p:cNvSpPr>
            <p:nvPr userDrawn="1"/>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2" name="Freeform 15">
              <a:extLst>
                <a:ext uri="{FF2B5EF4-FFF2-40B4-BE49-F238E27FC236}">
                  <a16:creationId xmlns:a16="http://schemas.microsoft.com/office/drawing/2014/main" id="{5A52C6C9-8220-4E26-B41D-1AA4F49DF9B8}"/>
                </a:ext>
              </a:extLst>
            </p:cNvPr>
            <p:cNvSpPr>
              <a:spLocks/>
            </p:cNvSpPr>
            <p:nvPr userDrawn="1"/>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6">
              <a:extLst>
                <a:ext uri="{FF2B5EF4-FFF2-40B4-BE49-F238E27FC236}">
                  <a16:creationId xmlns:a16="http://schemas.microsoft.com/office/drawing/2014/main" id="{8548CD94-9B34-4B91-BB2B-8736861E89E1}"/>
                </a:ext>
              </a:extLst>
            </p:cNvPr>
            <p:cNvSpPr>
              <a:spLocks/>
            </p:cNvSpPr>
            <p:nvPr userDrawn="1"/>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7">
              <a:extLst>
                <a:ext uri="{FF2B5EF4-FFF2-40B4-BE49-F238E27FC236}">
                  <a16:creationId xmlns:a16="http://schemas.microsoft.com/office/drawing/2014/main" id="{CFFFDB94-105D-4570-A938-4AD7CE4AE782}"/>
                </a:ext>
              </a:extLst>
            </p:cNvPr>
            <p:cNvSpPr>
              <a:spLocks/>
            </p:cNvSpPr>
            <p:nvPr userDrawn="1"/>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18">
              <a:extLst>
                <a:ext uri="{FF2B5EF4-FFF2-40B4-BE49-F238E27FC236}">
                  <a16:creationId xmlns:a16="http://schemas.microsoft.com/office/drawing/2014/main" id="{AC2A78A9-4071-45DC-BAE8-1C643EDD9B01}"/>
                </a:ext>
              </a:extLst>
            </p:cNvPr>
            <p:cNvSpPr>
              <a:spLocks/>
            </p:cNvSpPr>
            <p:nvPr userDrawn="1"/>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Shape 56">
              <a:extLst>
                <a:ext uri="{FF2B5EF4-FFF2-40B4-BE49-F238E27FC236}">
                  <a16:creationId xmlns:a16="http://schemas.microsoft.com/office/drawing/2014/main" id="{6A0EEF9B-FB8E-409B-A24F-BD7570B88204}"/>
                </a:ext>
              </a:extLst>
            </p:cNvPr>
            <p:cNvSpPr>
              <a:spLocks/>
            </p:cNvSpPr>
            <p:nvPr userDrawn="1"/>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59" name="Freeform: Shape 58">
              <a:extLst>
                <a:ext uri="{FF2B5EF4-FFF2-40B4-BE49-F238E27FC236}">
                  <a16:creationId xmlns:a16="http://schemas.microsoft.com/office/drawing/2014/main" id="{390FC8DE-C4AD-4BD3-9506-276C17F0C333}"/>
                </a:ext>
              </a:extLst>
            </p:cNvPr>
            <p:cNvSpPr>
              <a:spLocks/>
            </p:cNvSpPr>
            <p:nvPr userDrawn="1"/>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p:spPr>
          <p:txBody>
            <a:bodyPr vert="horz" wrap="square" lIns="91440" tIns="45720" rIns="91440" bIns="45720" numCol="1" anchor="t" anchorCtr="0" compatLnSpc="1">
              <a:prstTxWarp prst="textNoShape">
                <a:avLst/>
              </a:prstTxWarp>
              <a:noAutofit/>
            </a:bodyPr>
            <a:lstStyle/>
            <a:p>
              <a:pPr lvl="0"/>
              <a:endParaRPr lang="en-US"/>
            </a:p>
          </p:txBody>
        </p:sp>
        <p:sp>
          <p:nvSpPr>
            <p:cNvPr id="48" name="Freeform 21">
              <a:extLst>
                <a:ext uri="{FF2B5EF4-FFF2-40B4-BE49-F238E27FC236}">
                  <a16:creationId xmlns:a16="http://schemas.microsoft.com/office/drawing/2014/main" id="{77297A5A-69AC-4DF4-95F9-A09D48D814E3}"/>
                </a:ext>
              </a:extLst>
            </p:cNvPr>
            <p:cNvSpPr>
              <a:spLocks/>
            </p:cNvSpPr>
            <p:nvPr userDrawn="1"/>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2">
              <a:extLst>
                <a:ext uri="{FF2B5EF4-FFF2-40B4-BE49-F238E27FC236}">
                  <a16:creationId xmlns:a16="http://schemas.microsoft.com/office/drawing/2014/main" id="{E65087DC-7AC8-4AA7-9010-A067ADE1CF79}"/>
                </a:ext>
              </a:extLst>
            </p:cNvPr>
            <p:cNvSpPr>
              <a:spLocks/>
            </p:cNvSpPr>
            <p:nvPr userDrawn="1"/>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3">
              <a:extLst>
                <a:ext uri="{FF2B5EF4-FFF2-40B4-BE49-F238E27FC236}">
                  <a16:creationId xmlns:a16="http://schemas.microsoft.com/office/drawing/2014/main" id="{3B4C2EBB-4C89-4380-A5E7-A7BD40C2B90E}"/>
                </a:ext>
              </a:extLst>
            </p:cNvPr>
            <p:cNvSpPr>
              <a:spLocks/>
            </p:cNvSpPr>
            <p:nvPr userDrawn="1"/>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4">
              <a:extLst>
                <a:ext uri="{FF2B5EF4-FFF2-40B4-BE49-F238E27FC236}">
                  <a16:creationId xmlns:a16="http://schemas.microsoft.com/office/drawing/2014/main" id="{0D7CD4FA-6D18-4E1F-9C7D-91AA2E32B2BC}"/>
                </a:ext>
              </a:extLst>
            </p:cNvPr>
            <p:cNvSpPr>
              <a:spLocks/>
            </p:cNvSpPr>
            <p:nvPr userDrawn="1"/>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5">
              <a:extLst>
                <a:ext uri="{FF2B5EF4-FFF2-40B4-BE49-F238E27FC236}">
                  <a16:creationId xmlns:a16="http://schemas.microsoft.com/office/drawing/2014/main" id="{5D06D6BE-8F81-4F1F-9E44-429E129C1957}"/>
                </a:ext>
              </a:extLst>
            </p:cNvPr>
            <p:cNvSpPr>
              <a:spLocks/>
            </p:cNvSpPr>
            <p:nvPr userDrawn="1"/>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6">
              <a:extLst>
                <a:ext uri="{FF2B5EF4-FFF2-40B4-BE49-F238E27FC236}">
                  <a16:creationId xmlns:a16="http://schemas.microsoft.com/office/drawing/2014/main" id="{3F7CF64D-F067-41E4-8D9F-41FF38972828}"/>
                </a:ext>
              </a:extLst>
            </p:cNvPr>
            <p:cNvSpPr>
              <a:spLocks/>
            </p:cNvSpPr>
            <p:nvPr userDrawn="1"/>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spTree>
    <p:extLst>
      <p:ext uri="{BB962C8B-B14F-4D97-AF65-F5344CB8AC3E}">
        <p14:creationId xmlns:p14="http://schemas.microsoft.com/office/powerpoint/2010/main" val="17389393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256117" y="-21839"/>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3643029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9829655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2310923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2786725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948270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8837493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5979996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468238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83665836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200F7B6E-608C-4712-A939-BEBE059E295A}"/>
              </a:ext>
            </a:extLst>
          </p:cNvPr>
          <p:cNvGrpSpPr/>
          <p:nvPr userDrawn="1"/>
        </p:nvGrpSpPr>
        <p:grpSpPr bwMode="ltGray">
          <a:xfrm>
            <a:off x="6256117" y="-21839"/>
            <a:ext cx="5932086" cy="6890047"/>
            <a:chOff x="6256117" y="-21839"/>
            <a:chExt cx="5932086" cy="6890047"/>
          </a:xfrm>
        </p:grpSpPr>
        <p:grpSp>
          <p:nvGrpSpPr>
            <p:cNvPr id="56" name="Group 55">
              <a:extLst>
                <a:ext uri="{FF2B5EF4-FFF2-40B4-BE49-F238E27FC236}">
                  <a16:creationId xmlns:a16="http://schemas.microsoft.com/office/drawing/2014/main" id="{6DC5E8A2-8275-4F90-BA55-9B66D81C4A9F}"/>
                </a:ext>
              </a:extLst>
            </p:cNvPr>
            <p:cNvGrpSpPr/>
            <p:nvPr userDrawn="1"/>
          </p:nvGrpSpPr>
          <p:grpSpPr bwMode="ltGray">
            <a:xfrm>
              <a:off x="8507413" y="1457714"/>
              <a:ext cx="3680790" cy="5392441"/>
              <a:chOff x="8507413" y="1457714"/>
              <a:chExt cx="3680790" cy="5392441"/>
            </a:xfrm>
          </p:grpSpPr>
          <p:sp>
            <p:nvSpPr>
              <p:cNvPr id="65" name="Freeform: Shape 64">
                <a:extLst>
                  <a:ext uri="{FF2B5EF4-FFF2-40B4-BE49-F238E27FC236}">
                    <a16:creationId xmlns:a16="http://schemas.microsoft.com/office/drawing/2014/main" id="{6C563208-4732-48A3-81E6-533A2E2DD53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DD0ADC22-C4D5-4BE8-99A8-91566ADDBF5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91C4D457-0F93-4853-AB02-01C200DE6658}"/>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E8D605B0-4DEE-4101-AC83-CD1D15D14DB9}"/>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EF14ED5-2275-4C01-96DD-1D24FE9FD6EE}"/>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F31E8C76-6A67-4E1C-BCC4-8D2ABCC0212A}"/>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9ABDD9FA-82C7-4E69-9895-354AD0BDD19E}"/>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2A7CD18E-2839-44B2-9BA7-6356529D686A}"/>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0B7E64CE-434E-410A-823C-4872E71DD278}"/>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0D92AA81-D52A-4877-AE2C-AB5B4D374D19}"/>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BE84D11A-0DE4-40A8-BB80-889FF30CCE0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A80E0B5D-2F12-4C6E-92C5-3765C579ADE8}"/>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765DAB00-242D-4D78-B6BF-F678C14B519F}"/>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D824698C-3D67-4D42-9DE6-531F5A0C7EA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699246CD-F05A-4044-B7A4-384A7B272509}"/>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0" name="Freeform: Shape 79">
                <a:extLst>
                  <a:ext uri="{FF2B5EF4-FFF2-40B4-BE49-F238E27FC236}">
                    <a16:creationId xmlns:a16="http://schemas.microsoft.com/office/drawing/2014/main" id="{06930CAB-4305-4191-AD01-9D22AAD264D9}"/>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1" name="Straight Connector 80">
                <a:extLst>
                  <a:ext uri="{FF2B5EF4-FFF2-40B4-BE49-F238E27FC236}">
                    <a16:creationId xmlns:a16="http://schemas.microsoft.com/office/drawing/2014/main" id="{7FBC50E9-9F0E-4D62-9AA6-DC145681D1EA}"/>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7" name="Group 56">
              <a:extLst>
                <a:ext uri="{FF2B5EF4-FFF2-40B4-BE49-F238E27FC236}">
                  <a16:creationId xmlns:a16="http://schemas.microsoft.com/office/drawing/2014/main" id="{09610B7D-2856-472A-B98F-5684402C6C99}"/>
                </a:ext>
              </a:extLst>
            </p:cNvPr>
            <p:cNvGrpSpPr/>
            <p:nvPr userDrawn="1"/>
          </p:nvGrpSpPr>
          <p:grpSpPr bwMode="ltGray">
            <a:xfrm>
              <a:off x="7545167" y="-21839"/>
              <a:ext cx="1192433" cy="1098538"/>
              <a:chOff x="7545167" y="-9139"/>
              <a:chExt cx="1192433" cy="1098538"/>
            </a:xfrm>
          </p:grpSpPr>
          <p:sp>
            <p:nvSpPr>
              <p:cNvPr id="62" name="Freeform: Shape 61">
                <a:extLst>
                  <a:ext uri="{FF2B5EF4-FFF2-40B4-BE49-F238E27FC236}">
                    <a16:creationId xmlns:a16="http://schemas.microsoft.com/office/drawing/2014/main" id="{5173E078-D753-4C8F-98BB-75D0CBE314FE}"/>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EAA82456-62CD-4C42-91A4-3FFD8F19BCBD}"/>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4" name="Freeform: Shape 63">
                <a:extLst>
                  <a:ext uri="{FF2B5EF4-FFF2-40B4-BE49-F238E27FC236}">
                    <a16:creationId xmlns:a16="http://schemas.microsoft.com/office/drawing/2014/main" id="{41ABB687-FC0A-4A48-8466-BF8A1129E230}"/>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58" name="Group 57">
              <a:extLst>
                <a:ext uri="{FF2B5EF4-FFF2-40B4-BE49-F238E27FC236}">
                  <a16:creationId xmlns:a16="http://schemas.microsoft.com/office/drawing/2014/main" id="{8EEA91BF-1A44-4FB0-92F0-23098E7BBFCD}"/>
                </a:ext>
              </a:extLst>
            </p:cNvPr>
            <p:cNvGrpSpPr/>
            <p:nvPr userDrawn="1"/>
          </p:nvGrpSpPr>
          <p:grpSpPr bwMode="ltGray">
            <a:xfrm>
              <a:off x="6256117" y="5896894"/>
              <a:ext cx="1057910" cy="971314"/>
              <a:chOff x="6256117" y="5896894"/>
              <a:chExt cx="1057910" cy="971314"/>
            </a:xfrm>
          </p:grpSpPr>
          <p:sp>
            <p:nvSpPr>
              <p:cNvPr id="59" name="Freeform: Shape 58">
                <a:extLst>
                  <a:ext uri="{FF2B5EF4-FFF2-40B4-BE49-F238E27FC236}">
                    <a16:creationId xmlns:a16="http://schemas.microsoft.com/office/drawing/2014/main" id="{511C6A8E-CEC6-4129-9FB2-A426C6CE84EB}"/>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205B8F1F-9F8A-42BF-8770-AEABCEC35D18}"/>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36EE7F2A-0858-47D2-B1D0-D33BCD933AB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2" cstate="email">
              <a:extLst>
                <a:ext uri="{28A0092B-C50C-407E-A947-70E740481C1C}">
                  <a14:useLocalDpi xmlns:a14="http://schemas.microsoft.com/office/drawing/2010/main"/>
                </a:ext>
              </a:extLst>
            </a:blip>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355070102"/>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C39AAC9F-C8B8-422E-93FC-08A064104000}"/>
              </a:ext>
            </a:extLst>
          </p:cNvPr>
          <p:cNvGrpSpPr/>
          <p:nvPr userDrawn="1"/>
        </p:nvGrpSpPr>
        <p:grpSpPr bwMode="ltGray">
          <a:xfrm>
            <a:off x="6256117" y="-21839"/>
            <a:ext cx="5932086" cy="6890047"/>
            <a:chOff x="6256117" y="-21839"/>
            <a:chExt cx="5932086" cy="6890047"/>
          </a:xfrm>
        </p:grpSpPr>
        <p:grpSp>
          <p:nvGrpSpPr>
            <p:cNvPr id="31" name="Group 30">
              <a:extLst>
                <a:ext uri="{FF2B5EF4-FFF2-40B4-BE49-F238E27FC236}">
                  <a16:creationId xmlns:a16="http://schemas.microsoft.com/office/drawing/2014/main" id="{A09379AA-B540-4886-8794-46BA10F3D91B}"/>
                </a:ext>
              </a:extLst>
            </p:cNvPr>
            <p:cNvGrpSpPr/>
            <p:nvPr userDrawn="1"/>
          </p:nvGrpSpPr>
          <p:grpSpPr bwMode="ltGray">
            <a:xfrm>
              <a:off x="8507413" y="1457714"/>
              <a:ext cx="3680790" cy="5392441"/>
              <a:chOff x="8507413" y="1457714"/>
              <a:chExt cx="3680790" cy="5392441"/>
            </a:xfrm>
          </p:grpSpPr>
          <p:sp>
            <p:nvSpPr>
              <p:cNvPr id="64" name="Freeform: Shape 63">
                <a:extLst>
                  <a:ext uri="{FF2B5EF4-FFF2-40B4-BE49-F238E27FC236}">
                    <a16:creationId xmlns:a16="http://schemas.microsoft.com/office/drawing/2014/main" id="{9E5BC201-014B-48F5-BAC0-4FBBACCBF586}"/>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F72CD027-1ABE-4E4A-BE9E-EF73250F92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52C85D91-63CC-4FF7-A826-BE886CDB017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E55C67E6-D930-403F-9550-70EC2A102AB5}"/>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BDB9C074-A5A6-4082-9FCD-D487FD8013E5}"/>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4E3D79EB-E5E0-4CA3-A7CE-50069CC73F1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42F892FB-2465-40CF-A81F-AC989DC09CE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E8BADF38-50C7-4E4B-AA00-660BF4161C96}"/>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A51B782C-38CF-4C16-8A55-9C1BEA5AF3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61A234A0-3B09-4E85-880A-C885FBEE2401}"/>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B6516D46-39CD-420E-9263-03065B10F8F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6B28F64C-F49A-4F09-A9C2-8502680A64D7}"/>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3AE00412-2C1C-4CAB-B1D4-B046A4B37C24}"/>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01030AB7-3DE7-407A-98DE-751351FCBFB5}"/>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0074BD83-98DD-4084-9D1E-CDACFD005AFF}"/>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47C85498-5D07-457D-BA73-99E2EB50130B}"/>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0" name="Straight Connector 79">
                <a:extLst>
                  <a:ext uri="{FF2B5EF4-FFF2-40B4-BE49-F238E27FC236}">
                    <a16:creationId xmlns:a16="http://schemas.microsoft.com/office/drawing/2014/main" id="{3DF2CE11-90A6-43A8-B2DC-45295F10CB64}"/>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2" name="Group 31">
              <a:extLst>
                <a:ext uri="{FF2B5EF4-FFF2-40B4-BE49-F238E27FC236}">
                  <a16:creationId xmlns:a16="http://schemas.microsoft.com/office/drawing/2014/main" id="{F65F154A-ABA1-4F9A-97F8-C50108DD1A97}"/>
                </a:ext>
              </a:extLst>
            </p:cNvPr>
            <p:cNvGrpSpPr/>
            <p:nvPr userDrawn="1"/>
          </p:nvGrpSpPr>
          <p:grpSpPr bwMode="ltGray">
            <a:xfrm>
              <a:off x="7545167" y="-21839"/>
              <a:ext cx="1192433" cy="1098538"/>
              <a:chOff x="7545167" y="-9139"/>
              <a:chExt cx="1192433" cy="1098538"/>
            </a:xfrm>
          </p:grpSpPr>
          <p:sp>
            <p:nvSpPr>
              <p:cNvPr id="61" name="Freeform: Shape 60">
                <a:extLst>
                  <a:ext uri="{FF2B5EF4-FFF2-40B4-BE49-F238E27FC236}">
                    <a16:creationId xmlns:a16="http://schemas.microsoft.com/office/drawing/2014/main" id="{54AC8DFE-7BB0-4D98-AA21-405DB4B06225}"/>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2" name="Freeform: Shape 61">
                <a:extLst>
                  <a:ext uri="{FF2B5EF4-FFF2-40B4-BE49-F238E27FC236}">
                    <a16:creationId xmlns:a16="http://schemas.microsoft.com/office/drawing/2014/main" id="{F39938CF-5CFF-4707-BBDD-DD19FA0A50F1}"/>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73332E5E-0308-4370-A841-A20570A69BDF}"/>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3" name="Group 32">
              <a:extLst>
                <a:ext uri="{FF2B5EF4-FFF2-40B4-BE49-F238E27FC236}">
                  <a16:creationId xmlns:a16="http://schemas.microsoft.com/office/drawing/2014/main" id="{9E46D602-7D42-411E-8BA6-6F74E13FE605}"/>
                </a:ext>
              </a:extLst>
            </p:cNvPr>
            <p:cNvGrpSpPr/>
            <p:nvPr userDrawn="1"/>
          </p:nvGrpSpPr>
          <p:grpSpPr bwMode="ltGray">
            <a:xfrm>
              <a:off x="6256117" y="5896894"/>
              <a:ext cx="1057910" cy="971314"/>
              <a:chOff x="6256117" y="5896894"/>
              <a:chExt cx="1057910" cy="971314"/>
            </a:xfrm>
          </p:grpSpPr>
          <p:sp>
            <p:nvSpPr>
              <p:cNvPr id="34" name="Freeform: Shape 33">
                <a:extLst>
                  <a:ext uri="{FF2B5EF4-FFF2-40B4-BE49-F238E27FC236}">
                    <a16:creationId xmlns:a16="http://schemas.microsoft.com/office/drawing/2014/main" id="{53F344C1-9929-4E86-BB1A-05E12D1570DF}"/>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5" name="Freeform: Shape 34">
                <a:extLst>
                  <a:ext uri="{FF2B5EF4-FFF2-40B4-BE49-F238E27FC236}">
                    <a16:creationId xmlns:a16="http://schemas.microsoft.com/office/drawing/2014/main" id="{B6933AFD-19AA-49B8-BCF7-2D0EAA89273D}"/>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6" name="Freeform: Shape 35">
                <a:extLst>
                  <a:ext uri="{FF2B5EF4-FFF2-40B4-BE49-F238E27FC236}">
                    <a16:creationId xmlns:a16="http://schemas.microsoft.com/office/drawing/2014/main" id="{9FB75AC2-D122-402F-B448-B0118576BB4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2" cstate="email">
              <a:extLst>
                <a:ext uri="{28A0092B-C50C-407E-A947-70E740481C1C}">
                  <a14:useLocalDpi xmlns:a14="http://schemas.microsoft.com/office/drawing/2010/main"/>
                </a:ext>
              </a:extLst>
            </a:blip>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6074260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userDrawn="1"/>
        </p:nvGrpSpPr>
        <p:grpSpPr bwMode="ltGray">
          <a:xfrm>
            <a:off x="6256117" y="-21839"/>
            <a:ext cx="5932086" cy="6890047"/>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2415168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2381958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97.xml"/><Relationship Id="rId13" Type="http://schemas.openxmlformats.org/officeDocument/2006/relationships/slideLayout" Target="../slideLayouts/slideLayout202.xml"/><Relationship Id="rId18" Type="http://schemas.openxmlformats.org/officeDocument/2006/relationships/slideLayout" Target="../slideLayouts/slideLayout207.xml"/><Relationship Id="rId3" Type="http://schemas.openxmlformats.org/officeDocument/2006/relationships/slideLayout" Target="../slideLayouts/slideLayout192.xml"/><Relationship Id="rId21" Type="http://schemas.openxmlformats.org/officeDocument/2006/relationships/theme" Target="../theme/theme10.xml"/><Relationship Id="rId7" Type="http://schemas.openxmlformats.org/officeDocument/2006/relationships/slideLayout" Target="../slideLayouts/slideLayout196.xml"/><Relationship Id="rId12" Type="http://schemas.openxmlformats.org/officeDocument/2006/relationships/slideLayout" Target="../slideLayouts/slideLayout201.xml"/><Relationship Id="rId17" Type="http://schemas.openxmlformats.org/officeDocument/2006/relationships/slideLayout" Target="../slideLayouts/slideLayout206.xml"/><Relationship Id="rId2" Type="http://schemas.openxmlformats.org/officeDocument/2006/relationships/slideLayout" Target="../slideLayouts/slideLayout191.xml"/><Relationship Id="rId16" Type="http://schemas.openxmlformats.org/officeDocument/2006/relationships/slideLayout" Target="../slideLayouts/slideLayout205.xml"/><Relationship Id="rId20" Type="http://schemas.openxmlformats.org/officeDocument/2006/relationships/slideLayout" Target="../slideLayouts/slideLayout209.xml"/><Relationship Id="rId1" Type="http://schemas.openxmlformats.org/officeDocument/2006/relationships/slideLayout" Target="../slideLayouts/slideLayout190.xml"/><Relationship Id="rId6" Type="http://schemas.openxmlformats.org/officeDocument/2006/relationships/slideLayout" Target="../slideLayouts/slideLayout195.xml"/><Relationship Id="rId11" Type="http://schemas.openxmlformats.org/officeDocument/2006/relationships/slideLayout" Target="../slideLayouts/slideLayout200.xml"/><Relationship Id="rId5" Type="http://schemas.openxmlformats.org/officeDocument/2006/relationships/slideLayout" Target="../slideLayouts/slideLayout194.xml"/><Relationship Id="rId15" Type="http://schemas.openxmlformats.org/officeDocument/2006/relationships/slideLayout" Target="../slideLayouts/slideLayout204.xml"/><Relationship Id="rId23" Type="http://schemas.openxmlformats.org/officeDocument/2006/relationships/image" Target="../media/image38.png"/><Relationship Id="rId10" Type="http://schemas.openxmlformats.org/officeDocument/2006/relationships/slideLayout" Target="../slideLayouts/slideLayout199.xml"/><Relationship Id="rId19" Type="http://schemas.openxmlformats.org/officeDocument/2006/relationships/slideLayout" Target="../slideLayouts/slideLayout208.xml"/><Relationship Id="rId4" Type="http://schemas.openxmlformats.org/officeDocument/2006/relationships/slideLayout" Target="../slideLayouts/slideLayout193.xml"/><Relationship Id="rId9" Type="http://schemas.openxmlformats.org/officeDocument/2006/relationships/slideLayout" Target="../slideLayouts/slideLayout198.xml"/><Relationship Id="rId14" Type="http://schemas.openxmlformats.org/officeDocument/2006/relationships/slideLayout" Target="../slideLayouts/slideLayout203.xml"/><Relationship Id="rId22" Type="http://schemas.openxmlformats.org/officeDocument/2006/relationships/image" Target="../media/image18.emf"/></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17.xml"/><Relationship Id="rId13" Type="http://schemas.openxmlformats.org/officeDocument/2006/relationships/slideLayout" Target="../slideLayouts/slideLayout222.xml"/><Relationship Id="rId18" Type="http://schemas.openxmlformats.org/officeDocument/2006/relationships/slideLayout" Target="../slideLayouts/slideLayout227.xml"/><Relationship Id="rId26" Type="http://schemas.openxmlformats.org/officeDocument/2006/relationships/slideLayout" Target="../slideLayouts/slideLayout235.xml"/><Relationship Id="rId3" Type="http://schemas.openxmlformats.org/officeDocument/2006/relationships/slideLayout" Target="../slideLayouts/slideLayout212.xml"/><Relationship Id="rId21" Type="http://schemas.openxmlformats.org/officeDocument/2006/relationships/slideLayout" Target="../slideLayouts/slideLayout230.xml"/><Relationship Id="rId7" Type="http://schemas.openxmlformats.org/officeDocument/2006/relationships/slideLayout" Target="../slideLayouts/slideLayout216.xml"/><Relationship Id="rId12" Type="http://schemas.openxmlformats.org/officeDocument/2006/relationships/slideLayout" Target="../slideLayouts/slideLayout221.xml"/><Relationship Id="rId17" Type="http://schemas.openxmlformats.org/officeDocument/2006/relationships/slideLayout" Target="../slideLayouts/slideLayout226.xml"/><Relationship Id="rId25" Type="http://schemas.openxmlformats.org/officeDocument/2006/relationships/slideLayout" Target="../slideLayouts/slideLayout234.xml"/><Relationship Id="rId2" Type="http://schemas.openxmlformats.org/officeDocument/2006/relationships/slideLayout" Target="../slideLayouts/slideLayout211.xml"/><Relationship Id="rId16" Type="http://schemas.openxmlformats.org/officeDocument/2006/relationships/slideLayout" Target="../slideLayouts/slideLayout225.xml"/><Relationship Id="rId20" Type="http://schemas.openxmlformats.org/officeDocument/2006/relationships/slideLayout" Target="../slideLayouts/slideLayout229.xml"/><Relationship Id="rId1" Type="http://schemas.openxmlformats.org/officeDocument/2006/relationships/slideLayout" Target="../slideLayouts/slideLayout210.xml"/><Relationship Id="rId6" Type="http://schemas.openxmlformats.org/officeDocument/2006/relationships/slideLayout" Target="../slideLayouts/slideLayout215.xml"/><Relationship Id="rId11" Type="http://schemas.openxmlformats.org/officeDocument/2006/relationships/slideLayout" Target="../slideLayouts/slideLayout220.xml"/><Relationship Id="rId24" Type="http://schemas.openxmlformats.org/officeDocument/2006/relationships/slideLayout" Target="../slideLayouts/slideLayout233.xml"/><Relationship Id="rId5" Type="http://schemas.openxmlformats.org/officeDocument/2006/relationships/slideLayout" Target="../slideLayouts/slideLayout214.xml"/><Relationship Id="rId15" Type="http://schemas.openxmlformats.org/officeDocument/2006/relationships/slideLayout" Target="../slideLayouts/slideLayout224.xml"/><Relationship Id="rId23" Type="http://schemas.openxmlformats.org/officeDocument/2006/relationships/slideLayout" Target="../slideLayouts/slideLayout232.xml"/><Relationship Id="rId28" Type="http://schemas.openxmlformats.org/officeDocument/2006/relationships/image" Target="../media/image1.emf"/><Relationship Id="rId10" Type="http://schemas.openxmlformats.org/officeDocument/2006/relationships/slideLayout" Target="../slideLayouts/slideLayout219.xml"/><Relationship Id="rId19" Type="http://schemas.openxmlformats.org/officeDocument/2006/relationships/slideLayout" Target="../slideLayouts/slideLayout228.xml"/><Relationship Id="rId4" Type="http://schemas.openxmlformats.org/officeDocument/2006/relationships/slideLayout" Target="../slideLayouts/slideLayout213.xml"/><Relationship Id="rId9" Type="http://schemas.openxmlformats.org/officeDocument/2006/relationships/slideLayout" Target="../slideLayouts/slideLayout218.xml"/><Relationship Id="rId14" Type="http://schemas.openxmlformats.org/officeDocument/2006/relationships/slideLayout" Target="../slideLayouts/slideLayout223.xml"/><Relationship Id="rId22" Type="http://schemas.openxmlformats.org/officeDocument/2006/relationships/slideLayout" Target="../slideLayouts/slideLayout231.xml"/><Relationship Id="rId27"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43.xml"/><Relationship Id="rId13" Type="http://schemas.openxmlformats.org/officeDocument/2006/relationships/slideLayout" Target="../slideLayouts/slideLayout248.xml"/><Relationship Id="rId18" Type="http://schemas.openxmlformats.org/officeDocument/2006/relationships/slideLayout" Target="../slideLayouts/slideLayout253.xml"/><Relationship Id="rId3" Type="http://schemas.openxmlformats.org/officeDocument/2006/relationships/slideLayout" Target="../slideLayouts/slideLayout238.xml"/><Relationship Id="rId21" Type="http://schemas.openxmlformats.org/officeDocument/2006/relationships/image" Target="../media/image18.emf"/><Relationship Id="rId7" Type="http://schemas.openxmlformats.org/officeDocument/2006/relationships/slideLayout" Target="../slideLayouts/slideLayout242.xml"/><Relationship Id="rId12" Type="http://schemas.openxmlformats.org/officeDocument/2006/relationships/slideLayout" Target="../slideLayouts/slideLayout247.xml"/><Relationship Id="rId17" Type="http://schemas.openxmlformats.org/officeDocument/2006/relationships/slideLayout" Target="../slideLayouts/slideLayout252.xml"/><Relationship Id="rId2" Type="http://schemas.openxmlformats.org/officeDocument/2006/relationships/slideLayout" Target="../slideLayouts/slideLayout237.xml"/><Relationship Id="rId16" Type="http://schemas.openxmlformats.org/officeDocument/2006/relationships/slideLayout" Target="../slideLayouts/slideLayout251.xml"/><Relationship Id="rId20" Type="http://schemas.openxmlformats.org/officeDocument/2006/relationships/theme" Target="../theme/theme12.xml"/><Relationship Id="rId1" Type="http://schemas.openxmlformats.org/officeDocument/2006/relationships/slideLayout" Target="../slideLayouts/slideLayout236.xml"/><Relationship Id="rId6" Type="http://schemas.openxmlformats.org/officeDocument/2006/relationships/slideLayout" Target="../slideLayouts/slideLayout241.xml"/><Relationship Id="rId11" Type="http://schemas.openxmlformats.org/officeDocument/2006/relationships/slideLayout" Target="../slideLayouts/slideLayout246.xml"/><Relationship Id="rId5" Type="http://schemas.openxmlformats.org/officeDocument/2006/relationships/slideLayout" Target="../slideLayouts/slideLayout240.xml"/><Relationship Id="rId15" Type="http://schemas.openxmlformats.org/officeDocument/2006/relationships/slideLayout" Target="../slideLayouts/slideLayout250.xml"/><Relationship Id="rId10" Type="http://schemas.openxmlformats.org/officeDocument/2006/relationships/slideLayout" Target="../slideLayouts/slideLayout245.xml"/><Relationship Id="rId19" Type="http://schemas.openxmlformats.org/officeDocument/2006/relationships/slideLayout" Target="../slideLayouts/slideLayout254.xml"/><Relationship Id="rId4" Type="http://schemas.openxmlformats.org/officeDocument/2006/relationships/slideLayout" Target="../slideLayouts/slideLayout239.xml"/><Relationship Id="rId9" Type="http://schemas.openxmlformats.org/officeDocument/2006/relationships/slideLayout" Target="../slideLayouts/slideLayout244.xml"/><Relationship Id="rId14" Type="http://schemas.openxmlformats.org/officeDocument/2006/relationships/slideLayout" Target="../slideLayouts/slideLayout249.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267.xml"/><Relationship Id="rId18" Type="http://schemas.openxmlformats.org/officeDocument/2006/relationships/slideLayout" Target="../slideLayouts/slideLayout272.xml"/><Relationship Id="rId26" Type="http://schemas.openxmlformats.org/officeDocument/2006/relationships/slideLayout" Target="../slideLayouts/slideLayout280.xml"/><Relationship Id="rId39" Type="http://schemas.openxmlformats.org/officeDocument/2006/relationships/slideLayout" Target="../slideLayouts/slideLayout293.xml"/><Relationship Id="rId21" Type="http://schemas.openxmlformats.org/officeDocument/2006/relationships/slideLayout" Target="../slideLayouts/slideLayout275.xml"/><Relationship Id="rId34" Type="http://schemas.openxmlformats.org/officeDocument/2006/relationships/slideLayout" Target="../slideLayouts/slideLayout288.xml"/><Relationship Id="rId42" Type="http://schemas.openxmlformats.org/officeDocument/2006/relationships/slideLayout" Target="../slideLayouts/slideLayout296.xml"/><Relationship Id="rId47" Type="http://schemas.openxmlformats.org/officeDocument/2006/relationships/theme" Target="../theme/theme13.xml"/><Relationship Id="rId7" Type="http://schemas.openxmlformats.org/officeDocument/2006/relationships/slideLayout" Target="../slideLayouts/slideLayout261.xml"/><Relationship Id="rId2" Type="http://schemas.openxmlformats.org/officeDocument/2006/relationships/slideLayout" Target="../slideLayouts/slideLayout256.xml"/><Relationship Id="rId16" Type="http://schemas.openxmlformats.org/officeDocument/2006/relationships/slideLayout" Target="../slideLayouts/slideLayout270.xml"/><Relationship Id="rId29" Type="http://schemas.openxmlformats.org/officeDocument/2006/relationships/slideLayout" Target="../slideLayouts/slideLayout283.xml"/><Relationship Id="rId1" Type="http://schemas.openxmlformats.org/officeDocument/2006/relationships/slideLayout" Target="../slideLayouts/slideLayout255.xml"/><Relationship Id="rId6" Type="http://schemas.openxmlformats.org/officeDocument/2006/relationships/slideLayout" Target="../slideLayouts/slideLayout260.xml"/><Relationship Id="rId11" Type="http://schemas.openxmlformats.org/officeDocument/2006/relationships/slideLayout" Target="../slideLayouts/slideLayout265.xml"/><Relationship Id="rId24" Type="http://schemas.openxmlformats.org/officeDocument/2006/relationships/slideLayout" Target="../slideLayouts/slideLayout278.xml"/><Relationship Id="rId32" Type="http://schemas.openxmlformats.org/officeDocument/2006/relationships/slideLayout" Target="../slideLayouts/slideLayout286.xml"/><Relationship Id="rId37" Type="http://schemas.openxmlformats.org/officeDocument/2006/relationships/slideLayout" Target="../slideLayouts/slideLayout291.xml"/><Relationship Id="rId40" Type="http://schemas.openxmlformats.org/officeDocument/2006/relationships/slideLayout" Target="../slideLayouts/slideLayout294.xml"/><Relationship Id="rId45" Type="http://schemas.openxmlformats.org/officeDocument/2006/relationships/slideLayout" Target="../slideLayouts/slideLayout299.xml"/><Relationship Id="rId5" Type="http://schemas.openxmlformats.org/officeDocument/2006/relationships/slideLayout" Target="../slideLayouts/slideLayout259.xml"/><Relationship Id="rId15" Type="http://schemas.openxmlformats.org/officeDocument/2006/relationships/slideLayout" Target="../slideLayouts/slideLayout269.xml"/><Relationship Id="rId23" Type="http://schemas.openxmlformats.org/officeDocument/2006/relationships/slideLayout" Target="../slideLayouts/slideLayout277.xml"/><Relationship Id="rId28" Type="http://schemas.openxmlformats.org/officeDocument/2006/relationships/slideLayout" Target="../slideLayouts/slideLayout282.xml"/><Relationship Id="rId36" Type="http://schemas.openxmlformats.org/officeDocument/2006/relationships/slideLayout" Target="../slideLayouts/slideLayout290.xml"/><Relationship Id="rId10" Type="http://schemas.openxmlformats.org/officeDocument/2006/relationships/slideLayout" Target="../slideLayouts/slideLayout264.xml"/><Relationship Id="rId19" Type="http://schemas.openxmlformats.org/officeDocument/2006/relationships/slideLayout" Target="../slideLayouts/slideLayout273.xml"/><Relationship Id="rId31" Type="http://schemas.openxmlformats.org/officeDocument/2006/relationships/slideLayout" Target="../slideLayouts/slideLayout285.xml"/><Relationship Id="rId44" Type="http://schemas.openxmlformats.org/officeDocument/2006/relationships/slideLayout" Target="../slideLayouts/slideLayout298.xml"/><Relationship Id="rId4" Type="http://schemas.openxmlformats.org/officeDocument/2006/relationships/slideLayout" Target="../slideLayouts/slideLayout258.xml"/><Relationship Id="rId9" Type="http://schemas.openxmlformats.org/officeDocument/2006/relationships/slideLayout" Target="../slideLayouts/slideLayout263.xml"/><Relationship Id="rId14" Type="http://schemas.openxmlformats.org/officeDocument/2006/relationships/slideLayout" Target="../slideLayouts/slideLayout268.xml"/><Relationship Id="rId22" Type="http://schemas.openxmlformats.org/officeDocument/2006/relationships/slideLayout" Target="../slideLayouts/slideLayout276.xml"/><Relationship Id="rId27" Type="http://schemas.openxmlformats.org/officeDocument/2006/relationships/slideLayout" Target="../slideLayouts/slideLayout281.xml"/><Relationship Id="rId30" Type="http://schemas.openxmlformats.org/officeDocument/2006/relationships/slideLayout" Target="../slideLayouts/slideLayout284.xml"/><Relationship Id="rId35" Type="http://schemas.openxmlformats.org/officeDocument/2006/relationships/slideLayout" Target="../slideLayouts/slideLayout289.xml"/><Relationship Id="rId43" Type="http://schemas.openxmlformats.org/officeDocument/2006/relationships/slideLayout" Target="../slideLayouts/slideLayout297.xml"/><Relationship Id="rId48" Type="http://schemas.openxmlformats.org/officeDocument/2006/relationships/image" Target="../media/image50.emf"/><Relationship Id="rId8" Type="http://schemas.openxmlformats.org/officeDocument/2006/relationships/slideLayout" Target="../slideLayouts/slideLayout262.xml"/><Relationship Id="rId3" Type="http://schemas.openxmlformats.org/officeDocument/2006/relationships/slideLayout" Target="../slideLayouts/slideLayout257.xml"/><Relationship Id="rId12" Type="http://schemas.openxmlformats.org/officeDocument/2006/relationships/slideLayout" Target="../slideLayouts/slideLayout266.xml"/><Relationship Id="rId17" Type="http://schemas.openxmlformats.org/officeDocument/2006/relationships/slideLayout" Target="../slideLayouts/slideLayout271.xml"/><Relationship Id="rId25" Type="http://schemas.openxmlformats.org/officeDocument/2006/relationships/slideLayout" Target="../slideLayouts/slideLayout279.xml"/><Relationship Id="rId33" Type="http://schemas.openxmlformats.org/officeDocument/2006/relationships/slideLayout" Target="../slideLayouts/slideLayout287.xml"/><Relationship Id="rId38" Type="http://schemas.openxmlformats.org/officeDocument/2006/relationships/slideLayout" Target="../slideLayouts/slideLayout292.xml"/><Relationship Id="rId46" Type="http://schemas.openxmlformats.org/officeDocument/2006/relationships/slideLayout" Target="../slideLayouts/slideLayout300.xml"/><Relationship Id="rId20" Type="http://schemas.openxmlformats.org/officeDocument/2006/relationships/slideLayout" Target="../slideLayouts/slideLayout274.xml"/><Relationship Id="rId41" Type="http://schemas.openxmlformats.org/officeDocument/2006/relationships/slideLayout" Target="../slideLayouts/slideLayout295.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08.xml"/><Relationship Id="rId13" Type="http://schemas.openxmlformats.org/officeDocument/2006/relationships/slideLayout" Target="../slideLayouts/slideLayout313.xml"/><Relationship Id="rId18" Type="http://schemas.openxmlformats.org/officeDocument/2006/relationships/slideLayout" Target="../slideLayouts/slideLayout318.xml"/><Relationship Id="rId26" Type="http://schemas.openxmlformats.org/officeDocument/2006/relationships/theme" Target="../theme/theme14.xml"/><Relationship Id="rId3" Type="http://schemas.openxmlformats.org/officeDocument/2006/relationships/slideLayout" Target="../slideLayouts/slideLayout303.xml"/><Relationship Id="rId21" Type="http://schemas.openxmlformats.org/officeDocument/2006/relationships/slideLayout" Target="../slideLayouts/slideLayout321.xml"/><Relationship Id="rId7" Type="http://schemas.openxmlformats.org/officeDocument/2006/relationships/slideLayout" Target="../slideLayouts/slideLayout307.xml"/><Relationship Id="rId12" Type="http://schemas.openxmlformats.org/officeDocument/2006/relationships/slideLayout" Target="../slideLayouts/slideLayout312.xml"/><Relationship Id="rId17" Type="http://schemas.openxmlformats.org/officeDocument/2006/relationships/slideLayout" Target="../slideLayouts/slideLayout317.xml"/><Relationship Id="rId25" Type="http://schemas.openxmlformats.org/officeDocument/2006/relationships/slideLayout" Target="../slideLayouts/slideLayout325.xml"/><Relationship Id="rId2" Type="http://schemas.openxmlformats.org/officeDocument/2006/relationships/slideLayout" Target="../slideLayouts/slideLayout302.xml"/><Relationship Id="rId16" Type="http://schemas.openxmlformats.org/officeDocument/2006/relationships/slideLayout" Target="../slideLayouts/slideLayout316.xml"/><Relationship Id="rId20" Type="http://schemas.openxmlformats.org/officeDocument/2006/relationships/slideLayout" Target="../slideLayouts/slideLayout320.xml"/><Relationship Id="rId1" Type="http://schemas.openxmlformats.org/officeDocument/2006/relationships/slideLayout" Target="../slideLayouts/slideLayout301.xml"/><Relationship Id="rId6" Type="http://schemas.openxmlformats.org/officeDocument/2006/relationships/slideLayout" Target="../slideLayouts/slideLayout306.xml"/><Relationship Id="rId11" Type="http://schemas.openxmlformats.org/officeDocument/2006/relationships/slideLayout" Target="../slideLayouts/slideLayout311.xml"/><Relationship Id="rId24" Type="http://schemas.openxmlformats.org/officeDocument/2006/relationships/slideLayout" Target="../slideLayouts/slideLayout324.xml"/><Relationship Id="rId5" Type="http://schemas.openxmlformats.org/officeDocument/2006/relationships/slideLayout" Target="../slideLayouts/slideLayout305.xml"/><Relationship Id="rId15" Type="http://schemas.openxmlformats.org/officeDocument/2006/relationships/slideLayout" Target="../slideLayouts/slideLayout315.xml"/><Relationship Id="rId23" Type="http://schemas.openxmlformats.org/officeDocument/2006/relationships/slideLayout" Target="../slideLayouts/slideLayout323.xml"/><Relationship Id="rId10" Type="http://schemas.openxmlformats.org/officeDocument/2006/relationships/slideLayout" Target="../slideLayouts/slideLayout310.xml"/><Relationship Id="rId19" Type="http://schemas.openxmlformats.org/officeDocument/2006/relationships/slideLayout" Target="../slideLayouts/slideLayout319.xml"/><Relationship Id="rId4" Type="http://schemas.openxmlformats.org/officeDocument/2006/relationships/slideLayout" Target="../slideLayouts/slideLayout304.xml"/><Relationship Id="rId9" Type="http://schemas.openxmlformats.org/officeDocument/2006/relationships/slideLayout" Target="../slideLayouts/slideLayout309.xml"/><Relationship Id="rId14" Type="http://schemas.openxmlformats.org/officeDocument/2006/relationships/slideLayout" Target="../slideLayouts/slideLayout314.xml"/><Relationship Id="rId22" Type="http://schemas.openxmlformats.org/officeDocument/2006/relationships/slideLayout" Target="../slideLayouts/slideLayout322.xml"/><Relationship Id="rId27" Type="http://schemas.openxmlformats.org/officeDocument/2006/relationships/image" Target="../media/image59.png"/></Relationships>
</file>

<file path=ppt/slideMasters/_rels/slideMaster15.xml.rels><?xml version="1.0" encoding="UTF-8" standalone="yes"?>
<Relationships xmlns="http://schemas.openxmlformats.org/package/2006/relationships"><Relationship Id="rId13" Type="http://schemas.openxmlformats.org/officeDocument/2006/relationships/slideLayout" Target="../slideLayouts/slideLayout338.xml"/><Relationship Id="rId18" Type="http://schemas.openxmlformats.org/officeDocument/2006/relationships/slideLayout" Target="../slideLayouts/slideLayout343.xml"/><Relationship Id="rId26" Type="http://schemas.openxmlformats.org/officeDocument/2006/relationships/slideLayout" Target="../slideLayouts/slideLayout351.xml"/><Relationship Id="rId39" Type="http://schemas.openxmlformats.org/officeDocument/2006/relationships/slideLayout" Target="../slideLayouts/slideLayout364.xml"/><Relationship Id="rId21" Type="http://schemas.openxmlformats.org/officeDocument/2006/relationships/slideLayout" Target="../slideLayouts/slideLayout346.xml"/><Relationship Id="rId34" Type="http://schemas.openxmlformats.org/officeDocument/2006/relationships/slideLayout" Target="../slideLayouts/slideLayout359.xml"/><Relationship Id="rId42" Type="http://schemas.openxmlformats.org/officeDocument/2006/relationships/slideLayout" Target="../slideLayouts/slideLayout367.xml"/><Relationship Id="rId47" Type="http://schemas.openxmlformats.org/officeDocument/2006/relationships/theme" Target="../theme/theme15.xml"/><Relationship Id="rId7" Type="http://schemas.openxmlformats.org/officeDocument/2006/relationships/slideLayout" Target="../slideLayouts/slideLayout332.xml"/><Relationship Id="rId2" Type="http://schemas.openxmlformats.org/officeDocument/2006/relationships/slideLayout" Target="../slideLayouts/slideLayout327.xml"/><Relationship Id="rId16" Type="http://schemas.openxmlformats.org/officeDocument/2006/relationships/slideLayout" Target="../slideLayouts/slideLayout341.xml"/><Relationship Id="rId29" Type="http://schemas.openxmlformats.org/officeDocument/2006/relationships/slideLayout" Target="../slideLayouts/slideLayout354.xml"/><Relationship Id="rId1" Type="http://schemas.openxmlformats.org/officeDocument/2006/relationships/slideLayout" Target="../slideLayouts/slideLayout326.xml"/><Relationship Id="rId6" Type="http://schemas.openxmlformats.org/officeDocument/2006/relationships/slideLayout" Target="../slideLayouts/slideLayout331.xml"/><Relationship Id="rId11" Type="http://schemas.openxmlformats.org/officeDocument/2006/relationships/slideLayout" Target="../slideLayouts/slideLayout336.xml"/><Relationship Id="rId24" Type="http://schemas.openxmlformats.org/officeDocument/2006/relationships/slideLayout" Target="../slideLayouts/slideLayout349.xml"/><Relationship Id="rId32" Type="http://schemas.openxmlformats.org/officeDocument/2006/relationships/slideLayout" Target="../slideLayouts/slideLayout357.xml"/><Relationship Id="rId37" Type="http://schemas.openxmlformats.org/officeDocument/2006/relationships/slideLayout" Target="../slideLayouts/slideLayout362.xml"/><Relationship Id="rId40" Type="http://schemas.openxmlformats.org/officeDocument/2006/relationships/slideLayout" Target="../slideLayouts/slideLayout365.xml"/><Relationship Id="rId45" Type="http://schemas.openxmlformats.org/officeDocument/2006/relationships/slideLayout" Target="../slideLayouts/slideLayout370.xml"/><Relationship Id="rId5" Type="http://schemas.openxmlformats.org/officeDocument/2006/relationships/slideLayout" Target="../slideLayouts/slideLayout330.xml"/><Relationship Id="rId15" Type="http://schemas.openxmlformats.org/officeDocument/2006/relationships/slideLayout" Target="../slideLayouts/slideLayout340.xml"/><Relationship Id="rId23" Type="http://schemas.openxmlformats.org/officeDocument/2006/relationships/slideLayout" Target="../slideLayouts/slideLayout348.xml"/><Relationship Id="rId28" Type="http://schemas.openxmlformats.org/officeDocument/2006/relationships/slideLayout" Target="../slideLayouts/slideLayout353.xml"/><Relationship Id="rId36" Type="http://schemas.openxmlformats.org/officeDocument/2006/relationships/slideLayout" Target="../slideLayouts/slideLayout361.xml"/><Relationship Id="rId10" Type="http://schemas.openxmlformats.org/officeDocument/2006/relationships/slideLayout" Target="../slideLayouts/slideLayout335.xml"/><Relationship Id="rId19" Type="http://schemas.openxmlformats.org/officeDocument/2006/relationships/slideLayout" Target="../slideLayouts/slideLayout344.xml"/><Relationship Id="rId31" Type="http://schemas.openxmlformats.org/officeDocument/2006/relationships/slideLayout" Target="../slideLayouts/slideLayout356.xml"/><Relationship Id="rId44" Type="http://schemas.openxmlformats.org/officeDocument/2006/relationships/slideLayout" Target="../slideLayouts/slideLayout369.xml"/><Relationship Id="rId4" Type="http://schemas.openxmlformats.org/officeDocument/2006/relationships/slideLayout" Target="../slideLayouts/slideLayout329.xml"/><Relationship Id="rId9" Type="http://schemas.openxmlformats.org/officeDocument/2006/relationships/slideLayout" Target="../slideLayouts/slideLayout334.xml"/><Relationship Id="rId14" Type="http://schemas.openxmlformats.org/officeDocument/2006/relationships/slideLayout" Target="../slideLayouts/slideLayout339.xml"/><Relationship Id="rId22" Type="http://schemas.openxmlformats.org/officeDocument/2006/relationships/slideLayout" Target="../slideLayouts/slideLayout347.xml"/><Relationship Id="rId27" Type="http://schemas.openxmlformats.org/officeDocument/2006/relationships/slideLayout" Target="../slideLayouts/slideLayout352.xml"/><Relationship Id="rId30" Type="http://schemas.openxmlformats.org/officeDocument/2006/relationships/slideLayout" Target="../slideLayouts/slideLayout355.xml"/><Relationship Id="rId35" Type="http://schemas.openxmlformats.org/officeDocument/2006/relationships/slideLayout" Target="../slideLayouts/slideLayout360.xml"/><Relationship Id="rId43" Type="http://schemas.openxmlformats.org/officeDocument/2006/relationships/slideLayout" Target="../slideLayouts/slideLayout368.xml"/><Relationship Id="rId8" Type="http://schemas.openxmlformats.org/officeDocument/2006/relationships/slideLayout" Target="../slideLayouts/slideLayout333.xml"/><Relationship Id="rId3" Type="http://schemas.openxmlformats.org/officeDocument/2006/relationships/slideLayout" Target="../slideLayouts/slideLayout328.xml"/><Relationship Id="rId12" Type="http://schemas.openxmlformats.org/officeDocument/2006/relationships/slideLayout" Target="../slideLayouts/slideLayout337.xml"/><Relationship Id="rId17" Type="http://schemas.openxmlformats.org/officeDocument/2006/relationships/slideLayout" Target="../slideLayouts/slideLayout342.xml"/><Relationship Id="rId25" Type="http://schemas.openxmlformats.org/officeDocument/2006/relationships/slideLayout" Target="../slideLayouts/slideLayout350.xml"/><Relationship Id="rId33" Type="http://schemas.openxmlformats.org/officeDocument/2006/relationships/slideLayout" Target="../slideLayouts/slideLayout358.xml"/><Relationship Id="rId38" Type="http://schemas.openxmlformats.org/officeDocument/2006/relationships/slideLayout" Target="../slideLayouts/slideLayout363.xml"/><Relationship Id="rId46" Type="http://schemas.openxmlformats.org/officeDocument/2006/relationships/slideLayout" Target="../slideLayouts/slideLayout371.xml"/><Relationship Id="rId20" Type="http://schemas.openxmlformats.org/officeDocument/2006/relationships/slideLayout" Target="../slideLayouts/slideLayout345.xml"/><Relationship Id="rId41" Type="http://schemas.openxmlformats.org/officeDocument/2006/relationships/slideLayout" Target="../slideLayouts/slideLayout36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image" Target="../media/image1.emf"/><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10" Type="http://schemas.openxmlformats.org/officeDocument/2006/relationships/slideLayout" Target="../slideLayouts/slideLayout28.xml"/><Relationship Id="rId19" Type="http://schemas.openxmlformats.org/officeDocument/2006/relationships/theme" Target="../theme/theme2.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26" Type="http://schemas.openxmlformats.org/officeDocument/2006/relationships/slideLayout" Target="../slideLayouts/slideLayout62.xml"/><Relationship Id="rId3" Type="http://schemas.openxmlformats.org/officeDocument/2006/relationships/slideLayout" Target="../slideLayouts/slideLayout39.xml"/><Relationship Id="rId21" Type="http://schemas.openxmlformats.org/officeDocument/2006/relationships/slideLayout" Target="../slideLayouts/slideLayout57.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slideLayout" Target="../slideLayouts/slideLayout61.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29" Type="http://schemas.openxmlformats.org/officeDocument/2006/relationships/slideLayout" Target="../slideLayouts/slideLayout65.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slideLayout" Target="../slideLayouts/slideLayout60.xml"/><Relationship Id="rId32" Type="http://schemas.openxmlformats.org/officeDocument/2006/relationships/image" Target="../media/image1.emf"/><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28" Type="http://schemas.openxmlformats.org/officeDocument/2006/relationships/slideLayout" Target="../slideLayouts/slideLayout64.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31" Type="http://schemas.openxmlformats.org/officeDocument/2006/relationships/theme" Target="../theme/theme3.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 Id="rId27" Type="http://schemas.openxmlformats.org/officeDocument/2006/relationships/slideLayout" Target="../slideLayouts/slideLayout63.xml"/><Relationship Id="rId30" Type="http://schemas.openxmlformats.org/officeDocument/2006/relationships/slideLayout" Target="../slideLayouts/slideLayout6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18" Type="http://schemas.openxmlformats.org/officeDocument/2006/relationships/slideLayout" Target="../slideLayouts/slideLayout84.xml"/><Relationship Id="rId3" Type="http://schemas.openxmlformats.org/officeDocument/2006/relationships/slideLayout" Target="../slideLayouts/slideLayout69.xml"/><Relationship Id="rId21" Type="http://schemas.openxmlformats.org/officeDocument/2006/relationships/theme" Target="../theme/theme4.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20" Type="http://schemas.openxmlformats.org/officeDocument/2006/relationships/slideLayout" Target="../slideLayouts/slideLayout86.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5" Type="http://schemas.openxmlformats.org/officeDocument/2006/relationships/slideLayout" Target="../slideLayouts/slideLayout81.xml"/><Relationship Id="rId23" Type="http://schemas.openxmlformats.org/officeDocument/2006/relationships/image" Target="../media/image19.png"/><Relationship Id="rId10" Type="http://schemas.openxmlformats.org/officeDocument/2006/relationships/slideLayout" Target="../slideLayouts/slideLayout76.xml"/><Relationship Id="rId19" Type="http://schemas.openxmlformats.org/officeDocument/2006/relationships/slideLayout" Target="../slideLayouts/slideLayout85.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 Id="rId22" Type="http://schemas.openxmlformats.org/officeDocument/2006/relationships/image" Target="../media/image18.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slideLayout" Target="../slideLayouts/slideLayout99.xml"/><Relationship Id="rId18" Type="http://schemas.openxmlformats.org/officeDocument/2006/relationships/slideLayout" Target="../slideLayouts/slideLayout104.xml"/><Relationship Id="rId26" Type="http://schemas.openxmlformats.org/officeDocument/2006/relationships/theme" Target="../theme/theme5.xml"/><Relationship Id="rId3" Type="http://schemas.openxmlformats.org/officeDocument/2006/relationships/slideLayout" Target="../slideLayouts/slideLayout89.xml"/><Relationship Id="rId21" Type="http://schemas.openxmlformats.org/officeDocument/2006/relationships/slideLayout" Target="../slideLayouts/slideLayout107.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17" Type="http://schemas.openxmlformats.org/officeDocument/2006/relationships/slideLayout" Target="../slideLayouts/slideLayout103.xml"/><Relationship Id="rId25" Type="http://schemas.openxmlformats.org/officeDocument/2006/relationships/slideLayout" Target="../slideLayouts/slideLayout111.xml"/><Relationship Id="rId2" Type="http://schemas.openxmlformats.org/officeDocument/2006/relationships/slideLayout" Target="../slideLayouts/slideLayout88.xml"/><Relationship Id="rId16" Type="http://schemas.openxmlformats.org/officeDocument/2006/relationships/slideLayout" Target="../slideLayouts/slideLayout102.xml"/><Relationship Id="rId20" Type="http://schemas.openxmlformats.org/officeDocument/2006/relationships/slideLayout" Target="../slideLayouts/slideLayout106.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24" Type="http://schemas.openxmlformats.org/officeDocument/2006/relationships/slideLayout" Target="../slideLayouts/slideLayout110.xml"/><Relationship Id="rId5" Type="http://schemas.openxmlformats.org/officeDocument/2006/relationships/slideLayout" Target="../slideLayouts/slideLayout91.xml"/><Relationship Id="rId15" Type="http://schemas.openxmlformats.org/officeDocument/2006/relationships/slideLayout" Target="../slideLayouts/slideLayout101.xml"/><Relationship Id="rId23" Type="http://schemas.openxmlformats.org/officeDocument/2006/relationships/slideLayout" Target="../slideLayouts/slideLayout109.xml"/><Relationship Id="rId10" Type="http://schemas.openxmlformats.org/officeDocument/2006/relationships/slideLayout" Target="../slideLayouts/slideLayout96.xml"/><Relationship Id="rId19" Type="http://schemas.openxmlformats.org/officeDocument/2006/relationships/slideLayout" Target="../slideLayouts/slideLayout105.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slideLayout" Target="../slideLayouts/slideLayout100.xml"/><Relationship Id="rId22" Type="http://schemas.openxmlformats.org/officeDocument/2006/relationships/slideLayout" Target="../slideLayouts/slideLayout108.xml"/><Relationship Id="rId27"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9.xml"/><Relationship Id="rId13" Type="http://schemas.openxmlformats.org/officeDocument/2006/relationships/slideLayout" Target="../slideLayouts/slideLayout124.xml"/><Relationship Id="rId18" Type="http://schemas.openxmlformats.org/officeDocument/2006/relationships/slideLayout" Target="../slideLayouts/slideLayout129.xml"/><Relationship Id="rId3" Type="http://schemas.openxmlformats.org/officeDocument/2006/relationships/slideLayout" Target="../slideLayouts/slideLayout114.xml"/><Relationship Id="rId21" Type="http://schemas.openxmlformats.org/officeDocument/2006/relationships/theme" Target="../theme/theme6.xml"/><Relationship Id="rId7" Type="http://schemas.openxmlformats.org/officeDocument/2006/relationships/slideLayout" Target="../slideLayouts/slideLayout118.xml"/><Relationship Id="rId12" Type="http://schemas.openxmlformats.org/officeDocument/2006/relationships/slideLayout" Target="../slideLayouts/slideLayout123.xml"/><Relationship Id="rId17" Type="http://schemas.openxmlformats.org/officeDocument/2006/relationships/slideLayout" Target="../slideLayouts/slideLayout128.xml"/><Relationship Id="rId2" Type="http://schemas.openxmlformats.org/officeDocument/2006/relationships/slideLayout" Target="../slideLayouts/slideLayout113.xml"/><Relationship Id="rId16" Type="http://schemas.openxmlformats.org/officeDocument/2006/relationships/slideLayout" Target="../slideLayouts/slideLayout127.xml"/><Relationship Id="rId20" Type="http://schemas.openxmlformats.org/officeDocument/2006/relationships/slideLayout" Target="../slideLayouts/slideLayout131.xml"/><Relationship Id="rId1" Type="http://schemas.openxmlformats.org/officeDocument/2006/relationships/slideLayout" Target="../slideLayouts/slideLayout112.xml"/><Relationship Id="rId6" Type="http://schemas.openxmlformats.org/officeDocument/2006/relationships/slideLayout" Target="../slideLayouts/slideLayout117.xml"/><Relationship Id="rId11" Type="http://schemas.openxmlformats.org/officeDocument/2006/relationships/slideLayout" Target="../slideLayouts/slideLayout122.xml"/><Relationship Id="rId5" Type="http://schemas.openxmlformats.org/officeDocument/2006/relationships/slideLayout" Target="../slideLayouts/slideLayout116.xml"/><Relationship Id="rId15" Type="http://schemas.openxmlformats.org/officeDocument/2006/relationships/slideLayout" Target="../slideLayouts/slideLayout126.xml"/><Relationship Id="rId10" Type="http://schemas.openxmlformats.org/officeDocument/2006/relationships/slideLayout" Target="../slideLayouts/slideLayout121.xml"/><Relationship Id="rId19" Type="http://schemas.openxmlformats.org/officeDocument/2006/relationships/slideLayout" Target="../slideLayouts/slideLayout130.xml"/><Relationship Id="rId4" Type="http://schemas.openxmlformats.org/officeDocument/2006/relationships/slideLayout" Target="../slideLayouts/slideLayout115.xml"/><Relationship Id="rId9" Type="http://schemas.openxmlformats.org/officeDocument/2006/relationships/slideLayout" Target="../slideLayouts/slideLayout120.xml"/><Relationship Id="rId14" Type="http://schemas.openxmlformats.org/officeDocument/2006/relationships/slideLayout" Target="../slideLayouts/slideLayout125.xml"/><Relationship Id="rId22" Type="http://schemas.openxmlformats.org/officeDocument/2006/relationships/image" Target="../media/image1.emf"/></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9.xml"/><Relationship Id="rId13" Type="http://schemas.openxmlformats.org/officeDocument/2006/relationships/slideLayout" Target="../slideLayouts/slideLayout144.xml"/><Relationship Id="rId18" Type="http://schemas.openxmlformats.org/officeDocument/2006/relationships/slideLayout" Target="../slideLayouts/slideLayout149.xml"/><Relationship Id="rId3" Type="http://schemas.openxmlformats.org/officeDocument/2006/relationships/slideLayout" Target="../slideLayouts/slideLayout134.xml"/><Relationship Id="rId7" Type="http://schemas.openxmlformats.org/officeDocument/2006/relationships/slideLayout" Target="../slideLayouts/slideLayout138.xml"/><Relationship Id="rId12" Type="http://schemas.openxmlformats.org/officeDocument/2006/relationships/slideLayout" Target="../slideLayouts/slideLayout143.xml"/><Relationship Id="rId17" Type="http://schemas.openxmlformats.org/officeDocument/2006/relationships/slideLayout" Target="../slideLayouts/slideLayout148.xml"/><Relationship Id="rId2" Type="http://schemas.openxmlformats.org/officeDocument/2006/relationships/slideLayout" Target="../slideLayouts/slideLayout133.xml"/><Relationship Id="rId16" Type="http://schemas.openxmlformats.org/officeDocument/2006/relationships/slideLayout" Target="../slideLayouts/slideLayout147.xml"/><Relationship Id="rId20" Type="http://schemas.openxmlformats.org/officeDocument/2006/relationships/image" Target="../media/image1.emf"/><Relationship Id="rId1" Type="http://schemas.openxmlformats.org/officeDocument/2006/relationships/slideLayout" Target="../slideLayouts/slideLayout132.xml"/><Relationship Id="rId6" Type="http://schemas.openxmlformats.org/officeDocument/2006/relationships/slideLayout" Target="../slideLayouts/slideLayout137.xml"/><Relationship Id="rId11" Type="http://schemas.openxmlformats.org/officeDocument/2006/relationships/slideLayout" Target="../slideLayouts/slideLayout142.xml"/><Relationship Id="rId5" Type="http://schemas.openxmlformats.org/officeDocument/2006/relationships/slideLayout" Target="../slideLayouts/slideLayout136.xml"/><Relationship Id="rId15" Type="http://schemas.openxmlformats.org/officeDocument/2006/relationships/slideLayout" Target="../slideLayouts/slideLayout146.xml"/><Relationship Id="rId10" Type="http://schemas.openxmlformats.org/officeDocument/2006/relationships/slideLayout" Target="../slideLayouts/slideLayout141.xml"/><Relationship Id="rId19" Type="http://schemas.openxmlformats.org/officeDocument/2006/relationships/theme" Target="../theme/theme7.xml"/><Relationship Id="rId4" Type="http://schemas.openxmlformats.org/officeDocument/2006/relationships/slideLayout" Target="../slideLayouts/slideLayout135.xml"/><Relationship Id="rId9" Type="http://schemas.openxmlformats.org/officeDocument/2006/relationships/slideLayout" Target="../slideLayouts/slideLayout140.xml"/><Relationship Id="rId14" Type="http://schemas.openxmlformats.org/officeDocument/2006/relationships/slideLayout" Target="../slideLayouts/slideLayout14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57.xml"/><Relationship Id="rId13" Type="http://schemas.openxmlformats.org/officeDocument/2006/relationships/slideLayout" Target="../slideLayouts/slideLayout162.xml"/><Relationship Id="rId18" Type="http://schemas.openxmlformats.org/officeDocument/2006/relationships/slideLayout" Target="../slideLayouts/slideLayout167.xml"/><Relationship Id="rId3" Type="http://schemas.openxmlformats.org/officeDocument/2006/relationships/slideLayout" Target="../slideLayouts/slideLayout152.xml"/><Relationship Id="rId21" Type="http://schemas.openxmlformats.org/officeDocument/2006/relationships/theme" Target="../theme/theme8.xml"/><Relationship Id="rId7" Type="http://schemas.openxmlformats.org/officeDocument/2006/relationships/slideLayout" Target="../slideLayouts/slideLayout156.xml"/><Relationship Id="rId12" Type="http://schemas.openxmlformats.org/officeDocument/2006/relationships/slideLayout" Target="../slideLayouts/slideLayout161.xml"/><Relationship Id="rId17" Type="http://schemas.openxmlformats.org/officeDocument/2006/relationships/slideLayout" Target="../slideLayouts/slideLayout166.xml"/><Relationship Id="rId2" Type="http://schemas.openxmlformats.org/officeDocument/2006/relationships/slideLayout" Target="../slideLayouts/slideLayout151.xml"/><Relationship Id="rId16" Type="http://schemas.openxmlformats.org/officeDocument/2006/relationships/slideLayout" Target="../slideLayouts/slideLayout165.xml"/><Relationship Id="rId20" Type="http://schemas.openxmlformats.org/officeDocument/2006/relationships/slideLayout" Target="../slideLayouts/slideLayout169.xml"/><Relationship Id="rId1" Type="http://schemas.openxmlformats.org/officeDocument/2006/relationships/slideLayout" Target="../slideLayouts/slideLayout150.xml"/><Relationship Id="rId6" Type="http://schemas.openxmlformats.org/officeDocument/2006/relationships/slideLayout" Target="../slideLayouts/slideLayout155.xml"/><Relationship Id="rId11" Type="http://schemas.openxmlformats.org/officeDocument/2006/relationships/slideLayout" Target="../slideLayouts/slideLayout160.xml"/><Relationship Id="rId5" Type="http://schemas.openxmlformats.org/officeDocument/2006/relationships/slideLayout" Target="../slideLayouts/slideLayout154.xml"/><Relationship Id="rId15" Type="http://schemas.openxmlformats.org/officeDocument/2006/relationships/slideLayout" Target="../slideLayouts/slideLayout164.xml"/><Relationship Id="rId10" Type="http://schemas.openxmlformats.org/officeDocument/2006/relationships/slideLayout" Target="../slideLayouts/slideLayout159.xml"/><Relationship Id="rId19" Type="http://schemas.openxmlformats.org/officeDocument/2006/relationships/slideLayout" Target="../slideLayouts/slideLayout168.xml"/><Relationship Id="rId4" Type="http://schemas.openxmlformats.org/officeDocument/2006/relationships/slideLayout" Target="../slideLayouts/slideLayout153.xml"/><Relationship Id="rId9" Type="http://schemas.openxmlformats.org/officeDocument/2006/relationships/slideLayout" Target="../slideLayouts/slideLayout158.xml"/><Relationship Id="rId14" Type="http://schemas.openxmlformats.org/officeDocument/2006/relationships/slideLayout" Target="../slideLayouts/slideLayout163.xml"/><Relationship Id="rId22" Type="http://schemas.openxmlformats.org/officeDocument/2006/relationships/image" Target="../media/image18.emf"/></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77.xml"/><Relationship Id="rId13" Type="http://schemas.openxmlformats.org/officeDocument/2006/relationships/slideLayout" Target="../slideLayouts/slideLayout182.xml"/><Relationship Id="rId18" Type="http://schemas.openxmlformats.org/officeDocument/2006/relationships/slideLayout" Target="../slideLayouts/slideLayout187.xml"/><Relationship Id="rId3" Type="http://schemas.openxmlformats.org/officeDocument/2006/relationships/slideLayout" Target="../slideLayouts/slideLayout172.xml"/><Relationship Id="rId21" Type="http://schemas.openxmlformats.org/officeDocument/2006/relationships/theme" Target="../theme/theme9.xml"/><Relationship Id="rId7" Type="http://schemas.openxmlformats.org/officeDocument/2006/relationships/slideLayout" Target="../slideLayouts/slideLayout176.xml"/><Relationship Id="rId12" Type="http://schemas.openxmlformats.org/officeDocument/2006/relationships/slideLayout" Target="../slideLayouts/slideLayout181.xml"/><Relationship Id="rId17" Type="http://schemas.openxmlformats.org/officeDocument/2006/relationships/slideLayout" Target="../slideLayouts/slideLayout186.xml"/><Relationship Id="rId2" Type="http://schemas.openxmlformats.org/officeDocument/2006/relationships/slideLayout" Target="../slideLayouts/slideLayout171.xml"/><Relationship Id="rId16" Type="http://schemas.openxmlformats.org/officeDocument/2006/relationships/slideLayout" Target="../slideLayouts/slideLayout185.xml"/><Relationship Id="rId20" Type="http://schemas.openxmlformats.org/officeDocument/2006/relationships/slideLayout" Target="../slideLayouts/slideLayout189.xml"/><Relationship Id="rId1" Type="http://schemas.openxmlformats.org/officeDocument/2006/relationships/slideLayout" Target="../slideLayouts/slideLayout170.xml"/><Relationship Id="rId6" Type="http://schemas.openxmlformats.org/officeDocument/2006/relationships/slideLayout" Target="../slideLayouts/slideLayout175.xml"/><Relationship Id="rId11" Type="http://schemas.openxmlformats.org/officeDocument/2006/relationships/slideLayout" Target="../slideLayouts/slideLayout180.xml"/><Relationship Id="rId5" Type="http://schemas.openxmlformats.org/officeDocument/2006/relationships/slideLayout" Target="../slideLayouts/slideLayout174.xml"/><Relationship Id="rId15" Type="http://schemas.openxmlformats.org/officeDocument/2006/relationships/slideLayout" Target="../slideLayouts/slideLayout184.xml"/><Relationship Id="rId23" Type="http://schemas.openxmlformats.org/officeDocument/2006/relationships/image" Target="../media/image34.png"/><Relationship Id="rId10" Type="http://schemas.openxmlformats.org/officeDocument/2006/relationships/slideLayout" Target="../slideLayouts/slideLayout179.xml"/><Relationship Id="rId19" Type="http://schemas.openxmlformats.org/officeDocument/2006/relationships/slideLayout" Target="../slideLayouts/slideLayout188.xml"/><Relationship Id="rId4" Type="http://schemas.openxmlformats.org/officeDocument/2006/relationships/slideLayout" Target="../slideLayouts/slideLayout173.xml"/><Relationship Id="rId9" Type="http://schemas.openxmlformats.org/officeDocument/2006/relationships/slideLayout" Target="../slideLayouts/slideLayout178.xml"/><Relationship Id="rId14" Type="http://schemas.openxmlformats.org/officeDocument/2006/relationships/slideLayout" Target="../slideLayouts/slideLayout183.xml"/><Relationship Id="rId22" Type="http://schemas.openxmlformats.org/officeDocument/2006/relationships/image" Target="../media/image18.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0" cstate="email">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37626204"/>
      </p:ext>
    </p:extLst>
  </p:cSld>
  <p:clrMap bg1="lt1" tx1="dk1" bg2="lt2" tx2="dk2" accent1="accent1" accent2="accent2" accent3="accent3" accent4="accent4" accent5="accent5" accent6="accent6" hlink="hlink" folHlink="folHlink"/>
  <p:sldLayoutIdLst>
    <p:sldLayoutId id="2147484715" r:id="rId1"/>
    <p:sldLayoutId id="2147484673" r:id="rId2"/>
    <p:sldLayoutId id="2147484679" r:id="rId3"/>
    <p:sldLayoutId id="2147484680" r:id="rId4"/>
    <p:sldLayoutId id="2147484681" r:id="rId5"/>
    <p:sldLayoutId id="2147484682" r:id="rId6"/>
    <p:sldLayoutId id="2147484683" r:id="rId7"/>
    <p:sldLayoutId id="2147484684" r:id="rId8"/>
    <p:sldLayoutId id="2147484685" r:id="rId9"/>
    <p:sldLayoutId id="2147484717" r:id="rId10"/>
    <p:sldLayoutId id="2147484728" r:id="rId11"/>
    <p:sldLayoutId id="2147484690" r:id="rId12"/>
    <p:sldLayoutId id="2147484692" r:id="rId13"/>
    <p:sldLayoutId id="2147484694" r:id="rId14"/>
    <p:sldLayoutId id="2147484695" r:id="rId15"/>
    <p:sldLayoutId id="2147484697" r:id="rId16"/>
    <p:sldLayoutId id="2147484698" r:id="rId17"/>
    <p:sldLayoutId id="2147484699" r:id="rId18"/>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6"/>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20" y="1866618"/>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rot="5400000">
            <a:off x="9687021" y="3012080"/>
            <a:ext cx="6858623" cy="833218"/>
          </a:xfrm>
          <a:prstGeom prst="rect">
            <a:avLst/>
          </a:prstGeom>
        </p:spPr>
      </p:pic>
      <p:grpSp>
        <p:nvGrpSpPr>
          <p:cNvPr id="6" name="Group 5">
            <a:extLst>
              <a:ext uri="{FF2B5EF4-FFF2-40B4-BE49-F238E27FC236}">
                <a16:creationId xmlns:a16="http://schemas.microsoft.com/office/drawing/2014/main" id="{B75A86E2-DC9B-4CB0-9A0D-6F18FD22340B}"/>
              </a:ext>
            </a:extLst>
          </p:cNvPr>
          <p:cNvGrpSpPr/>
          <p:nvPr userDrawn="1"/>
        </p:nvGrpSpPr>
        <p:grpSpPr>
          <a:xfrm>
            <a:off x="12245886" y="2"/>
            <a:ext cx="391204" cy="6858001"/>
            <a:chOff x="12930471" y="246575"/>
            <a:chExt cx="384981" cy="6747951"/>
          </a:xfrm>
        </p:grpSpPr>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rot="5400000">
              <a:off x="9941010" y="3620084"/>
              <a:ext cx="6363903" cy="384981"/>
            </a:xfrm>
            <a:prstGeom prst="rect">
              <a:avLst/>
            </a:prstGeom>
          </p:spPr>
        </p:pic>
        <p:sp>
          <p:nvSpPr>
            <p:cNvPr id="3" name="Rectangle 2">
              <a:extLst>
                <a:ext uri="{FF2B5EF4-FFF2-40B4-BE49-F238E27FC236}">
                  <a16:creationId xmlns:a16="http://schemas.microsoft.com/office/drawing/2014/main" id="{6F47187D-ECA7-40DA-AAE3-7CBF2C6E67B2}"/>
                </a:ext>
              </a:extLst>
            </p:cNvPr>
            <p:cNvSpPr/>
            <p:nvPr userDrawn="1"/>
          </p:nvSpPr>
          <p:spPr bwMode="auto">
            <a:xfrm>
              <a:off x="12930471" y="246575"/>
              <a:ext cx="384981" cy="384048"/>
            </a:xfrm>
            <a:prstGeom prst="rect">
              <a:avLst/>
            </a:prstGeom>
            <a:solidFill>
              <a:srgbClr val="F3F3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27432" tIns="45720" rIns="27432" bIns="4572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392" b="1">
                  <a:solidFill>
                    <a:srgbClr val="000000"/>
                  </a:solidFill>
                  <a:ea typeface="Segoe UI" pitchFamily="34" charset="0"/>
                  <a:cs typeface="Segoe UI" pitchFamily="34" charset="0"/>
                </a:rPr>
                <a:t>Light gray</a:t>
              </a:r>
            </a:p>
            <a:p>
              <a:pPr algn="l" defTabSz="913927" fontAlgn="base">
                <a:lnSpc>
                  <a:spcPct val="100000"/>
                </a:lnSpc>
                <a:spcBef>
                  <a:spcPct val="0"/>
                </a:spcBef>
                <a:spcAft>
                  <a:spcPct val="0"/>
                </a:spcAft>
              </a:pPr>
              <a:r>
                <a:rPr lang="en-US" sz="294">
                  <a:solidFill>
                    <a:srgbClr val="000000"/>
                  </a:solidFill>
                  <a:ea typeface="Segoe UI" pitchFamily="34" charset="0"/>
                  <a:cs typeface="Segoe UI" pitchFamily="34" charset="0"/>
                </a:rPr>
                <a:t>R243 G243 B243</a:t>
              </a:r>
            </a:p>
          </p:txBody>
        </p:sp>
      </p:grpSp>
    </p:spTree>
    <p:extLst>
      <p:ext uri="{BB962C8B-B14F-4D97-AF65-F5344CB8AC3E}">
        <p14:creationId xmlns:p14="http://schemas.microsoft.com/office/powerpoint/2010/main" val="1261604275"/>
      </p:ext>
    </p:extLst>
  </p:cSld>
  <p:clrMap bg1="lt1" tx1="dk1" bg2="lt2" tx2="dk2" accent1="accent1" accent2="accent2" accent3="accent3" accent4="accent4" accent5="accent5" accent6="accent6" hlink="hlink" folHlink="folHlink"/>
  <p:sldLayoutIdLst>
    <p:sldLayoutId id="2147484924" r:id="rId1"/>
    <p:sldLayoutId id="2147484925" r:id="rId2"/>
    <p:sldLayoutId id="2147484926" r:id="rId3"/>
    <p:sldLayoutId id="2147484927" r:id="rId4"/>
    <p:sldLayoutId id="2147484928" r:id="rId5"/>
    <p:sldLayoutId id="2147484929" r:id="rId6"/>
    <p:sldLayoutId id="2147484930" r:id="rId7"/>
    <p:sldLayoutId id="2147484931" r:id="rId8"/>
    <p:sldLayoutId id="2147484932" r:id="rId9"/>
    <p:sldLayoutId id="2147484933" r:id="rId10"/>
    <p:sldLayoutId id="2147484934" r:id="rId11"/>
    <p:sldLayoutId id="2147484935" r:id="rId12"/>
    <p:sldLayoutId id="2147484936" r:id="rId13"/>
    <p:sldLayoutId id="2147484937" r:id="rId14"/>
    <p:sldLayoutId id="2147484938" r:id="rId15"/>
    <p:sldLayoutId id="2147484939" r:id="rId16"/>
    <p:sldLayoutId id="2147484940" r:id="rId17"/>
    <p:sldLayoutId id="2147484941" r:id="rId18"/>
    <p:sldLayoutId id="2147484942" r:id="rId19"/>
    <p:sldLayoutId id="2147484943" r:id="rId20"/>
  </p:sldLayoutIdLst>
  <p:transition>
    <p:fade/>
  </p:transition>
  <p:txStyles>
    <p:titleStyle>
      <a:lvl1pPr algn="l" defTabSz="914192" rtl="0" eaLnBrk="1" latinLnBrk="0" hangingPunct="1">
        <a:lnSpc>
          <a:spcPct val="90000"/>
        </a:lnSpc>
        <a:spcBef>
          <a:spcPct val="0"/>
        </a:spcBef>
        <a:buNone/>
        <a:defRPr lang="en-US" sz="3136"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401">
          <p15:clr>
            <a:srgbClr val="C35EA4"/>
          </p15:clr>
        </p15:guide>
        <p15:guide id="4" pos="1547">
          <p15:clr>
            <a:srgbClr val="C35EA4"/>
          </p15:clr>
        </p15:guide>
        <p15:guide id="5" pos="2660">
          <p15:clr>
            <a:srgbClr val="C35EA4"/>
          </p15:clr>
        </p15:guide>
        <p15:guide id="6" pos="2806">
          <p15:clr>
            <a:srgbClr val="C35EA4"/>
          </p15:clr>
        </p15:guide>
        <p15:guide id="7" pos="3921">
          <p15:clr>
            <a:srgbClr val="C35EA4"/>
          </p15:clr>
        </p15:guide>
        <p15:guide id="8" pos="4069">
          <p15:clr>
            <a:srgbClr val="C35EA4"/>
          </p15:clr>
        </p15:guide>
        <p15:guide id="9" pos="5181">
          <p15:clr>
            <a:srgbClr val="C35EA4"/>
          </p15:clr>
        </p15:guide>
        <p15:guide id="10" pos="5327">
          <p15:clr>
            <a:srgbClr val="C35EA4"/>
          </p15:clr>
        </p15:guide>
        <p15:guide id="11" pos="6444">
          <p15:clr>
            <a:srgbClr val="C35EA4"/>
          </p15:clr>
        </p15:guide>
        <p15:guide id="12" pos="6590">
          <p15:clr>
            <a:srgbClr val="C35EA4"/>
          </p15:clr>
        </p15:guide>
        <p15:guide id="16" pos="279">
          <p15:clr>
            <a:srgbClr val="F26B43"/>
          </p15:clr>
        </p15:guide>
        <p15:guide id="17" pos="7565">
          <p15:clr>
            <a:srgbClr val="F26B43"/>
          </p15:clr>
        </p15:guide>
        <p15:guide id="18" orient="horz" pos="773">
          <p15:clr>
            <a:srgbClr val="5ACBF0"/>
          </p15:clr>
        </p15:guide>
        <p15:guide id="19" orient="horz" pos="1399">
          <p15:clr>
            <a:srgbClr val="5ACBF0"/>
          </p15:clr>
        </p15:guide>
        <p15:guide id="20" orient="horz" pos="624">
          <p15:clr>
            <a:srgbClr val="5ACBF0"/>
          </p15:clr>
        </p15:guide>
        <p15:guide id="21" orient="horz" pos="1545">
          <p15:clr>
            <a:srgbClr val="5ACBF0"/>
          </p15:clr>
        </p15:guide>
        <p15:guide id="22" orient="horz" pos="2169">
          <p15:clr>
            <a:srgbClr val="5ACBF0"/>
          </p15:clr>
        </p15:guide>
        <p15:guide id="23" orient="horz" pos="2320">
          <p15:clr>
            <a:srgbClr val="5ACBF0"/>
          </p15:clr>
        </p15:guide>
        <p15:guide id="25" orient="horz" pos="286">
          <p15:clr>
            <a:srgbClr val="F26B43"/>
          </p15:clr>
        </p15:guide>
        <p15:guide id="26" orient="horz" pos="4123">
          <p15:clr>
            <a:srgbClr val="F26B43"/>
          </p15:clr>
        </p15:guide>
        <p15:guide id="27" orient="horz" pos="2947">
          <p15:clr>
            <a:srgbClr val="5ACBF0"/>
          </p15:clr>
        </p15:guide>
        <p15:guide id="28" orient="horz" pos="3092">
          <p15:clr>
            <a:srgbClr val="5ACBF0"/>
          </p15:clr>
        </p15:guide>
        <p15:guide id="29" orient="horz" pos="3721">
          <p15:clr>
            <a:srgbClr val="5ACBF0"/>
          </p15:clr>
        </p15:guide>
        <p15:guide id="30" orient="horz" pos="3867">
          <p15:clr>
            <a:srgbClr val="5ACBF0"/>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8" cstate="email">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860597089"/>
      </p:ext>
    </p:extLst>
  </p:cSld>
  <p:clrMap bg1="lt1" tx1="dk1" bg2="lt2" tx2="dk2" accent1="accent1" accent2="accent2" accent3="accent3" accent4="accent4" accent5="accent5" accent6="accent6" hlink="hlink" folHlink="folHlink"/>
  <p:sldLayoutIdLst>
    <p:sldLayoutId id="2147484946" r:id="rId1"/>
    <p:sldLayoutId id="2147484947" r:id="rId2"/>
    <p:sldLayoutId id="2147484948" r:id="rId3"/>
    <p:sldLayoutId id="2147484949" r:id="rId4"/>
    <p:sldLayoutId id="2147484950" r:id="rId5"/>
    <p:sldLayoutId id="2147484951" r:id="rId6"/>
    <p:sldLayoutId id="2147484952" r:id="rId7"/>
    <p:sldLayoutId id="2147484953" r:id="rId8"/>
    <p:sldLayoutId id="2147484954" r:id="rId9"/>
    <p:sldLayoutId id="2147484955" r:id="rId10"/>
    <p:sldLayoutId id="2147484956" r:id="rId11"/>
    <p:sldLayoutId id="2147484957" r:id="rId12"/>
    <p:sldLayoutId id="2147484958" r:id="rId13"/>
    <p:sldLayoutId id="2147484959" r:id="rId14"/>
    <p:sldLayoutId id="2147484960" r:id="rId15"/>
    <p:sldLayoutId id="2147484961" r:id="rId16"/>
    <p:sldLayoutId id="2147484962" r:id="rId17"/>
    <p:sldLayoutId id="2147484963" r:id="rId18"/>
    <p:sldLayoutId id="2147484964" r:id="rId19"/>
    <p:sldLayoutId id="2147484965" r:id="rId20"/>
    <p:sldLayoutId id="2147484966" r:id="rId21"/>
    <p:sldLayoutId id="2147484967" r:id="rId22"/>
    <p:sldLayoutId id="2147484968" r:id="rId23"/>
    <p:sldLayoutId id="2147484969" r:id="rId24"/>
    <p:sldLayoutId id="2147484970" r:id="rId25"/>
    <p:sldLayoutId id="2147484975" r:id="rId26"/>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8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1" cstate="email">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4127181363"/>
      </p:ext>
    </p:extLst>
  </p:cSld>
  <p:clrMap bg1="lt1" tx1="dk1" bg2="lt2" tx2="dk2" accent1="accent1" accent2="accent2" accent3="accent3" accent4="accent4" accent5="accent5" accent6="accent6" hlink="hlink" folHlink="folHlink"/>
  <p:sldLayoutIdLst>
    <p:sldLayoutId id="2147484984" r:id="rId1"/>
    <p:sldLayoutId id="2147484985" r:id="rId2"/>
    <p:sldLayoutId id="2147484986" r:id="rId3"/>
    <p:sldLayoutId id="2147484987" r:id="rId4"/>
    <p:sldLayoutId id="2147484988" r:id="rId5"/>
    <p:sldLayoutId id="2147484989" r:id="rId6"/>
    <p:sldLayoutId id="2147484990" r:id="rId7"/>
    <p:sldLayoutId id="2147484991" r:id="rId8"/>
    <p:sldLayoutId id="2147484992" r:id="rId9"/>
    <p:sldLayoutId id="2147484993" r:id="rId10"/>
    <p:sldLayoutId id="2147484994" r:id="rId11"/>
    <p:sldLayoutId id="2147484995" r:id="rId12"/>
    <p:sldLayoutId id="2147484996" r:id="rId13"/>
    <p:sldLayoutId id="2147484997" r:id="rId14"/>
    <p:sldLayoutId id="2147484998" r:id="rId15"/>
    <p:sldLayoutId id="2147484999" r:id="rId16"/>
    <p:sldLayoutId id="2147485000" r:id="rId17"/>
    <p:sldLayoutId id="2147485005" r:id="rId18"/>
    <p:sldLayoutId id="2147485006" r:id="rId19"/>
  </p:sldLayoutIdLst>
  <p:transition>
    <p:fade/>
  </p:transition>
  <p:hf sldNum="0" hdr="0" ftr="0" dt="0"/>
  <p:txStyles>
    <p:titleStyle>
      <a:lvl1pPr algn="l" defTabSz="914367" rtl="0" eaLnBrk="1" latinLnBrk="0" hangingPunct="1">
        <a:lnSpc>
          <a:spcPct val="90000"/>
        </a:lnSpc>
        <a:spcBef>
          <a:spcPct val="0"/>
        </a:spcBef>
        <a:buNone/>
        <a:defRPr lang="en-US" sz="4705" b="0" kern="1200" cap="none" spc="-100" baseline="0" dirty="0" smtClean="0">
          <a:ln w="3175">
            <a:noFill/>
          </a:ln>
          <a:solidFill>
            <a:schemeClr val="tx1"/>
          </a:soli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tx1">
            <a:lumMod val="50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Picture 2"/>
          <p:cNvPicPr>
            <a:picLocks noChangeAspect="1"/>
          </p:cNvPicPr>
          <p:nvPr userDrawn="1"/>
        </p:nvPicPr>
        <p:blipFill>
          <a:blip r:embed="rId48"/>
          <a:stretch>
            <a:fillRect/>
          </a:stretch>
        </p:blipFill>
        <p:spPr>
          <a:xfrm rot="5400000">
            <a:off x="10751182" y="1670556"/>
            <a:ext cx="4527899" cy="1138912"/>
          </a:xfrm>
          <a:prstGeom prst="rect">
            <a:avLst/>
          </a:prstGeom>
        </p:spPr>
      </p:pic>
    </p:spTree>
    <p:extLst>
      <p:ext uri="{BB962C8B-B14F-4D97-AF65-F5344CB8AC3E}">
        <p14:creationId xmlns:p14="http://schemas.microsoft.com/office/powerpoint/2010/main" val="3153731800"/>
      </p:ext>
    </p:extLst>
  </p:cSld>
  <p:clrMap bg1="lt1" tx1="dk1" bg2="lt2" tx2="dk2" accent1="accent1" accent2="accent2" accent3="accent3" accent4="accent4" accent5="accent5" accent6="accent6" hlink="hlink" folHlink="folHlink"/>
  <p:sldLayoutIdLst>
    <p:sldLayoutId id="2147485022" r:id="rId1"/>
    <p:sldLayoutId id="2147485023" r:id="rId2"/>
    <p:sldLayoutId id="2147485024" r:id="rId3"/>
    <p:sldLayoutId id="2147485025" r:id="rId4"/>
    <p:sldLayoutId id="2147485026" r:id="rId5"/>
    <p:sldLayoutId id="2147485027" r:id="rId6"/>
    <p:sldLayoutId id="2147485028" r:id="rId7"/>
    <p:sldLayoutId id="2147485029" r:id="rId8"/>
    <p:sldLayoutId id="2147485030" r:id="rId9"/>
    <p:sldLayoutId id="2147485031" r:id="rId10"/>
    <p:sldLayoutId id="2147485032" r:id="rId11"/>
    <p:sldLayoutId id="2147485033" r:id="rId12"/>
    <p:sldLayoutId id="2147485034" r:id="rId13"/>
    <p:sldLayoutId id="2147485035" r:id="rId14"/>
    <p:sldLayoutId id="2147485036" r:id="rId15"/>
    <p:sldLayoutId id="2147485037" r:id="rId16"/>
    <p:sldLayoutId id="2147485038" r:id="rId17"/>
    <p:sldLayoutId id="2147485039" r:id="rId18"/>
    <p:sldLayoutId id="2147485040" r:id="rId19"/>
    <p:sldLayoutId id="2147485041" r:id="rId20"/>
    <p:sldLayoutId id="2147485042" r:id="rId21"/>
    <p:sldLayoutId id="2147485043" r:id="rId22"/>
    <p:sldLayoutId id="2147485044" r:id="rId23"/>
    <p:sldLayoutId id="2147485045" r:id="rId24"/>
    <p:sldLayoutId id="2147485046" r:id="rId25"/>
    <p:sldLayoutId id="2147485047" r:id="rId26"/>
    <p:sldLayoutId id="2147485048" r:id="rId27"/>
    <p:sldLayoutId id="2147485049" r:id="rId28"/>
    <p:sldLayoutId id="2147485050" r:id="rId29"/>
    <p:sldLayoutId id="2147485051" r:id="rId30"/>
    <p:sldLayoutId id="2147485052" r:id="rId31"/>
    <p:sldLayoutId id="2147485053" r:id="rId32"/>
    <p:sldLayoutId id="2147485054" r:id="rId33"/>
    <p:sldLayoutId id="2147485055" r:id="rId34"/>
    <p:sldLayoutId id="2147485056" r:id="rId35"/>
    <p:sldLayoutId id="2147485057" r:id="rId36"/>
    <p:sldLayoutId id="2147485058" r:id="rId37"/>
    <p:sldLayoutId id="2147485059" r:id="rId38"/>
    <p:sldLayoutId id="2147485060" r:id="rId39"/>
    <p:sldLayoutId id="2147485061" r:id="rId40"/>
    <p:sldLayoutId id="2147485062" r:id="rId41"/>
    <p:sldLayoutId id="2147485063" r:id="rId42"/>
    <p:sldLayoutId id="2147485064" r:id="rId43"/>
    <p:sldLayoutId id="2147485065" r:id="rId44"/>
    <p:sldLayoutId id="2147485066" r:id="rId45"/>
    <p:sldLayoutId id="2147485067" r:id="rId46"/>
  </p:sldLayoutIdLst>
  <p:transition advClick="0">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tx1">
            <a:lumMod val="50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p:cNvPicPr>
            <a:picLocks noChangeAspect="1"/>
          </p:cNvPicPr>
          <p:nvPr userDrawn="1"/>
        </p:nvPicPr>
        <p:blipFill>
          <a:blip r:embed="rId27"/>
          <a:stretch>
            <a:fillRect/>
          </a:stretch>
        </p:blipFill>
        <p:spPr>
          <a:xfrm rot="5400000">
            <a:off x="9302127" y="2991034"/>
            <a:ext cx="6858623" cy="876557"/>
          </a:xfrm>
          <a:prstGeom prst="rect">
            <a:avLst/>
          </a:prstGeom>
        </p:spPr>
      </p:pic>
    </p:spTree>
    <p:extLst>
      <p:ext uri="{BB962C8B-B14F-4D97-AF65-F5344CB8AC3E}">
        <p14:creationId xmlns:p14="http://schemas.microsoft.com/office/powerpoint/2010/main" val="1859924510"/>
      </p:ext>
    </p:extLst>
  </p:cSld>
  <p:clrMap bg1="dk1" tx1="lt1" bg2="dk2" tx2="lt2" accent1="accent1" accent2="accent2" accent3="accent3" accent4="accent4" accent5="accent5" accent6="accent6" hlink="hlink" folHlink="folHlink"/>
  <p:sldLayoutIdLst>
    <p:sldLayoutId id="2147485069" r:id="rId1"/>
    <p:sldLayoutId id="2147485070" r:id="rId2"/>
    <p:sldLayoutId id="2147485071" r:id="rId3"/>
    <p:sldLayoutId id="2147485072" r:id="rId4"/>
    <p:sldLayoutId id="2147485073" r:id="rId5"/>
    <p:sldLayoutId id="2147485074" r:id="rId6"/>
    <p:sldLayoutId id="2147485075" r:id="rId7"/>
    <p:sldLayoutId id="2147485076" r:id="rId8"/>
    <p:sldLayoutId id="2147485077" r:id="rId9"/>
    <p:sldLayoutId id="2147485078" r:id="rId10"/>
    <p:sldLayoutId id="2147485079" r:id="rId11"/>
    <p:sldLayoutId id="2147485080" r:id="rId12"/>
    <p:sldLayoutId id="2147485081" r:id="rId13"/>
    <p:sldLayoutId id="2147485082" r:id="rId14"/>
    <p:sldLayoutId id="2147485083" r:id="rId15"/>
    <p:sldLayoutId id="2147485084" r:id="rId16"/>
    <p:sldLayoutId id="2147485085" r:id="rId17"/>
    <p:sldLayoutId id="2147485086" r:id="rId18"/>
    <p:sldLayoutId id="2147485087" r:id="rId19"/>
    <p:sldLayoutId id="2147485088" r:id="rId20"/>
    <p:sldLayoutId id="2147485089" r:id="rId21"/>
    <p:sldLayoutId id="2147485090" r:id="rId22"/>
    <p:sldLayoutId id="2147485091" r:id="rId23"/>
    <p:sldLayoutId id="2147485092" r:id="rId24"/>
    <p:sldLayoutId id="2147485093" r:id="rId25"/>
  </p:sldLayoutIdLst>
  <p:transition>
    <p:fade/>
  </p:transition>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6">
          <p15:clr>
            <a:srgbClr val="C35EA4"/>
          </p15:clr>
        </p15:guide>
        <p15:guide id="24" pos="7547">
          <p15:clr>
            <a:srgbClr val="C35EA4"/>
          </p15:clr>
        </p15:guide>
        <p15:guide id="25" orient="horz" pos="305">
          <p15:clr>
            <a:srgbClr val="C35EA4"/>
          </p15:clr>
        </p15:guide>
        <p15:guide id="26" orient="horz" pos="4106">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3" name="Group 2"/>
          <p:cNvGrpSpPr/>
          <p:nvPr userDrawn="1"/>
        </p:nvGrpSpPr>
        <p:grpSpPr>
          <a:xfrm>
            <a:off x="12370910" y="-8231"/>
            <a:ext cx="936898" cy="5662632"/>
            <a:chOff x="12618967" y="-8395"/>
            <a:chExt cx="955684" cy="5775360"/>
          </a:xfrm>
        </p:grpSpPr>
        <p:grpSp>
          <p:nvGrpSpPr>
            <p:cNvPr id="18" name="Group 17"/>
            <p:cNvGrpSpPr/>
            <p:nvPr userDrawn="1"/>
          </p:nvGrpSpPr>
          <p:grpSpPr>
            <a:xfrm>
              <a:off x="12618967" y="-8395"/>
              <a:ext cx="955684" cy="5724185"/>
              <a:chOff x="12618967" y="-8395"/>
              <a:chExt cx="955684" cy="5724185"/>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741"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3741"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741"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3741"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741"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3741"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741"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3741"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741"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3741"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741"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13741"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userDrawn="1"/>
            </p:nvGrpSpPr>
            <p:grpSpPr>
              <a:xfrm rot="5400000">
                <a:off x="11870606" y="3812276"/>
                <a:ext cx="1786491" cy="289766"/>
                <a:chOff x="4476564" y="4543426"/>
                <a:chExt cx="1786491" cy="289766"/>
              </a:xfrm>
            </p:grpSpPr>
            <p:sp>
              <p:nvSpPr>
                <p:cNvPr id="33" name="Rectangle 32"/>
                <p:cNvSpPr/>
                <p:nvPr userDrawn="1"/>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741"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13741"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userDrawn="1"/>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741"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13741"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userDrawn="1"/>
            </p:nvSpPr>
            <p:spPr>
              <a:xfrm rot="5400000">
                <a:off x="12979639" y="256886"/>
                <a:ext cx="860293" cy="329731"/>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2" y="4228747"/>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741" rtl="0" eaLnBrk="1" fontAlgn="base" latinLnBrk="0" hangingPunct="1">
                <a:lnSpc>
                  <a:spcPct val="100000"/>
                </a:lnSpc>
                <a:spcBef>
                  <a:spcPct val="0"/>
                </a:spcBef>
                <a:spcAft>
                  <a:spcPct val="0"/>
                </a:spcAft>
              </a:pPr>
              <a:r>
                <a:rPr lang="en-US" sz="49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13741" rtl="0" eaLnBrk="1" fontAlgn="base" latinLnBrk="0" hangingPunct="1">
                <a:lnSpc>
                  <a:spcPct val="100000"/>
                </a:lnSpc>
                <a:spcBef>
                  <a:spcPct val="0"/>
                </a:spcBef>
                <a:spcAft>
                  <a:spcPct val="0"/>
                </a:spcAft>
              </a:pPr>
              <a:r>
                <a:rPr lang="en-US" sz="49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1485574693"/>
      </p:ext>
    </p:extLst>
  </p:cSld>
  <p:clrMap bg1="lt1" tx1="dk1" bg2="lt2" tx2="dk2" accent1="accent1" accent2="accent2" accent3="accent3" accent4="accent4" accent5="accent5" accent6="accent6" hlink="hlink" folHlink="folHlink"/>
  <p:sldLayoutIdLst>
    <p:sldLayoutId id="2147485096" r:id="rId1"/>
    <p:sldLayoutId id="2147485097" r:id="rId2"/>
    <p:sldLayoutId id="2147485098" r:id="rId3"/>
    <p:sldLayoutId id="2147485099" r:id="rId4"/>
    <p:sldLayoutId id="2147485100" r:id="rId5"/>
    <p:sldLayoutId id="2147485101" r:id="rId6"/>
    <p:sldLayoutId id="2147485102" r:id="rId7"/>
    <p:sldLayoutId id="2147485103" r:id="rId8"/>
    <p:sldLayoutId id="2147485104" r:id="rId9"/>
    <p:sldLayoutId id="2147485105" r:id="rId10"/>
    <p:sldLayoutId id="2147485106" r:id="rId11"/>
    <p:sldLayoutId id="2147485107" r:id="rId12"/>
    <p:sldLayoutId id="2147485108" r:id="rId13"/>
    <p:sldLayoutId id="2147485109" r:id="rId14"/>
    <p:sldLayoutId id="2147485110" r:id="rId15"/>
    <p:sldLayoutId id="2147485111" r:id="rId16"/>
    <p:sldLayoutId id="2147485112" r:id="rId17"/>
    <p:sldLayoutId id="2147485113" r:id="rId18"/>
    <p:sldLayoutId id="2147485114" r:id="rId19"/>
    <p:sldLayoutId id="2147485115" r:id="rId20"/>
    <p:sldLayoutId id="2147485116" r:id="rId21"/>
    <p:sldLayoutId id="2147485117" r:id="rId22"/>
    <p:sldLayoutId id="2147485118" r:id="rId23"/>
    <p:sldLayoutId id="2147485119" r:id="rId24"/>
    <p:sldLayoutId id="2147485120" r:id="rId25"/>
    <p:sldLayoutId id="2147485121" r:id="rId26"/>
    <p:sldLayoutId id="2147485122" r:id="rId27"/>
    <p:sldLayoutId id="2147485123" r:id="rId28"/>
    <p:sldLayoutId id="2147485124" r:id="rId29"/>
    <p:sldLayoutId id="2147485125" r:id="rId30"/>
    <p:sldLayoutId id="2147485126" r:id="rId31"/>
    <p:sldLayoutId id="2147485127" r:id="rId32"/>
    <p:sldLayoutId id="2147485128" r:id="rId33"/>
    <p:sldLayoutId id="2147485129" r:id="rId34"/>
    <p:sldLayoutId id="2147485130" r:id="rId35"/>
    <p:sldLayoutId id="2147485131" r:id="rId36"/>
    <p:sldLayoutId id="2147485132" r:id="rId37"/>
    <p:sldLayoutId id="2147485133" r:id="rId38"/>
    <p:sldLayoutId id="2147485134" r:id="rId39"/>
    <p:sldLayoutId id="2147485135" r:id="rId40"/>
    <p:sldLayoutId id="2147485136" r:id="rId41"/>
    <p:sldLayoutId id="2147485137" r:id="rId42"/>
    <p:sldLayoutId id="2147485138" r:id="rId43"/>
    <p:sldLayoutId id="2147485139" r:id="rId44"/>
    <p:sldLayoutId id="2147485140" r:id="rId45"/>
    <p:sldLayoutId id="2147485141" r:id="rId46"/>
  </p:sldLayoutIdLst>
  <p:transition>
    <p:fade/>
  </p:transition>
  <p:txStyles>
    <p:titleStyle>
      <a:lvl1pPr algn="l" defTabSz="914004"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2" marR="0" indent="-336012" algn="l" defTabSz="91400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19" kern="1200" spc="0" baseline="0">
          <a:gradFill>
            <a:gsLst>
              <a:gs pos="1250">
                <a:schemeClr val="tx1"/>
              </a:gs>
              <a:gs pos="100000">
                <a:schemeClr val="tx1"/>
              </a:gs>
            </a:gsLst>
            <a:lin ang="5400000" scaled="0"/>
          </a:gradFill>
          <a:latin typeface="+mj-lt"/>
          <a:ea typeface="+mn-ea"/>
          <a:cs typeface="+mn-cs"/>
        </a:defRPr>
      </a:lvl1pPr>
      <a:lvl2pPr marL="572464" marR="0" indent="-236452" algn="l" defTabSz="91400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2pPr>
      <a:lvl3pPr marL="784027" marR="0" indent="-224008" algn="l" defTabSz="91400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3pPr>
      <a:lvl4pPr marL="1008036" marR="0" indent="-224008" algn="l" defTabSz="91400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4" kern="1200" spc="0" baseline="0">
          <a:gradFill>
            <a:gsLst>
              <a:gs pos="1250">
                <a:schemeClr val="tx1"/>
              </a:gs>
              <a:gs pos="100000">
                <a:schemeClr val="tx1"/>
              </a:gs>
            </a:gsLst>
            <a:lin ang="5400000" scaled="0"/>
          </a:gradFill>
          <a:latin typeface="+mn-lt"/>
          <a:ea typeface="+mn-ea"/>
          <a:cs typeface="+mn-cs"/>
        </a:defRPr>
      </a:lvl4pPr>
      <a:lvl5pPr marL="1232043" marR="0" indent="-224008" algn="l" defTabSz="91400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4" kern="1200" spc="0" baseline="0">
          <a:gradFill>
            <a:gsLst>
              <a:gs pos="1250">
                <a:schemeClr val="tx1"/>
              </a:gs>
              <a:gs pos="100000">
                <a:schemeClr val="tx1"/>
              </a:gs>
            </a:gsLst>
            <a:lin ang="5400000" scaled="0"/>
          </a:gradFill>
          <a:latin typeface="+mn-lt"/>
          <a:ea typeface="+mn-ea"/>
          <a:cs typeface="+mn-cs"/>
        </a:defRPr>
      </a:lvl5pPr>
      <a:lvl6pPr marL="2513514"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517"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519"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522"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04" rtl="0" eaLnBrk="1" latinLnBrk="0" hangingPunct="1">
        <a:defRPr sz="1764" kern="1200">
          <a:solidFill>
            <a:schemeClr val="tx1"/>
          </a:solidFill>
          <a:latin typeface="+mn-lt"/>
          <a:ea typeface="+mn-ea"/>
          <a:cs typeface="+mn-cs"/>
        </a:defRPr>
      </a:lvl1pPr>
      <a:lvl2pPr marL="457002" algn="l" defTabSz="914004" rtl="0" eaLnBrk="1" latinLnBrk="0" hangingPunct="1">
        <a:defRPr sz="1764" kern="1200">
          <a:solidFill>
            <a:schemeClr val="tx1"/>
          </a:solidFill>
          <a:latin typeface="+mn-lt"/>
          <a:ea typeface="+mn-ea"/>
          <a:cs typeface="+mn-cs"/>
        </a:defRPr>
      </a:lvl2pPr>
      <a:lvl3pPr marL="914004" algn="l" defTabSz="914004" rtl="0" eaLnBrk="1" latinLnBrk="0" hangingPunct="1">
        <a:defRPr sz="1764" kern="1200">
          <a:solidFill>
            <a:schemeClr val="tx1"/>
          </a:solidFill>
          <a:latin typeface="+mn-lt"/>
          <a:ea typeface="+mn-ea"/>
          <a:cs typeface="+mn-cs"/>
        </a:defRPr>
      </a:lvl3pPr>
      <a:lvl4pPr marL="1371007" algn="l" defTabSz="914004" rtl="0" eaLnBrk="1" latinLnBrk="0" hangingPunct="1">
        <a:defRPr sz="1764" kern="1200">
          <a:solidFill>
            <a:schemeClr val="tx1"/>
          </a:solidFill>
          <a:latin typeface="+mn-lt"/>
          <a:ea typeface="+mn-ea"/>
          <a:cs typeface="+mn-cs"/>
        </a:defRPr>
      </a:lvl4pPr>
      <a:lvl5pPr marL="1828010" algn="l" defTabSz="914004" rtl="0" eaLnBrk="1" latinLnBrk="0" hangingPunct="1">
        <a:defRPr sz="1764" kern="1200">
          <a:solidFill>
            <a:schemeClr val="tx1"/>
          </a:solidFill>
          <a:latin typeface="+mn-lt"/>
          <a:ea typeface="+mn-ea"/>
          <a:cs typeface="+mn-cs"/>
        </a:defRPr>
      </a:lvl5pPr>
      <a:lvl6pPr marL="2285013" algn="l" defTabSz="914004" rtl="0" eaLnBrk="1" latinLnBrk="0" hangingPunct="1">
        <a:defRPr sz="1764" kern="1200">
          <a:solidFill>
            <a:schemeClr val="tx1"/>
          </a:solidFill>
          <a:latin typeface="+mn-lt"/>
          <a:ea typeface="+mn-ea"/>
          <a:cs typeface="+mn-cs"/>
        </a:defRPr>
      </a:lvl6pPr>
      <a:lvl7pPr marL="2742015" algn="l" defTabSz="914004" rtl="0" eaLnBrk="1" latinLnBrk="0" hangingPunct="1">
        <a:defRPr sz="1764" kern="1200">
          <a:solidFill>
            <a:schemeClr val="tx1"/>
          </a:solidFill>
          <a:latin typeface="+mn-lt"/>
          <a:ea typeface="+mn-ea"/>
          <a:cs typeface="+mn-cs"/>
        </a:defRPr>
      </a:lvl7pPr>
      <a:lvl8pPr marL="3199018" algn="l" defTabSz="914004" rtl="0" eaLnBrk="1" latinLnBrk="0" hangingPunct="1">
        <a:defRPr sz="1764" kern="1200">
          <a:solidFill>
            <a:schemeClr val="tx1"/>
          </a:solidFill>
          <a:latin typeface="+mn-lt"/>
          <a:ea typeface="+mn-ea"/>
          <a:cs typeface="+mn-cs"/>
        </a:defRPr>
      </a:lvl8pPr>
      <a:lvl9pPr marL="3656021" algn="l" defTabSz="914004" rtl="0" eaLnBrk="1" latinLnBrk="0" hangingPunct="1">
        <a:defRPr sz="176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0" cstate="email">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1575341"/>
      </p:ext>
    </p:extLst>
  </p:cSld>
  <p:clrMap bg1="lt1" tx1="dk1" bg2="lt2" tx2="dk2" accent1="accent1" accent2="accent2" accent3="accent3" accent4="accent4" accent5="accent5" accent6="accent6" hlink="hlink" folHlink="folHlink"/>
  <p:sldLayoutIdLst>
    <p:sldLayoutId id="2147484732" r:id="rId1"/>
    <p:sldLayoutId id="2147484733" r:id="rId2"/>
    <p:sldLayoutId id="2147484734" r:id="rId3"/>
    <p:sldLayoutId id="2147484735" r:id="rId4"/>
    <p:sldLayoutId id="2147484736" r:id="rId5"/>
    <p:sldLayoutId id="2147484737" r:id="rId6"/>
    <p:sldLayoutId id="2147484738" r:id="rId7"/>
    <p:sldLayoutId id="2147484739" r:id="rId8"/>
    <p:sldLayoutId id="2147484740" r:id="rId9"/>
    <p:sldLayoutId id="2147484741" r:id="rId10"/>
    <p:sldLayoutId id="2147484742" r:id="rId11"/>
    <p:sldLayoutId id="2147484743" r:id="rId12"/>
    <p:sldLayoutId id="2147484744" r:id="rId13"/>
    <p:sldLayoutId id="2147484745" r:id="rId14"/>
    <p:sldLayoutId id="2147484746" r:id="rId15"/>
    <p:sldLayoutId id="2147484747" r:id="rId16"/>
    <p:sldLayoutId id="2147484748" r:id="rId17"/>
    <p:sldLayoutId id="2147484749" r:id="rId18"/>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2" cstate="email">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254604382"/>
      </p:ext>
    </p:extLst>
  </p:cSld>
  <p:clrMap bg1="lt1" tx1="dk1" bg2="lt2" tx2="dk2" accent1="accent1" accent2="accent2" accent3="accent3" accent4="accent4" accent5="accent5" accent6="accent6" hlink="hlink" folHlink="folHlink"/>
  <p:sldLayoutIdLst>
    <p:sldLayoutId id="2147484754" r:id="rId1"/>
    <p:sldLayoutId id="2147484755" r:id="rId2"/>
    <p:sldLayoutId id="2147484756" r:id="rId3"/>
    <p:sldLayoutId id="2147484757" r:id="rId4"/>
    <p:sldLayoutId id="2147484758" r:id="rId5"/>
    <p:sldLayoutId id="2147484759" r:id="rId6"/>
    <p:sldLayoutId id="2147484760" r:id="rId7"/>
    <p:sldLayoutId id="2147484761" r:id="rId8"/>
    <p:sldLayoutId id="2147484762" r:id="rId9"/>
    <p:sldLayoutId id="2147484763" r:id="rId10"/>
    <p:sldLayoutId id="2147484764" r:id="rId11"/>
    <p:sldLayoutId id="2147484765" r:id="rId12"/>
    <p:sldLayoutId id="2147484766" r:id="rId13"/>
    <p:sldLayoutId id="2147484767" r:id="rId14"/>
    <p:sldLayoutId id="2147484768" r:id="rId15"/>
    <p:sldLayoutId id="2147484769" r:id="rId16"/>
    <p:sldLayoutId id="2147484770" r:id="rId17"/>
    <p:sldLayoutId id="2147484771" r:id="rId18"/>
    <p:sldLayoutId id="2147484772" r:id="rId19"/>
    <p:sldLayoutId id="2147484773" r:id="rId20"/>
    <p:sldLayoutId id="2147484774" r:id="rId21"/>
    <p:sldLayoutId id="2147484775" r:id="rId22"/>
    <p:sldLayoutId id="2147484776" r:id="rId23"/>
    <p:sldLayoutId id="2147484777" r:id="rId24"/>
    <p:sldLayoutId id="2147484778" r:id="rId25"/>
    <p:sldLayoutId id="2147484779" r:id="rId26"/>
    <p:sldLayoutId id="2147484780" r:id="rId27"/>
    <p:sldLayoutId id="2147484781" r:id="rId28"/>
    <p:sldLayoutId id="2147484782" r:id="rId29"/>
    <p:sldLayoutId id="2147484783" r:id="rId3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6"/>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7"/>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rot="5400000">
            <a:off x="9687020" y="3012080"/>
            <a:ext cx="6858623" cy="833218"/>
          </a:xfrm>
          <a:prstGeom prst="rect">
            <a:avLst/>
          </a:prstGeom>
        </p:spPr>
      </p:pic>
      <p:grpSp>
        <p:nvGrpSpPr>
          <p:cNvPr id="6" name="Group 5">
            <a:extLst>
              <a:ext uri="{FF2B5EF4-FFF2-40B4-BE49-F238E27FC236}">
                <a16:creationId xmlns:a16="http://schemas.microsoft.com/office/drawing/2014/main" id="{B75A86E2-DC9B-4CB0-9A0D-6F18FD22340B}"/>
              </a:ext>
            </a:extLst>
          </p:cNvPr>
          <p:cNvGrpSpPr/>
          <p:nvPr userDrawn="1"/>
        </p:nvGrpSpPr>
        <p:grpSpPr>
          <a:xfrm>
            <a:off x="12245886" y="1"/>
            <a:ext cx="391204" cy="6858001"/>
            <a:chOff x="12930471" y="246575"/>
            <a:chExt cx="384981" cy="6747951"/>
          </a:xfrm>
        </p:grpSpPr>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rot="5400000">
              <a:off x="9941010" y="3620084"/>
              <a:ext cx="6363903" cy="384981"/>
            </a:xfrm>
            <a:prstGeom prst="rect">
              <a:avLst/>
            </a:prstGeom>
          </p:spPr>
        </p:pic>
        <p:sp>
          <p:nvSpPr>
            <p:cNvPr id="3" name="Rectangle 2">
              <a:extLst>
                <a:ext uri="{FF2B5EF4-FFF2-40B4-BE49-F238E27FC236}">
                  <a16:creationId xmlns:a16="http://schemas.microsoft.com/office/drawing/2014/main" id="{6F47187D-ECA7-40DA-AAE3-7CBF2C6E67B2}"/>
                </a:ext>
              </a:extLst>
            </p:cNvPr>
            <p:cNvSpPr/>
            <p:nvPr userDrawn="1"/>
          </p:nvSpPr>
          <p:spPr bwMode="auto">
            <a:xfrm>
              <a:off x="12930471" y="246575"/>
              <a:ext cx="384981" cy="384048"/>
            </a:xfrm>
            <a:prstGeom prst="rect">
              <a:avLst/>
            </a:prstGeom>
            <a:solidFill>
              <a:srgbClr val="F3F3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27432" tIns="45720" rIns="27432" bIns="4572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392" b="1">
                  <a:solidFill>
                    <a:srgbClr val="000000"/>
                  </a:solidFill>
                  <a:ea typeface="Segoe UI" pitchFamily="34" charset="0"/>
                  <a:cs typeface="Segoe UI" pitchFamily="34" charset="0"/>
                </a:rPr>
                <a:t>Light gray</a:t>
              </a:r>
            </a:p>
            <a:p>
              <a:pPr algn="l" defTabSz="914102" fontAlgn="base">
                <a:lnSpc>
                  <a:spcPct val="100000"/>
                </a:lnSpc>
                <a:spcBef>
                  <a:spcPct val="0"/>
                </a:spcBef>
                <a:spcAft>
                  <a:spcPct val="0"/>
                </a:spcAft>
              </a:pPr>
              <a:r>
                <a:rPr lang="en-US" sz="294">
                  <a:solidFill>
                    <a:srgbClr val="000000"/>
                  </a:solidFill>
                  <a:ea typeface="Segoe UI" pitchFamily="34" charset="0"/>
                  <a:cs typeface="Segoe UI" pitchFamily="34" charset="0"/>
                </a:rPr>
                <a:t>R243 G243 B243</a:t>
              </a:r>
            </a:p>
          </p:txBody>
        </p:sp>
      </p:grpSp>
    </p:spTree>
    <p:extLst>
      <p:ext uri="{BB962C8B-B14F-4D97-AF65-F5344CB8AC3E}">
        <p14:creationId xmlns:p14="http://schemas.microsoft.com/office/powerpoint/2010/main" val="1257286629"/>
      </p:ext>
    </p:extLst>
  </p:cSld>
  <p:clrMap bg1="lt1" tx1="dk1" bg2="lt2" tx2="dk2" accent1="accent1" accent2="accent2" accent3="accent3" accent4="accent4" accent5="accent5" accent6="accent6" hlink="hlink" folHlink="folHlink"/>
  <p:sldLayoutIdLst>
    <p:sldLayoutId id="2147484786" r:id="rId1"/>
    <p:sldLayoutId id="2147484787" r:id="rId2"/>
    <p:sldLayoutId id="2147484788" r:id="rId3"/>
    <p:sldLayoutId id="2147484789" r:id="rId4"/>
    <p:sldLayoutId id="2147484790" r:id="rId5"/>
    <p:sldLayoutId id="2147484791" r:id="rId6"/>
    <p:sldLayoutId id="2147484792" r:id="rId7"/>
    <p:sldLayoutId id="2147484793" r:id="rId8"/>
    <p:sldLayoutId id="2147484794" r:id="rId9"/>
    <p:sldLayoutId id="2147484795" r:id="rId10"/>
    <p:sldLayoutId id="2147484796" r:id="rId11"/>
    <p:sldLayoutId id="2147484797" r:id="rId12"/>
    <p:sldLayoutId id="2147484798" r:id="rId13"/>
    <p:sldLayoutId id="2147484799" r:id="rId14"/>
    <p:sldLayoutId id="2147484800" r:id="rId15"/>
    <p:sldLayoutId id="2147484801" r:id="rId16"/>
    <p:sldLayoutId id="2147484802" r:id="rId17"/>
    <p:sldLayoutId id="2147484803" r:id="rId18"/>
    <p:sldLayoutId id="2147484804" r:id="rId19"/>
    <p:sldLayoutId id="2147484871" r:id="rId20"/>
  </p:sldLayoutIdLst>
  <p:transition>
    <p:fade/>
  </p:transition>
  <p:txStyles>
    <p:titleStyle>
      <a:lvl1pPr algn="l" defTabSz="914367" rtl="0" eaLnBrk="1" latinLnBrk="0" hangingPunct="1">
        <a:lnSpc>
          <a:spcPct val="90000"/>
        </a:lnSpc>
        <a:spcBef>
          <a:spcPct val="0"/>
        </a:spcBef>
        <a:buNone/>
        <a:defRPr lang="en-US" sz="3137"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7" cstate="email">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35446699"/>
      </p:ext>
    </p:extLst>
  </p:cSld>
  <p:clrMap bg1="lt1" tx1="dk1" bg2="lt2" tx2="dk2" accent1="accent1" accent2="accent2" accent3="accent3" accent4="accent4" accent5="accent5" accent6="accent6" hlink="hlink" folHlink="folHlink"/>
  <p:sldLayoutIdLst>
    <p:sldLayoutId id="2147484806" r:id="rId1"/>
    <p:sldLayoutId id="2147484807" r:id="rId2"/>
    <p:sldLayoutId id="2147484808" r:id="rId3"/>
    <p:sldLayoutId id="2147484809" r:id="rId4"/>
    <p:sldLayoutId id="2147484810" r:id="rId5"/>
    <p:sldLayoutId id="2147484811" r:id="rId6"/>
    <p:sldLayoutId id="2147484812" r:id="rId7"/>
    <p:sldLayoutId id="2147484813" r:id="rId8"/>
    <p:sldLayoutId id="2147484814" r:id="rId9"/>
    <p:sldLayoutId id="2147484815" r:id="rId10"/>
    <p:sldLayoutId id="2147484816" r:id="rId11"/>
    <p:sldLayoutId id="2147484817" r:id="rId12"/>
    <p:sldLayoutId id="2147484818" r:id="rId13"/>
    <p:sldLayoutId id="2147484819" r:id="rId14"/>
    <p:sldLayoutId id="2147484820" r:id="rId15"/>
    <p:sldLayoutId id="2147484821" r:id="rId16"/>
    <p:sldLayoutId id="2147484822" r:id="rId17"/>
    <p:sldLayoutId id="2147484823" r:id="rId18"/>
    <p:sldLayoutId id="2147484824" r:id="rId19"/>
    <p:sldLayoutId id="2147484825" r:id="rId20"/>
    <p:sldLayoutId id="2147484826" r:id="rId21"/>
    <p:sldLayoutId id="2147484827" r:id="rId22"/>
    <p:sldLayoutId id="2147484828" r:id="rId23"/>
    <p:sldLayoutId id="2147484829" r:id="rId24"/>
    <p:sldLayoutId id="2147484830" r:id="rId25"/>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560760068"/>
      </p:ext>
    </p:extLst>
  </p:cSld>
  <p:clrMap bg1="lt1" tx1="dk1" bg2="lt2" tx2="dk2" accent1="accent1" accent2="accent2" accent3="accent3" accent4="accent4" accent5="accent5" accent6="accent6" hlink="hlink" folHlink="folHlink"/>
  <p:sldLayoutIdLst>
    <p:sldLayoutId id="2147484834" r:id="rId1"/>
    <p:sldLayoutId id="2147484835" r:id="rId2"/>
    <p:sldLayoutId id="2147484836" r:id="rId3"/>
    <p:sldLayoutId id="2147484837" r:id="rId4"/>
    <p:sldLayoutId id="2147484838" r:id="rId5"/>
    <p:sldLayoutId id="2147484839" r:id="rId6"/>
    <p:sldLayoutId id="2147484840" r:id="rId7"/>
    <p:sldLayoutId id="2147484841" r:id="rId8"/>
    <p:sldLayoutId id="2147484842" r:id="rId9"/>
    <p:sldLayoutId id="2147484843" r:id="rId10"/>
    <p:sldLayoutId id="2147484844" r:id="rId11"/>
    <p:sldLayoutId id="2147484845" r:id="rId12"/>
    <p:sldLayoutId id="2147484846" r:id="rId13"/>
    <p:sldLayoutId id="2147484847" r:id="rId14"/>
    <p:sldLayoutId id="2147484848" r:id="rId15"/>
    <p:sldLayoutId id="2147484849" r:id="rId16"/>
    <p:sldLayoutId id="2147484850" r:id="rId17"/>
    <p:sldLayoutId id="2147484851" r:id="rId18"/>
    <p:sldLayoutId id="2147484852" r:id="rId19"/>
    <p:sldLayoutId id="2147484873" r:id="rId20"/>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0" cstate="email">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606548237"/>
      </p:ext>
    </p:extLst>
  </p:cSld>
  <p:clrMap bg1="lt1" tx1="dk1" bg2="lt2" tx2="dk2" accent1="accent1" accent2="accent2" accent3="accent3" accent4="accent4" accent5="accent5" accent6="accent6" hlink="hlink" folHlink="folHlink"/>
  <p:sldLayoutIdLst>
    <p:sldLayoutId id="2147484855" r:id="rId1"/>
    <p:sldLayoutId id="2147484856" r:id="rId2"/>
    <p:sldLayoutId id="2147484857" r:id="rId3"/>
    <p:sldLayoutId id="2147484858" r:id="rId4"/>
    <p:sldLayoutId id="2147484859" r:id="rId5"/>
    <p:sldLayoutId id="2147484860" r:id="rId6"/>
    <p:sldLayoutId id="2147484861" r:id="rId7"/>
    <p:sldLayoutId id="2147484862" r:id="rId8"/>
    <p:sldLayoutId id="2147484863" r:id="rId9"/>
    <p:sldLayoutId id="2147484864" r:id="rId10"/>
    <p:sldLayoutId id="2147484865" r:id="rId11"/>
    <p:sldLayoutId id="2147484866" r:id="rId12"/>
    <p:sldLayoutId id="2147484867" r:id="rId13"/>
    <p:sldLayoutId id="2147484868" r:id="rId14"/>
    <p:sldLayoutId id="2147484869" r:id="rId15"/>
    <p:sldLayoutId id="2147484870" r:id="rId16"/>
    <p:sldLayoutId id="2147485019" r:id="rId17"/>
    <p:sldLayoutId id="2147485020" r:id="rId18"/>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186068380"/>
      </p:ext>
    </p:extLst>
  </p:cSld>
  <p:clrMap bg1="lt1" tx1="dk1" bg2="lt2" tx2="dk2" accent1="accent1" accent2="accent2" accent3="accent3" accent4="accent4" accent5="accent5" accent6="accent6" hlink="hlink" folHlink="folHlink"/>
  <p:sldLayoutIdLst>
    <p:sldLayoutId id="2147484879" r:id="rId1"/>
    <p:sldLayoutId id="2147484880" r:id="rId2"/>
    <p:sldLayoutId id="2147484881" r:id="rId3"/>
    <p:sldLayoutId id="2147484882" r:id="rId4"/>
    <p:sldLayoutId id="2147484883" r:id="rId5"/>
    <p:sldLayoutId id="2147484884" r:id="rId6"/>
    <p:sldLayoutId id="2147484885" r:id="rId7"/>
    <p:sldLayoutId id="2147484886" r:id="rId8"/>
    <p:sldLayoutId id="2147484887" r:id="rId9"/>
    <p:sldLayoutId id="2147484888" r:id="rId10"/>
    <p:sldLayoutId id="2147484889" r:id="rId11"/>
    <p:sldLayoutId id="2147484890" r:id="rId12"/>
    <p:sldLayoutId id="2147484891" r:id="rId13"/>
    <p:sldLayoutId id="2147484892" r:id="rId14"/>
    <p:sldLayoutId id="2147484893" r:id="rId15"/>
    <p:sldLayoutId id="2147484894" r:id="rId16"/>
    <p:sldLayoutId id="2147484895" r:id="rId17"/>
    <p:sldLayoutId id="2147484896" r:id="rId18"/>
    <p:sldLayoutId id="2147484897" r:id="rId19"/>
    <p:sldLayoutId id="2147484898" r:id="rId20"/>
  </p:sldLayoutIdLst>
  <p:transition>
    <p:fade/>
  </p:transition>
  <p:hf sldNum="0" hdr="0" ftr="0" dt="0"/>
  <p:txStyles>
    <p:titleStyle>
      <a:lvl1pPr algn="l" defTabSz="914367" rtl="0" eaLnBrk="1" latinLnBrk="0" hangingPunct="1">
        <a:lnSpc>
          <a:spcPct val="90000"/>
        </a:lnSpc>
        <a:spcBef>
          <a:spcPct val="0"/>
        </a:spcBef>
        <a:buNone/>
        <a:defRPr lang="en-US" sz="431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715048083"/>
      </p:ext>
    </p:extLst>
  </p:cSld>
  <p:clrMap bg1="lt1" tx1="dk1" bg2="lt2" tx2="dk2" accent1="accent1" accent2="accent2" accent3="accent3" accent4="accent4" accent5="accent5" accent6="accent6" hlink="hlink" folHlink="folHlink"/>
  <p:sldLayoutIdLst>
    <p:sldLayoutId id="2147484900" r:id="rId1"/>
    <p:sldLayoutId id="2147484901" r:id="rId2"/>
    <p:sldLayoutId id="2147484902" r:id="rId3"/>
    <p:sldLayoutId id="2147484903" r:id="rId4"/>
    <p:sldLayoutId id="2147484904" r:id="rId5"/>
    <p:sldLayoutId id="2147484905" r:id="rId6"/>
    <p:sldLayoutId id="2147484906" r:id="rId7"/>
    <p:sldLayoutId id="2147484907" r:id="rId8"/>
    <p:sldLayoutId id="2147484908" r:id="rId9"/>
    <p:sldLayoutId id="2147484909" r:id="rId10"/>
    <p:sldLayoutId id="2147484910" r:id="rId11"/>
    <p:sldLayoutId id="2147484911" r:id="rId12"/>
    <p:sldLayoutId id="2147484912" r:id="rId13"/>
    <p:sldLayoutId id="2147484913" r:id="rId14"/>
    <p:sldLayoutId id="2147484914" r:id="rId15"/>
    <p:sldLayoutId id="2147484915" r:id="rId16"/>
    <p:sldLayoutId id="2147484916" r:id="rId17"/>
    <p:sldLayoutId id="2147484917" r:id="rId18"/>
    <p:sldLayoutId id="2147484918" r:id="rId19"/>
    <p:sldLayoutId id="2147484919" r:id="rId20"/>
  </p:sldLayoutIdLst>
  <p:transition>
    <p:fade/>
  </p:transition>
  <p:txStyles>
    <p:titleStyle>
      <a:lvl1pPr algn="l" defTabSz="914367" rtl="0" eaLnBrk="1" latinLnBrk="0" hangingPunct="1">
        <a:lnSpc>
          <a:spcPct val="90000"/>
        </a:lnSpc>
        <a:spcBef>
          <a:spcPct val="0"/>
        </a:spcBef>
        <a:buNone/>
        <a:defRPr lang="en-US" sz="3137"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mailto:rich.mcbrine@microsoft.com" TargetMode="External"/><Relationship Id="rId2" Type="http://schemas.openxmlformats.org/officeDocument/2006/relationships/notesSlide" Target="../notesSlides/notesSlide1.xml"/><Relationship Id="rId1" Type="http://schemas.openxmlformats.org/officeDocument/2006/relationships/slideLayout" Target="../slideLayouts/slideLayout244.xml"/><Relationship Id="rId5" Type="http://schemas.openxmlformats.org/officeDocument/2006/relationships/image" Target="../media/image75.png"/><Relationship Id="rId4" Type="http://schemas.openxmlformats.org/officeDocument/2006/relationships/image" Target="../media/image74.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49.xml"/></Relationships>
</file>

<file path=ppt/slides/_rels/slide11.xml.rels><?xml version="1.0" encoding="UTF-8" standalone="yes"?>
<Relationships xmlns="http://schemas.openxmlformats.org/package/2006/relationships"><Relationship Id="rId3" Type="http://schemas.openxmlformats.org/officeDocument/2006/relationships/hyperlink" Target="mailto:ricks@hackwvd.net" TargetMode="External"/><Relationship Id="rId2" Type="http://schemas.openxmlformats.org/officeDocument/2006/relationships/hyperlink" Target="mailto:remadmin@hackwvd.net" TargetMode="External"/><Relationship Id="rId1" Type="http://schemas.openxmlformats.org/officeDocument/2006/relationships/slideLayout" Target="../slideLayouts/slideLayout149.xml"/><Relationship Id="rId4" Type="http://schemas.openxmlformats.org/officeDocument/2006/relationships/hyperlink" Target="mailto:mortys@hackwvd.net"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hyperlink" Target="https://docs.microsoft.com/en-us/azure/virtual-desktop/tenant-setup-azure-active-directory#create-a-windows-virtual-desktop-preview-tenant" TargetMode="External"/><Relationship Id="rId1" Type="http://schemas.openxmlformats.org/officeDocument/2006/relationships/slideLayout" Target="../slideLayouts/slideLayout135.xml"/><Relationship Id="rId4" Type="http://schemas.openxmlformats.org/officeDocument/2006/relationships/image" Target="../media/image86.png"/></Relationships>
</file>

<file path=ppt/slides/_rels/slide13.xml.rels><?xml version="1.0" encoding="UTF-8" standalone="yes"?>
<Relationships xmlns="http://schemas.openxmlformats.org/package/2006/relationships"><Relationship Id="rId8" Type="http://schemas.openxmlformats.org/officeDocument/2006/relationships/image" Target="../media/image92.png"/><Relationship Id="rId3" Type="http://schemas.openxmlformats.org/officeDocument/2006/relationships/image" Target="../media/image87.png"/><Relationship Id="rId7" Type="http://schemas.openxmlformats.org/officeDocument/2006/relationships/image" Target="../media/image91.png"/><Relationship Id="rId2" Type="http://schemas.openxmlformats.org/officeDocument/2006/relationships/hyperlink" Target="https://docs.microsoft.com/en-us/azure/virtual-desktop/virtual-desktop-fall-2019/create-service-principal-role-powershell" TargetMode="External"/><Relationship Id="rId1" Type="http://schemas.openxmlformats.org/officeDocument/2006/relationships/slideLayout" Target="../slideLayouts/slideLayout149.xml"/><Relationship Id="rId6" Type="http://schemas.openxmlformats.org/officeDocument/2006/relationships/image" Target="../media/image90.png"/><Relationship Id="rId5" Type="http://schemas.openxmlformats.org/officeDocument/2006/relationships/image" Target="../media/image89.png"/><Relationship Id="rId4" Type="http://schemas.openxmlformats.org/officeDocument/2006/relationships/image" Target="../media/image88.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46.xml"/></Relationships>
</file>

<file path=ppt/slides/_rels/slide15.xml.rels><?xml version="1.0" encoding="UTF-8" standalone="yes"?>
<Relationships xmlns="http://schemas.openxmlformats.org/package/2006/relationships"><Relationship Id="rId8" Type="http://schemas.openxmlformats.org/officeDocument/2006/relationships/image" Target="../media/image97.png"/><Relationship Id="rId3" Type="http://schemas.openxmlformats.org/officeDocument/2006/relationships/image" Target="../media/image84.png"/><Relationship Id="rId7" Type="http://schemas.openxmlformats.org/officeDocument/2006/relationships/image" Target="../media/image96.png"/><Relationship Id="rId2" Type="http://schemas.openxmlformats.org/officeDocument/2006/relationships/image" Target="../media/image93.png"/><Relationship Id="rId1" Type="http://schemas.openxmlformats.org/officeDocument/2006/relationships/slideLayout" Target="../slideLayouts/slideLayout135.xml"/><Relationship Id="rId6" Type="http://schemas.openxmlformats.org/officeDocument/2006/relationships/image" Target="../media/image95.png"/><Relationship Id="rId5" Type="http://schemas.openxmlformats.org/officeDocument/2006/relationships/image" Target="../media/image94.png"/><Relationship Id="rId4" Type="http://schemas.microsoft.com/office/2007/relationships/hdphoto" Target="../media/hdphoto2.wdp"/><Relationship Id="rId9" Type="http://schemas.openxmlformats.org/officeDocument/2006/relationships/image" Target="../media/image98.png"/></Relationships>
</file>

<file path=ppt/slides/_rels/slide16.xml.rels><?xml version="1.0" encoding="UTF-8" standalone="yes"?>
<Relationships xmlns="http://schemas.openxmlformats.org/package/2006/relationships"><Relationship Id="rId8" Type="http://schemas.openxmlformats.org/officeDocument/2006/relationships/image" Target="../media/image83.png"/><Relationship Id="rId3" Type="http://schemas.openxmlformats.org/officeDocument/2006/relationships/image" Target="../media/image99.png"/><Relationship Id="rId7" Type="http://schemas.openxmlformats.org/officeDocument/2006/relationships/image" Target="../media/image102.png"/><Relationship Id="rId2" Type="http://schemas.openxmlformats.org/officeDocument/2006/relationships/notesSlide" Target="../notesSlides/notesSlide2.xml"/><Relationship Id="rId1" Type="http://schemas.openxmlformats.org/officeDocument/2006/relationships/slideLayout" Target="../slideLayouts/slideLayout138.xml"/><Relationship Id="rId6" Type="http://schemas.microsoft.com/office/2007/relationships/hdphoto" Target="../media/hdphoto3.wdp"/><Relationship Id="rId5" Type="http://schemas.openxmlformats.org/officeDocument/2006/relationships/image" Target="../media/image101.png"/><Relationship Id="rId4" Type="http://schemas.openxmlformats.org/officeDocument/2006/relationships/image" Target="../media/image100.svg"/><Relationship Id="rId9" Type="http://schemas.openxmlformats.org/officeDocument/2006/relationships/image" Target="../media/image103.png"/></Relationships>
</file>

<file path=ppt/slides/_rels/slide17.xml.rels><?xml version="1.0" encoding="UTF-8" standalone="yes"?>
<Relationships xmlns="http://schemas.openxmlformats.org/package/2006/relationships"><Relationship Id="rId3" Type="http://schemas.openxmlformats.org/officeDocument/2006/relationships/hyperlink" Target="https://docs.microsoft.com/en-us/azure/virtual-machines/troubleshooting/custom-routes-enable-kms-activation" TargetMode="External"/><Relationship Id="rId2" Type="http://schemas.openxmlformats.org/officeDocument/2006/relationships/hyperlink" Target="https://nam06.safelinks.protection.outlook.com/?url=https%3A%2F%2Fdocs.microsoft.com%2Fen-us%2Fazure%2Fvirtual-desktop%2Foverview&amp;data=02%7C01%7Cmgarriga%40microsoft.com%7Cb21763a3e873404b4f8408d79a9f21f7%7C72f988bf86f141af91ab2d7cd011db47%7C1%7C0%7C637147880567430106&amp;sdata=XG8lkICBLhANjAlPaBxme0AUf7BT65ae3xftX17HQio%3D&amp;reserved=0" TargetMode="External"/><Relationship Id="rId1" Type="http://schemas.openxmlformats.org/officeDocument/2006/relationships/slideLayout" Target="../slideLayouts/slideLayout13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46.xml"/></Relationships>
</file>

<file path=ppt/slides/_rels/slide19.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104.png"/><Relationship Id="rId1" Type="http://schemas.openxmlformats.org/officeDocument/2006/relationships/slideLayout" Target="../slideLayouts/slideLayout24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46.xml"/></Relationships>
</file>

<file path=ppt/slides/_rels/slide20.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104.png"/><Relationship Id="rId1" Type="http://schemas.openxmlformats.org/officeDocument/2006/relationships/slideLayout" Target="../slideLayouts/slideLayout243.xml"/><Relationship Id="rId4" Type="http://schemas.openxmlformats.org/officeDocument/2006/relationships/hyperlink" Target="https://www.thinscale.com/f/43974/x/70158668e1/vdi-like-a-pro-state-of-the-vdi-and-sbc-survey-2017-edition-v2-1.pdf" TargetMode="External"/></Relationships>
</file>

<file path=ppt/slides/_rels/slide21.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104.png"/><Relationship Id="rId1" Type="http://schemas.openxmlformats.org/officeDocument/2006/relationships/slideLayout" Target="../slideLayouts/slideLayout24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49.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40.xml"/></Relationships>
</file>

<file path=ppt/slides/_rels/slide2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84.png"/><Relationship Id="rId1" Type="http://schemas.openxmlformats.org/officeDocument/2006/relationships/slideLayout" Target="../slideLayouts/slideLayout240.xml"/></Relationships>
</file>

<file path=ppt/slides/_rels/slide25.xml.rels><?xml version="1.0" encoding="UTF-8" standalone="yes"?>
<Relationships xmlns="http://schemas.openxmlformats.org/package/2006/relationships"><Relationship Id="rId8" Type="http://schemas.openxmlformats.org/officeDocument/2006/relationships/image" Target="../media/image97.png"/><Relationship Id="rId3" Type="http://schemas.openxmlformats.org/officeDocument/2006/relationships/image" Target="../media/image84.png"/><Relationship Id="rId7" Type="http://schemas.openxmlformats.org/officeDocument/2006/relationships/image" Target="../media/image96.png"/><Relationship Id="rId2" Type="http://schemas.openxmlformats.org/officeDocument/2006/relationships/image" Target="../media/image93.png"/><Relationship Id="rId1" Type="http://schemas.openxmlformats.org/officeDocument/2006/relationships/slideLayout" Target="../slideLayouts/slideLayout240.xml"/><Relationship Id="rId6" Type="http://schemas.openxmlformats.org/officeDocument/2006/relationships/image" Target="../media/image95.png"/><Relationship Id="rId11" Type="http://schemas.openxmlformats.org/officeDocument/2006/relationships/image" Target="../media/image107.png"/><Relationship Id="rId5" Type="http://schemas.openxmlformats.org/officeDocument/2006/relationships/image" Target="../media/image94.png"/><Relationship Id="rId10" Type="http://schemas.openxmlformats.org/officeDocument/2006/relationships/image" Target="../media/image106.png"/><Relationship Id="rId4" Type="http://schemas.microsoft.com/office/2007/relationships/hdphoto" Target="../media/hdphoto2.wdp"/><Relationship Id="rId9" Type="http://schemas.openxmlformats.org/officeDocument/2006/relationships/image" Target="../media/image98.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40.xml"/></Relationships>
</file>

<file path=ppt/slides/_rels/slide2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84.png"/><Relationship Id="rId1" Type="http://schemas.openxmlformats.org/officeDocument/2006/relationships/slideLayout" Target="../slideLayouts/slideLayout240.xml"/><Relationship Id="rId6" Type="http://schemas.openxmlformats.org/officeDocument/2006/relationships/image" Target="../media/image109.png"/><Relationship Id="rId5" Type="http://schemas.openxmlformats.org/officeDocument/2006/relationships/image" Target="../media/image108.png"/><Relationship Id="rId4" Type="http://schemas.openxmlformats.org/officeDocument/2006/relationships/image" Target="../media/image107.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4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4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40.xml"/></Relationships>
</file>

<file path=ppt/slides/_rels/slide30.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hyperlink" Target="https://docs.microsoft.com/en-us/azure/virtual-desktop/create-host-pools-user-profile" TargetMode="External"/><Relationship Id="rId1" Type="http://schemas.openxmlformats.org/officeDocument/2006/relationships/slideLayout" Target="../slideLayouts/slideLayout240.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46.xml"/></Relationships>
</file>

<file path=ppt/slides/_rels/slide32.xml.rels><?xml version="1.0" encoding="UTF-8" standalone="yes"?>
<Relationships xmlns="http://schemas.openxmlformats.org/package/2006/relationships"><Relationship Id="rId3" Type="http://schemas.openxmlformats.org/officeDocument/2006/relationships/hyperlink" Target="https://docs.microsoft.com/en-us/azure/virtual-desktop/install-office-on-wvd-master-image#install-office-in-shared-computer-activation-mode" TargetMode="External"/><Relationship Id="rId2" Type="http://schemas.openxmlformats.org/officeDocument/2006/relationships/hyperlink" Target="https://nam06.safelinks.protection.outlook.com/?url=https%3A%2F%2Fdocs.microsoft.com%2Fen-us%2FDeployOffice%2Foverview-of-shared-computer-activation-for-office-365-proplus&amp;data=02%7C01%7CRich.McBrine%40microsoft.com%7C7ef8463e4baf43ab16cb08d7d26c3e50%7C72f988bf86f141af91ab2d7cd011db47%7C1%7C0%7C637209234662596026&amp;sdata=6hcjZi4P9cFaHOcQ9BicTPgpVUbfReCkfl6TsSS%2BgVE%3D&amp;reserved=0" TargetMode="External"/><Relationship Id="rId1" Type="http://schemas.openxmlformats.org/officeDocument/2006/relationships/slideLayout" Target="../slideLayouts/slideLayout240.xml"/><Relationship Id="rId4" Type="http://schemas.openxmlformats.org/officeDocument/2006/relationships/image" Target="../media/image111.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46.xml"/></Relationships>
</file>

<file path=ppt/slides/_rels/slide34.xml.rels><?xml version="1.0" encoding="UTF-8" standalone="yes"?>
<Relationships xmlns="http://schemas.openxmlformats.org/package/2006/relationships"><Relationship Id="rId3" Type="http://schemas.openxmlformats.org/officeDocument/2006/relationships/image" Target="../media/image112.jpeg"/><Relationship Id="rId2" Type="http://schemas.openxmlformats.org/officeDocument/2006/relationships/hyperlink" Target="https://docs.microsoft.com/azure/virtual-machines/windows/create-vm-generalized-managed" TargetMode="External"/><Relationship Id="rId1" Type="http://schemas.openxmlformats.org/officeDocument/2006/relationships/slideLayout" Target="../slideLayouts/slideLayout240.xml"/><Relationship Id="rId4" Type="http://schemas.openxmlformats.org/officeDocument/2006/relationships/image" Target="../media/image113.png"/></Relationships>
</file>

<file path=ppt/slides/_rels/slide35.xml.rels><?xml version="1.0" encoding="UTF-8" standalone="yes"?>
<Relationships xmlns="http://schemas.openxmlformats.org/package/2006/relationships"><Relationship Id="rId3" Type="http://schemas.openxmlformats.org/officeDocument/2006/relationships/hyperlink" Target="https://www.robinhobo.com/how-to-create-a-custom-windows-10-multi-user-image-with-lob-applications-for-windows-virtual-desktop-preview-wvd-hostpool-deployments/" TargetMode="External"/><Relationship Id="rId2" Type="http://schemas.openxmlformats.org/officeDocument/2006/relationships/hyperlink" Target="https://docs.microsoft.com/en-us/azure/virtual-desktop/set-up-customize-master-image#software-preparation-and-installation" TargetMode="External"/><Relationship Id="rId1" Type="http://schemas.openxmlformats.org/officeDocument/2006/relationships/slideLayout" Target="../slideLayouts/slideLayout115.xml"/><Relationship Id="rId6" Type="http://schemas.openxmlformats.org/officeDocument/2006/relationships/hyperlink" Target="http://loganalytics.sepago.com/" TargetMode="External"/><Relationship Id="rId5" Type="http://schemas.openxmlformats.org/officeDocument/2006/relationships/hyperlink" Target="https://docs.microsoft.com/en-us/azure/virtual-desktop/install-office-on-wvd-master-image#install-office-in-shared-computer-activation-mode" TargetMode="External"/><Relationship Id="rId4" Type="http://schemas.openxmlformats.org/officeDocument/2006/relationships/hyperlink" Target="https://docs.microsoft.com/en-us/azure/virtual-desktop/install-office-on-wvd-master-image#install-onedrive-in-per-machine-mode" TargetMode="External"/></Relationships>
</file>

<file path=ppt/slides/_rels/slide36.xml.rels><?xml version="1.0" encoding="UTF-8" standalone="yes"?>
<Relationships xmlns="http://schemas.openxmlformats.org/package/2006/relationships"><Relationship Id="rId3" Type="http://schemas.openxmlformats.org/officeDocument/2006/relationships/image" Target="../media/image114.jpeg"/><Relationship Id="rId2" Type="http://schemas.openxmlformats.org/officeDocument/2006/relationships/hyperlink" Target="https://docs.microsoft.com/en-us/azure/virtual-machines/windows/capture-image-resource" TargetMode="External"/><Relationship Id="rId1" Type="http://schemas.openxmlformats.org/officeDocument/2006/relationships/slideLayout" Target="../slideLayouts/slideLayout115.xml"/></Relationships>
</file>

<file path=ppt/slides/_rels/slide37.xml.rels><?xml version="1.0" encoding="UTF-8" standalone="yes"?>
<Relationships xmlns="http://schemas.openxmlformats.org/package/2006/relationships"><Relationship Id="rId2" Type="http://schemas.openxmlformats.org/officeDocument/2006/relationships/image" Target="../media/image115.jpeg"/><Relationship Id="rId1" Type="http://schemas.openxmlformats.org/officeDocument/2006/relationships/slideLayout" Target="../slideLayouts/slideLayout115.xml"/></Relationships>
</file>

<file path=ppt/slides/_rels/slide38.xml.rels><?xml version="1.0" encoding="UTF-8" standalone="yes"?>
<Relationships xmlns="http://schemas.openxmlformats.org/package/2006/relationships"><Relationship Id="rId3" Type="http://schemas.openxmlformats.org/officeDocument/2006/relationships/image" Target="../media/image116.jpeg"/><Relationship Id="rId2" Type="http://schemas.openxmlformats.org/officeDocument/2006/relationships/hyperlink" Target="https://docs.microsoft.com/en-us/azure/virtual-desktop/create-host-pools-azure-marketplace" TargetMode="External"/><Relationship Id="rId1" Type="http://schemas.openxmlformats.org/officeDocument/2006/relationships/slideLayout" Target="../slideLayouts/slideLayout115.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4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42.xml"/></Relationships>
</file>

<file path=ppt/slides/_rels/slide40.xml.rels><?xml version="1.0" encoding="UTF-8" standalone="yes"?>
<Relationships xmlns="http://schemas.openxmlformats.org/package/2006/relationships"><Relationship Id="rId3" Type="http://schemas.openxmlformats.org/officeDocument/2006/relationships/hyperlink" Target="https://docs.microsoft.com/en-us/azure/virtual-desktop/create-host-pools-azure-marketplace" TargetMode="External"/><Relationship Id="rId2" Type="http://schemas.openxmlformats.org/officeDocument/2006/relationships/image" Target="../media/image117.png"/><Relationship Id="rId1" Type="http://schemas.openxmlformats.org/officeDocument/2006/relationships/slideLayout" Target="../slideLayouts/slideLayout240.xml"/><Relationship Id="rId5" Type="http://schemas.openxmlformats.org/officeDocument/2006/relationships/image" Target="../media/image119.png"/><Relationship Id="rId4" Type="http://schemas.openxmlformats.org/officeDocument/2006/relationships/image" Target="../media/image118.png"/></Relationships>
</file>

<file path=ppt/slides/_rels/slide41.xml.rels><?xml version="1.0" encoding="UTF-8" standalone="yes"?>
<Relationships xmlns="http://schemas.openxmlformats.org/package/2006/relationships"><Relationship Id="rId3" Type="http://schemas.openxmlformats.org/officeDocument/2006/relationships/hyperlink" Target="https://docs.microsoft.com/en-us/azure/virtual-desktop/create-host-pools-azure-marketplace" TargetMode="External"/><Relationship Id="rId2" Type="http://schemas.openxmlformats.org/officeDocument/2006/relationships/image" Target="../media/image120.png"/><Relationship Id="rId1" Type="http://schemas.openxmlformats.org/officeDocument/2006/relationships/slideLayout" Target="../slideLayouts/slideLayout240.xml"/></Relationships>
</file>

<file path=ppt/slides/_rels/slide42.xml.rels><?xml version="1.0" encoding="UTF-8" standalone="yes"?>
<Relationships xmlns="http://schemas.openxmlformats.org/package/2006/relationships"><Relationship Id="rId3" Type="http://schemas.openxmlformats.org/officeDocument/2006/relationships/hyperlink" Target="https://docs.microsoft.com/en-us/azure/virtual-desktop/create-host-pools-azure-marketplace" TargetMode="External"/><Relationship Id="rId2" Type="http://schemas.openxmlformats.org/officeDocument/2006/relationships/image" Target="../media/image121.png"/><Relationship Id="rId1" Type="http://schemas.openxmlformats.org/officeDocument/2006/relationships/slideLayout" Target="../slideLayouts/slideLayout240.xml"/></Relationships>
</file>

<file path=ppt/slides/_rels/slide43.xml.rels><?xml version="1.0" encoding="UTF-8" standalone="yes"?>
<Relationships xmlns="http://schemas.openxmlformats.org/package/2006/relationships"><Relationship Id="rId3" Type="http://schemas.openxmlformats.org/officeDocument/2006/relationships/hyperlink" Target="https://docs.microsoft.com/en-us/azure/virtual-desktop/create-host-pools-azure-marketplace" TargetMode="External"/><Relationship Id="rId2" Type="http://schemas.openxmlformats.org/officeDocument/2006/relationships/image" Target="../media/image122.png"/><Relationship Id="rId1" Type="http://schemas.openxmlformats.org/officeDocument/2006/relationships/slideLayout" Target="../slideLayouts/slideLayout240.xml"/></Relationships>
</file>

<file path=ppt/slides/_rels/slide44.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hyperlink" Target="https://docs.microsoft.com/en-us/azure/virtual-desktop/create-host-pools-azure-marketplace" TargetMode="External"/><Relationship Id="rId1" Type="http://schemas.openxmlformats.org/officeDocument/2006/relationships/slideLayout" Target="../slideLayouts/slideLayout240.xml"/><Relationship Id="rId4" Type="http://schemas.openxmlformats.org/officeDocument/2006/relationships/image" Target="../media/image124.png"/></Relationships>
</file>

<file path=ppt/slides/_rels/slide45.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hyperlink" Target="https://docs.microsoft.com/en-us/azure/virtual-desktop/create-host-pools-azure-marketplace" TargetMode="External"/><Relationship Id="rId1" Type="http://schemas.openxmlformats.org/officeDocument/2006/relationships/slideLayout" Target="../slideLayouts/slideLayout240.xml"/><Relationship Id="rId4" Type="http://schemas.openxmlformats.org/officeDocument/2006/relationships/image" Target="../media/image126.png"/></Relationships>
</file>

<file path=ppt/slides/_rels/slide46.xml.rels><?xml version="1.0" encoding="UTF-8" standalone="yes"?>
<Relationships xmlns="http://schemas.openxmlformats.org/package/2006/relationships"><Relationship Id="rId8" Type="http://schemas.openxmlformats.org/officeDocument/2006/relationships/image" Target="../media/image133.svg"/><Relationship Id="rId3" Type="http://schemas.openxmlformats.org/officeDocument/2006/relationships/image" Target="../media/image128.png"/><Relationship Id="rId7" Type="http://schemas.openxmlformats.org/officeDocument/2006/relationships/image" Target="../media/image132.png"/><Relationship Id="rId12" Type="http://schemas.openxmlformats.org/officeDocument/2006/relationships/image" Target="../media/image137.svg"/><Relationship Id="rId2" Type="http://schemas.openxmlformats.org/officeDocument/2006/relationships/image" Target="../media/image127.png"/><Relationship Id="rId1" Type="http://schemas.openxmlformats.org/officeDocument/2006/relationships/slideLayout" Target="../slideLayouts/slideLayout240.xml"/><Relationship Id="rId6" Type="http://schemas.openxmlformats.org/officeDocument/2006/relationships/image" Target="../media/image131.svg"/><Relationship Id="rId11" Type="http://schemas.openxmlformats.org/officeDocument/2006/relationships/image" Target="../media/image136.png"/><Relationship Id="rId5" Type="http://schemas.openxmlformats.org/officeDocument/2006/relationships/image" Target="../media/image130.png"/><Relationship Id="rId10" Type="http://schemas.openxmlformats.org/officeDocument/2006/relationships/image" Target="../media/image135.svg"/><Relationship Id="rId4" Type="http://schemas.openxmlformats.org/officeDocument/2006/relationships/image" Target="../media/image129.svg"/><Relationship Id="rId9" Type="http://schemas.openxmlformats.org/officeDocument/2006/relationships/image" Target="../media/image134.png"/></Relationships>
</file>

<file path=ppt/slides/_rels/slide47.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hyperlink" Target="https://docs.microsoft.com/en-us/azure/virtual-desktop/create-host-pools-user-profile" TargetMode="External"/><Relationship Id="rId1" Type="http://schemas.openxmlformats.org/officeDocument/2006/relationships/slideLayout" Target="../slideLayouts/slideLayout240.xml"/></Relationships>
</file>

<file path=ppt/slides/_rels/slide48.xml.rels><?xml version="1.0" encoding="UTF-8" standalone="yes"?>
<Relationships xmlns="http://schemas.openxmlformats.org/package/2006/relationships"><Relationship Id="rId8" Type="http://schemas.openxmlformats.org/officeDocument/2006/relationships/image" Target="../media/image97.png"/><Relationship Id="rId3" Type="http://schemas.openxmlformats.org/officeDocument/2006/relationships/image" Target="../media/image84.png"/><Relationship Id="rId7" Type="http://schemas.openxmlformats.org/officeDocument/2006/relationships/image" Target="../media/image96.png"/><Relationship Id="rId2" Type="http://schemas.openxmlformats.org/officeDocument/2006/relationships/image" Target="../media/image93.png"/><Relationship Id="rId1" Type="http://schemas.openxmlformats.org/officeDocument/2006/relationships/slideLayout" Target="../slideLayouts/slideLayout240.xml"/><Relationship Id="rId6" Type="http://schemas.openxmlformats.org/officeDocument/2006/relationships/image" Target="../media/image95.png"/><Relationship Id="rId11" Type="http://schemas.openxmlformats.org/officeDocument/2006/relationships/image" Target="../media/image107.png"/><Relationship Id="rId5" Type="http://schemas.openxmlformats.org/officeDocument/2006/relationships/image" Target="../media/image94.png"/><Relationship Id="rId10" Type="http://schemas.openxmlformats.org/officeDocument/2006/relationships/image" Target="../media/image106.png"/><Relationship Id="rId4" Type="http://schemas.microsoft.com/office/2007/relationships/hdphoto" Target="../media/hdphoto2.wdp"/><Relationship Id="rId9" Type="http://schemas.openxmlformats.org/officeDocument/2006/relationships/image" Target="../media/image98.png"/></Relationships>
</file>

<file path=ppt/slides/_rels/slide49.xml.rels><?xml version="1.0" encoding="UTF-8" standalone="yes"?>
<Relationships xmlns="http://schemas.openxmlformats.org/package/2006/relationships"><Relationship Id="rId2" Type="http://schemas.openxmlformats.org/officeDocument/2006/relationships/hyperlink" Target="https://aka.ms/wvdweb" TargetMode="External"/><Relationship Id="rId1" Type="http://schemas.openxmlformats.org/officeDocument/2006/relationships/slideLayout" Target="../slideLayouts/slideLayout24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4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46.xml"/></Relationships>
</file>

<file path=ppt/slides/_rels/slide51.xml.rels><?xml version="1.0" encoding="UTF-8" standalone="yes"?>
<Relationships xmlns="http://schemas.openxmlformats.org/package/2006/relationships"><Relationship Id="rId8" Type="http://schemas.openxmlformats.org/officeDocument/2006/relationships/hyperlink" Target="https://www.youtube.com/watch?v=-341VcvMJk8" TargetMode="External"/><Relationship Id="rId3" Type="http://schemas.openxmlformats.org/officeDocument/2006/relationships/hyperlink" Target="https://techcommunity.microsoft.com/t5/Windows-IT-Pro-Blog/Getting-started-with-Windows-Virtual-Desktop/ba-p/391054" TargetMode="External"/><Relationship Id="rId7" Type="http://schemas.openxmlformats.org/officeDocument/2006/relationships/hyperlink" Target="https://www.youtube.com/watch?v=kvEjX_NOfxk" TargetMode="External"/><Relationship Id="rId12" Type="http://schemas.openxmlformats.org/officeDocument/2006/relationships/hyperlink" Target="https://docs.microsoft.com/en-us/azure/virtual-desktop/manage-app-groups" TargetMode="External"/><Relationship Id="rId2" Type="http://schemas.openxmlformats.org/officeDocument/2006/relationships/notesSlide" Target="../notesSlides/notesSlide3.xml"/><Relationship Id="rId1" Type="http://schemas.openxmlformats.org/officeDocument/2006/relationships/slideLayout" Target="../slideLayouts/slideLayout114.xml"/><Relationship Id="rId6" Type="http://schemas.openxmlformats.org/officeDocument/2006/relationships/hyperlink" Target="https://www.youtube.com/playlist?list=PL-V4YVm6AmwXGvQ46W8mHkpvm6S5IIitK" TargetMode="External"/><Relationship Id="rId11" Type="http://schemas.openxmlformats.org/officeDocument/2006/relationships/hyperlink" Target="https://docs.microsoft.com/en-us/azure/virtual-desktop/create-host-pools-azure-marketplace" TargetMode="External"/><Relationship Id="rId5" Type="http://schemas.openxmlformats.org/officeDocument/2006/relationships/hyperlink" Target="https://techcommunity.microsoft.com/t5/Windows-Virtual-Desktop/Webcast-resource-guide-All-you-need-to-know-about-Windows/m-p/675771" TargetMode="External"/><Relationship Id="rId10" Type="http://schemas.openxmlformats.org/officeDocument/2006/relationships/hyperlink" Target="https://docs.microsoft.com/en-us/azure/virtual-desktop/create-service-principal-role-powershell" TargetMode="External"/><Relationship Id="rId4" Type="http://schemas.openxmlformats.org/officeDocument/2006/relationships/hyperlink" Target="https://info.microsoft.com/US-NOGEP-WBNR-FY19-06Jun-06-ON24-Virtual-Event-1996_02Registration-Form-in-Body.html" TargetMode="External"/><Relationship Id="rId9" Type="http://schemas.openxmlformats.org/officeDocument/2006/relationships/hyperlink" Target="https://docs.microsoft.com/en-us/azure/virtual-desktop/tenant-setup-azure-active-directory" TargetMode="External"/></Relationships>
</file>

<file path=ppt/slides/_rels/slide52.xml.rels><?xml version="1.0" encoding="UTF-8" standalone="yes"?>
<Relationships xmlns="http://schemas.openxmlformats.org/package/2006/relationships"><Relationship Id="rId3" Type="http://schemas.openxmlformats.org/officeDocument/2006/relationships/hyperlink" Target="https://techcommunity.microsoft.com/t5/itops-talk-blog/windows-virtual-desktop-spring-update-enters-public-preview/ba-p/1340245" TargetMode="External"/><Relationship Id="rId2" Type="http://schemas.openxmlformats.org/officeDocument/2006/relationships/image" Target="../media/image139.png"/><Relationship Id="rId1" Type="http://schemas.openxmlformats.org/officeDocument/2006/relationships/slideLayout" Target="../slideLayouts/slideLayout115.xml"/><Relationship Id="rId4" Type="http://schemas.openxmlformats.org/officeDocument/2006/relationships/hyperlink" Target="https://www.christiaanbrinkhoff.com/2020/05/01/windows-virtual-desktop-technical-2020-spring-update-arm-based-model-deployment-walkthrough/" TargetMode="Externa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4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43.xml"/></Relationships>
</file>

<file path=ppt/slides/_rels/slide8.xml.rels><?xml version="1.0" encoding="UTF-8" standalone="yes"?>
<Relationships xmlns="http://schemas.openxmlformats.org/package/2006/relationships"><Relationship Id="rId8" Type="http://schemas.openxmlformats.org/officeDocument/2006/relationships/image" Target="../media/image82.emf"/><Relationship Id="rId3" Type="http://schemas.openxmlformats.org/officeDocument/2006/relationships/image" Target="../media/image77.emf"/><Relationship Id="rId7" Type="http://schemas.openxmlformats.org/officeDocument/2006/relationships/image" Target="../media/image81.emf"/><Relationship Id="rId2" Type="http://schemas.openxmlformats.org/officeDocument/2006/relationships/image" Target="../media/image76.emf"/><Relationship Id="rId1" Type="http://schemas.openxmlformats.org/officeDocument/2006/relationships/slideLayout" Target="../slideLayouts/slideLayout138.xml"/><Relationship Id="rId6" Type="http://schemas.openxmlformats.org/officeDocument/2006/relationships/image" Target="../media/image80.emf"/><Relationship Id="rId11" Type="http://schemas.microsoft.com/office/2007/relationships/hdphoto" Target="../media/hdphoto2.wdp"/><Relationship Id="rId5" Type="http://schemas.openxmlformats.org/officeDocument/2006/relationships/image" Target="../media/image79.emf"/><Relationship Id="rId10" Type="http://schemas.openxmlformats.org/officeDocument/2006/relationships/image" Target="../media/image84.png"/><Relationship Id="rId4" Type="http://schemas.openxmlformats.org/officeDocument/2006/relationships/image" Target="../media/image78.emf"/><Relationship Id="rId9" Type="http://schemas.openxmlformats.org/officeDocument/2006/relationships/image" Target="../media/image83.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4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3">
            <a:extLst>
              <a:ext uri="{FF2B5EF4-FFF2-40B4-BE49-F238E27FC236}">
                <a16:creationId xmlns:a16="http://schemas.microsoft.com/office/drawing/2014/main" id="{A1C19EC1-C13A-4D64-9A13-D3F750C60B85}"/>
              </a:ext>
            </a:extLst>
          </p:cNvPr>
          <p:cNvSpPr txBox="1">
            <a:spLocks/>
          </p:cNvSpPr>
          <p:nvPr/>
        </p:nvSpPr>
        <p:spPr>
          <a:xfrm>
            <a:off x="737964" y="904935"/>
            <a:ext cx="10104432" cy="1477328"/>
          </a:xfrm>
          <a:prstGeom prst="rect">
            <a:avLst/>
          </a:prstGeom>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1" kern="1200" cap="none" spc="-5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4800" b="1" i="0" u="none" strike="noStrike" kern="1200" cap="none" spc="-50" normalizeH="0" baseline="0" noProof="0" dirty="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Windows Virtual Desktop Skilling Workshop – Section 2</a:t>
            </a:r>
          </a:p>
        </p:txBody>
      </p:sp>
      <p:sp>
        <p:nvSpPr>
          <p:cNvPr id="13" name="Text Placeholder 4">
            <a:extLst>
              <a:ext uri="{FF2B5EF4-FFF2-40B4-BE49-F238E27FC236}">
                <a16:creationId xmlns:a16="http://schemas.microsoft.com/office/drawing/2014/main" id="{09AEEF7C-3529-4DB6-8BC6-9BA6903B1853}"/>
              </a:ext>
            </a:extLst>
          </p:cNvPr>
          <p:cNvSpPr txBox="1">
            <a:spLocks/>
          </p:cNvSpPr>
          <p:nvPr/>
        </p:nvSpPr>
        <p:spPr>
          <a:xfrm>
            <a:off x="582041" y="3860185"/>
            <a:ext cx="5943600" cy="1231106"/>
          </a:xfrm>
          <a:prstGeom prst="rect">
            <a:avLst/>
          </a:prstGeom>
          <a:noFill/>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91000">
                      <a:schemeClr val="tx1"/>
                    </a:gs>
                    <a:gs pos="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2813"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0D0D0D"/>
                </a:solidFill>
                <a:effectLst/>
                <a:uLnTx/>
                <a:uFillTx/>
                <a:latin typeface="Segoe UI" pitchFamily="34" charset="0"/>
                <a:ea typeface="+mn-ea"/>
                <a:cs typeface="Segoe UI" panose="020B0502040204020203" pitchFamily="34" charset="0"/>
              </a:rPr>
              <a:t>Content by:  Rich McBrine</a:t>
            </a:r>
          </a:p>
          <a:p>
            <a:pPr marL="0" marR="0" lvl="0" indent="0" algn="l" defTabSz="912813"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0D0D0D"/>
                </a:solidFill>
                <a:effectLst/>
                <a:uLnTx/>
                <a:uFillTx/>
                <a:latin typeface="Segoe UI" pitchFamily="34" charset="0"/>
                <a:ea typeface="+mn-ea"/>
                <a:cs typeface="Segoe UI" panose="020B0502040204020203" pitchFamily="34" charset="0"/>
              </a:rPr>
              <a:t>Principal Cloud Solutions Architect</a:t>
            </a:r>
          </a:p>
          <a:p>
            <a:pPr marL="0" marR="0" lvl="0" indent="0" algn="l" defTabSz="912813"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0D0D0D"/>
                </a:solidFill>
                <a:effectLst/>
                <a:uLnTx/>
                <a:uFillTx/>
                <a:latin typeface="Segoe UI" pitchFamily="34" charset="0"/>
                <a:ea typeface="+mn-ea"/>
                <a:cs typeface="Segoe UI" panose="020B0502040204020203" pitchFamily="34" charset="0"/>
              </a:rPr>
              <a:t>Microsoft, U.S. Education</a:t>
            </a:r>
          </a:p>
          <a:p>
            <a:pPr marL="0" marR="0" lvl="0" indent="0" algn="l" defTabSz="912813"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0D0D0D"/>
                </a:solidFill>
                <a:effectLst/>
                <a:uLnTx/>
                <a:uFillTx/>
                <a:latin typeface="Segoe UI" pitchFamily="34" charset="0"/>
                <a:ea typeface="+mn-ea"/>
                <a:cs typeface="Segoe UI" panose="020B0502040204020203" pitchFamily="34" charset="0"/>
                <a:hlinkClick r:id="rId3"/>
              </a:rPr>
              <a:t>rich.mcbrine@microsoft.com</a:t>
            </a:r>
            <a:r>
              <a:rPr kumimoji="0" lang="en-US" sz="2000" b="0" i="0" u="none" strike="noStrike" kern="1200" cap="none" spc="0" normalizeH="0" baseline="0" noProof="0" dirty="0">
                <a:ln>
                  <a:noFill/>
                </a:ln>
                <a:solidFill>
                  <a:srgbClr val="0D0D0D"/>
                </a:solidFill>
                <a:effectLst/>
                <a:uLnTx/>
                <a:uFillTx/>
                <a:latin typeface="Segoe UI" pitchFamily="34" charset="0"/>
                <a:ea typeface="+mn-ea"/>
                <a:cs typeface="Segoe UI" panose="020B0502040204020203" pitchFamily="34" charset="0"/>
              </a:rPr>
              <a:t> </a:t>
            </a:r>
          </a:p>
        </p:txBody>
      </p:sp>
      <p:pic>
        <p:nvPicPr>
          <p:cNvPr id="14" name="Picture 13">
            <a:extLst>
              <a:ext uri="{FF2B5EF4-FFF2-40B4-BE49-F238E27FC236}">
                <a16:creationId xmlns:a16="http://schemas.microsoft.com/office/drawing/2014/main" id="{93F4D505-527F-472D-8AB7-BC2DE35A10BD}"/>
              </a:ext>
            </a:extLst>
          </p:cNvPr>
          <p:cNvPicPr/>
          <p:nvPr/>
        </p:nvPicPr>
        <p:blipFill>
          <a:blip r:embed="rId4" cstate="email">
            <a:extLst>
              <a:ext uri="{28A0092B-C50C-407E-A947-70E740481C1C}">
                <a14:useLocalDpi xmlns:a14="http://schemas.microsoft.com/office/drawing/2010/main"/>
              </a:ext>
            </a:extLst>
          </a:blip>
          <a:srcRect/>
          <a:stretch>
            <a:fillRect/>
          </a:stretch>
        </p:blipFill>
        <p:spPr bwMode="auto">
          <a:xfrm>
            <a:off x="582041" y="5470830"/>
            <a:ext cx="1162273" cy="1191315"/>
          </a:xfrm>
          <a:prstGeom prst="rect">
            <a:avLst/>
          </a:prstGeom>
          <a:noFill/>
        </p:spPr>
      </p:pic>
      <p:pic>
        <p:nvPicPr>
          <p:cNvPr id="15" name="Picture 14" descr="A blue and white sign&#10;&#10;Description automatically generated">
            <a:extLst>
              <a:ext uri="{FF2B5EF4-FFF2-40B4-BE49-F238E27FC236}">
                <a16:creationId xmlns:a16="http://schemas.microsoft.com/office/drawing/2014/main" id="{4DE77145-6FB1-4C26-A918-497DD881AF87}"/>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827974" y="5470829"/>
            <a:ext cx="1191316" cy="1191316"/>
          </a:xfrm>
          <a:prstGeom prst="rect">
            <a:avLst/>
          </a:prstGeom>
        </p:spPr>
      </p:pic>
    </p:spTree>
    <p:extLst>
      <p:ext uri="{BB962C8B-B14F-4D97-AF65-F5344CB8AC3E}">
        <p14:creationId xmlns:p14="http://schemas.microsoft.com/office/powerpoint/2010/main" val="1956130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0700" y="229435"/>
            <a:ext cx="11149012" cy="553998"/>
          </a:xfrm>
        </p:spPr>
        <p:txBody>
          <a:bodyPr/>
          <a:lstStyle/>
          <a:p>
            <a:r>
              <a:rPr lang="en-US" dirty="0"/>
              <a:t>Steps to Prep the Student PS1 file</a:t>
            </a:r>
          </a:p>
        </p:txBody>
      </p:sp>
      <p:sp>
        <p:nvSpPr>
          <p:cNvPr id="3" name="Content Placeholder 2"/>
          <p:cNvSpPr>
            <a:spLocks noGrp="1"/>
          </p:cNvSpPr>
          <p:nvPr>
            <p:ph idx="1"/>
          </p:nvPr>
        </p:nvSpPr>
        <p:spPr>
          <a:xfrm>
            <a:off x="517524" y="1035943"/>
            <a:ext cx="11369676" cy="5798510"/>
          </a:xfrm>
        </p:spPr>
        <p:txBody>
          <a:bodyPr/>
          <a:lstStyle/>
          <a:p>
            <a:r>
              <a:rPr lang="en-US" sz="2400" dirty="0"/>
              <a:t>Everyone on your team must Change Lines 22-33 to the same thing:  </a:t>
            </a:r>
          </a:p>
          <a:p>
            <a:r>
              <a:rPr lang="en-US" sz="1200" dirty="0">
                <a:solidFill>
                  <a:srgbClr val="A82D00"/>
                </a:solidFill>
                <a:latin typeface="Lucida Console" panose="020B0609040504020204" pitchFamily="49" charset="0"/>
              </a:rPr>
              <a:t>$</a:t>
            </a:r>
            <a:r>
              <a:rPr lang="en-US" sz="1200" dirty="0" err="1">
                <a:solidFill>
                  <a:srgbClr val="A82D00"/>
                </a:solidFill>
                <a:latin typeface="Lucida Console" panose="020B0609040504020204" pitchFamily="49" charset="0"/>
              </a:rPr>
              <a:t>SubGUID</a:t>
            </a:r>
            <a:r>
              <a:rPr lang="en-US" sz="1200" dirty="0">
                <a:solidFill>
                  <a:prstClr val="black"/>
                </a:solidFill>
                <a:latin typeface="Lucida Console" panose="020B0609040504020204" pitchFamily="49" charset="0"/>
              </a:rPr>
              <a:t> </a:t>
            </a:r>
            <a:r>
              <a:rPr lang="en-US" sz="1200" dirty="0">
                <a:solidFill>
                  <a:srgbClr val="696969"/>
                </a:solidFill>
                <a:latin typeface="Lucida Console" panose="020B0609040504020204" pitchFamily="49" charset="0"/>
              </a:rPr>
              <a:t>=</a:t>
            </a:r>
            <a:r>
              <a:rPr lang="en-US" sz="1200" dirty="0">
                <a:solidFill>
                  <a:prstClr val="black"/>
                </a:solidFill>
                <a:latin typeface="Lucida Console" panose="020B0609040504020204" pitchFamily="49" charset="0"/>
              </a:rPr>
              <a:t> </a:t>
            </a:r>
            <a:r>
              <a:rPr lang="en-US" sz="1200" dirty="0">
                <a:solidFill>
                  <a:srgbClr val="8B0000"/>
                </a:solidFill>
                <a:latin typeface="Lucida Console" panose="020B0609040504020204" pitchFamily="49" charset="0"/>
              </a:rPr>
              <a:t>"</a:t>
            </a:r>
            <a:r>
              <a:rPr lang="en-US" sz="1200" dirty="0" err="1">
                <a:solidFill>
                  <a:srgbClr val="8B0000"/>
                </a:solidFill>
                <a:latin typeface="Lucida Console" panose="020B0609040504020204" pitchFamily="49" charset="0"/>
              </a:rPr>
              <a:t>InsertYourSubscriptionGUIDHere</a:t>
            </a:r>
            <a:r>
              <a:rPr lang="en-US" sz="1200" dirty="0">
                <a:solidFill>
                  <a:srgbClr val="8B0000"/>
                </a:solidFill>
                <a:latin typeface="Lucida Console" panose="020B0609040504020204" pitchFamily="49" charset="0"/>
              </a:rPr>
              <a:t>"</a:t>
            </a:r>
            <a:endParaRPr lang="en-US" sz="1200" dirty="0">
              <a:solidFill>
                <a:prstClr val="black"/>
              </a:solidFill>
              <a:latin typeface="Lucida Console" panose="020B0609040504020204" pitchFamily="49" charset="0"/>
            </a:endParaRPr>
          </a:p>
          <a:p>
            <a:r>
              <a:rPr lang="en-US" sz="1200" dirty="0">
                <a:solidFill>
                  <a:srgbClr val="A82D00"/>
                </a:solidFill>
                <a:latin typeface="Lucida Console" panose="020B0609040504020204" pitchFamily="49" charset="0"/>
              </a:rPr>
              <a:t>$</a:t>
            </a:r>
            <a:r>
              <a:rPr lang="en-US" sz="1200" dirty="0" err="1">
                <a:solidFill>
                  <a:srgbClr val="A82D00"/>
                </a:solidFill>
                <a:latin typeface="Lucida Console" panose="020B0609040504020204" pitchFamily="49" charset="0"/>
              </a:rPr>
              <a:t>SubGUID</a:t>
            </a:r>
            <a:endParaRPr lang="en-US" sz="1200" dirty="0">
              <a:solidFill>
                <a:prstClr val="black"/>
              </a:solidFill>
              <a:latin typeface="Lucida Console" panose="020B0609040504020204" pitchFamily="49" charset="0"/>
            </a:endParaRPr>
          </a:p>
          <a:p>
            <a:r>
              <a:rPr lang="en-US" sz="1200" dirty="0">
                <a:solidFill>
                  <a:srgbClr val="A82D00"/>
                </a:solidFill>
                <a:latin typeface="Lucida Console" panose="020B0609040504020204" pitchFamily="49" charset="0"/>
              </a:rPr>
              <a:t>$AADGUID</a:t>
            </a:r>
            <a:r>
              <a:rPr lang="en-US" sz="1200" dirty="0">
                <a:solidFill>
                  <a:prstClr val="black"/>
                </a:solidFill>
                <a:latin typeface="Lucida Console" panose="020B0609040504020204" pitchFamily="49" charset="0"/>
              </a:rPr>
              <a:t> </a:t>
            </a:r>
            <a:r>
              <a:rPr lang="en-US" sz="1200" dirty="0">
                <a:solidFill>
                  <a:srgbClr val="696969"/>
                </a:solidFill>
                <a:latin typeface="Lucida Console" panose="020B0609040504020204" pitchFamily="49" charset="0"/>
              </a:rPr>
              <a:t>=</a:t>
            </a:r>
            <a:r>
              <a:rPr lang="en-US" sz="1200" dirty="0">
                <a:solidFill>
                  <a:prstClr val="black"/>
                </a:solidFill>
                <a:latin typeface="Lucida Console" panose="020B0609040504020204" pitchFamily="49" charset="0"/>
              </a:rPr>
              <a:t> </a:t>
            </a:r>
            <a:r>
              <a:rPr lang="en-US" sz="1200" dirty="0">
                <a:solidFill>
                  <a:srgbClr val="8B0000"/>
                </a:solidFill>
                <a:latin typeface="Lucida Console" panose="020B0609040504020204" pitchFamily="49" charset="0"/>
              </a:rPr>
              <a:t>"INSERTYOURAADGUIDHERE"</a:t>
            </a:r>
            <a:endParaRPr lang="en-US" sz="1200" dirty="0">
              <a:solidFill>
                <a:prstClr val="black"/>
              </a:solidFill>
              <a:latin typeface="Lucida Console" panose="020B0609040504020204" pitchFamily="49" charset="0"/>
            </a:endParaRPr>
          </a:p>
          <a:p>
            <a:r>
              <a:rPr lang="en-US" sz="1200" dirty="0">
                <a:solidFill>
                  <a:srgbClr val="A82D00"/>
                </a:solidFill>
                <a:latin typeface="Lucida Console" panose="020B0609040504020204" pitchFamily="49" charset="0"/>
              </a:rPr>
              <a:t>$AADGUID</a:t>
            </a:r>
            <a:r>
              <a:rPr lang="en-US" sz="1200" dirty="0">
                <a:solidFill>
                  <a:prstClr val="black"/>
                </a:solidFill>
                <a:latin typeface="Lucida Console" panose="020B0609040504020204" pitchFamily="49" charset="0"/>
              </a:rPr>
              <a:t> </a:t>
            </a:r>
          </a:p>
          <a:p>
            <a:r>
              <a:rPr lang="en-US" sz="1200" dirty="0">
                <a:solidFill>
                  <a:srgbClr val="A82D00"/>
                </a:solidFill>
                <a:latin typeface="Lucida Console" panose="020B0609040504020204" pitchFamily="49" charset="0"/>
              </a:rPr>
              <a:t>$</a:t>
            </a:r>
            <a:r>
              <a:rPr lang="en-US" sz="1200" dirty="0" err="1">
                <a:solidFill>
                  <a:srgbClr val="A82D00"/>
                </a:solidFill>
                <a:latin typeface="Lucida Console" panose="020B0609040504020204" pitchFamily="49" charset="0"/>
              </a:rPr>
              <a:t>WVDTenantName</a:t>
            </a:r>
            <a:r>
              <a:rPr lang="en-US" sz="1200" dirty="0">
                <a:solidFill>
                  <a:prstClr val="black"/>
                </a:solidFill>
                <a:latin typeface="Lucida Console" panose="020B0609040504020204" pitchFamily="49" charset="0"/>
              </a:rPr>
              <a:t> </a:t>
            </a:r>
            <a:r>
              <a:rPr lang="en-US" sz="1200" dirty="0">
                <a:solidFill>
                  <a:srgbClr val="696969"/>
                </a:solidFill>
                <a:latin typeface="Lucida Console" panose="020B0609040504020204" pitchFamily="49" charset="0"/>
              </a:rPr>
              <a:t>=</a:t>
            </a:r>
            <a:r>
              <a:rPr lang="en-US" sz="1200" dirty="0">
                <a:solidFill>
                  <a:prstClr val="black"/>
                </a:solidFill>
                <a:latin typeface="Lucida Console" panose="020B0609040504020204" pitchFamily="49" charset="0"/>
              </a:rPr>
              <a:t> </a:t>
            </a:r>
            <a:r>
              <a:rPr lang="en-US" sz="1200" dirty="0">
                <a:solidFill>
                  <a:srgbClr val="8B0000"/>
                </a:solidFill>
                <a:latin typeface="Lucida Console" panose="020B0609040504020204" pitchFamily="49" charset="0"/>
              </a:rPr>
              <a:t>"</a:t>
            </a:r>
            <a:r>
              <a:rPr lang="en-US" sz="1200" dirty="0" err="1">
                <a:solidFill>
                  <a:srgbClr val="8B0000"/>
                </a:solidFill>
                <a:latin typeface="Lucida Console" panose="020B0609040504020204" pitchFamily="49" charset="0"/>
              </a:rPr>
              <a:t>ReplaceWithDesiredNameofWVDTenant</a:t>
            </a:r>
            <a:r>
              <a:rPr lang="en-US" sz="1200" dirty="0">
                <a:solidFill>
                  <a:srgbClr val="8B0000"/>
                </a:solidFill>
                <a:latin typeface="Lucida Console" panose="020B0609040504020204" pitchFamily="49" charset="0"/>
              </a:rPr>
              <a:t>"</a:t>
            </a:r>
            <a:endParaRPr lang="en-US" sz="1200" dirty="0">
              <a:solidFill>
                <a:prstClr val="black"/>
              </a:solidFill>
              <a:latin typeface="Lucida Console" panose="020B0609040504020204" pitchFamily="49" charset="0"/>
            </a:endParaRPr>
          </a:p>
          <a:p>
            <a:r>
              <a:rPr lang="en-US" sz="1200" dirty="0">
                <a:solidFill>
                  <a:srgbClr val="A82D00"/>
                </a:solidFill>
                <a:latin typeface="Lucida Console" panose="020B0609040504020204" pitchFamily="49" charset="0"/>
              </a:rPr>
              <a:t>$</a:t>
            </a:r>
            <a:r>
              <a:rPr lang="en-US" sz="1200" dirty="0" err="1">
                <a:solidFill>
                  <a:srgbClr val="A82D00"/>
                </a:solidFill>
                <a:latin typeface="Lucida Console" panose="020B0609040504020204" pitchFamily="49" charset="0"/>
              </a:rPr>
              <a:t>WVDTenantName</a:t>
            </a:r>
            <a:endParaRPr lang="en-US" sz="1200" dirty="0">
              <a:solidFill>
                <a:prstClr val="black"/>
              </a:solidFill>
              <a:latin typeface="Lucida Console" panose="020B0609040504020204" pitchFamily="49" charset="0"/>
            </a:endParaRPr>
          </a:p>
          <a:p>
            <a:r>
              <a:rPr lang="en-US" sz="1200" dirty="0">
                <a:solidFill>
                  <a:srgbClr val="A82D00"/>
                </a:solidFill>
                <a:latin typeface="Lucida Console" panose="020B0609040504020204" pitchFamily="49" charset="0"/>
              </a:rPr>
              <a:t>$</a:t>
            </a:r>
            <a:r>
              <a:rPr lang="en-US" sz="1200" dirty="0" err="1">
                <a:solidFill>
                  <a:srgbClr val="A82D00"/>
                </a:solidFill>
                <a:latin typeface="Lucida Console" panose="020B0609040504020204" pitchFamily="49" charset="0"/>
              </a:rPr>
              <a:t>HostPoolNameDesktops</a:t>
            </a:r>
            <a:r>
              <a:rPr lang="en-US" sz="1200" dirty="0">
                <a:solidFill>
                  <a:prstClr val="black"/>
                </a:solidFill>
                <a:latin typeface="Lucida Console" panose="020B0609040504020204" pitchFamily="49" charset="0"/>
              </a:rPr>
              <a:t> </a:t>
            </a:r>
            <a:r>
              <a:rPr lang="en-US" sz="1200" dirty="0">
                <a:solidFill>
                  <a:srgbClr val="696969"/>
                </a:solidFill>
                <a:latin typeface="Lucida Console" panose="020B0609040504020204" pitchFamily="49" charset="0"/>
              </a:rPr>
              <a:t>=</a:t>
            </a:r>
            <a:r>
              <a:rPr lang="en-US" sz="1200" dirty="0">
                <a:solidFill>
                  <a:prstClr val="black"/>
                </a:solidFill>
                <a:latin typeface="Lucida Console" panose="020B0609040504020204" pitchFamily="49" charset="0"/>
              </a:rPr>
              <a:t> </a:t>
            </a:r>
            <a:r>
              <a:rPr lang="en-US" sz="1200" dirty="0">
                <a:solidFill>
                  <a:srgbClr val="8B0000"/>
                </a:solidFill>
                <a:latin typeface="Lucida Console" panose="020B0609040504020204" pitchFamily="49" charset="0"/>
              </a:rPr>
              <a:t>"</a:t>
            </a:r>
            <a:r>
              <a:rPr lang="en-US" sz="1200" dirty="0" err="1">
                <a:solidFill>
                  <a:srgbClr val="8B0000"/>
                </a:solidFill>
                <a:latin typeface="Lucida Console" panose="020B0609040504020204" pitchFamily="49" charset="0"/>
              </a:rPr>
              <a:t>ReplaceWithDesiredNameofDesktopHostpool</a:t>
            </a:r>
            <a:r>
              <a:rPr lang="en-US" sz="1200" dirty="0">
                <a:solidFill>
                  <a:srgbClr val="8B0000"/>
                </a:solidFill>
                <a:latin typeface="Lucida Console" panose="020B0609040504020204" pitchFamily="49" charset="0"/>
              </a:rPr>
              <a:t>"</a:t>
            </a:r>
            <a:endParaRPr lang="en-US" sz="1200" dirty="0">
              <a:solidFill>
                <a:prstClr val="black"/>
              </a:solidFill>
              <a:latin typeface="Lucida Console" panose="020B0609040504020204" pitchFamily="49" charset="0"/>
            </a:endParaRPr>
          </a:p>
          <a:p>
            <a:r>
              <a:rPr lang="en-US" sz="1200" dirty="0">
                <a:solidFill>
                  <a:srgbClr val="A82D00"/>
                </a:solidFill>
                <a:latin typeface="Lucida Console" panose="020B0609040504020204" pitchFamily="49" charset="0"/>
              </a:rPr>
              <a:t>$</a:t>
            </a:r>
            <a:r>
              <a:rPr lang="en-US" sz="1200" dirty="0" err="1">
                <a:solidFill>
                  <a:srgbClr val="A82D00"/>
                </a:solidFill>
                <a:latin typeface="Lucida Console" panose="020B0609040504020204" pitchFamily="49" charset="0"/>
              </a:rPr>
              <a:t>HostPoolNameDesktops</a:t>
            </a:r>
            <a:endParaRPr lang="en-US" sz="1200" dirty="0">
              <a:solidFill>
                <a:prstClr val="black"/>
              </a:solidFill>
              <a:latin typeface="Lucida Console" panose="020B0609040504020204" pitchFamily="49" charset="0"/>
            </a:endParaRPr>
          </a:p>
          <a:p>
            <a:r>
              <a:rPr lang="en-US" sz="1200" dirty="0">
                <a:solidFill>
                  <a:srgbClr val="A82D00"/>
                </a:solidFill>
                <a:latin typeface="Lucida Console" panose="020B0609040504020204" pitchFamily="49" charset="0"/>
              </a:rPr>
              <a:t>$</a:t>
            </a:r>
            <a:r>
              <a:rPr lang="en-US" sz="1200" dirty="0" err="1">
                <a:solidFill>
                  <a:srgbClr val="A82D00"/>
                </a:solidFill>
                <a:latin typeface="Lucida Console" panose="020B0609040504020204" pitchFamily="49" charset="0"/>
              </a:rPr>
              <a:t>HostPoolNameApps</a:t>
            </a:r>
            <a:r>
              <a:rPr lang="en-US" sz="1200" dirty="0">
                <a:solidFill>
                  <a:prstClr val="black"/>
                </a:solidFill>
                <a:latin typeface="Lucida Console" panose="020B0609040504020204" pitchFamily="49" charset="0"/>
              </a:rPr>
              <a:t> </a:t>
            </a:r>
            <a:r>
              <a:rPr lang="en-US" sz="1200" dirty="0">
                <a:solidFill>
                  <a:srgbClr val="696969"/>
                </a:solidFill>
                <a:latin typeface="Lucida Console" panose="020B0609040504020204" pitchFamily="49" charset="0"/>
              </a:rPr>
              <a:t>=</a:t>
            </a:r>
            <a:r>
              <a:rPr lang="en-US" sz="1200" dirty="0">
                <a:solidFill>
                  <a:prstClr val="black"/>
                </a:solidFill>
                <a:latin typeface="Lucida Console" panose="020B0609040504020204" pitchFamily="49" charset="0"/>
              </a:rPr>
              <a:t> </a:t>
            </a:r>
            <a:r>
              <a:rPr lang="en-US" sz="1200" dirty="0">
                <a:solidFill>
                  <a:srgbClr val="8B0000"/>
                </a:solidFill>
                <a:latin typeface="Lucida Console" panose="020B0609040504020204" pitchFamily="49" charset="0"/>
              </a:rPr>
              <a:t>"</a:t>
            </a:r>
            <a:r>
              <a:rPr lang="en-US" sz="1200" dirty="0" err="1">
                <a:solidFill>
                  <a:srgbClr val="8B0000"/>
                </a:solidFill>
                <a:latin typeface="Lucida Console" panose="020B0609040504020204" pitchFamily="49" charset="0"/>
              </a:rPr>
              <a:t>ReplaceWithDesiredNameofAppsHostpool</a:t>
            </a:r>
            <a:r>
              <a:rPr lang="en-US" sz="1200" dirty="0">
                <a:solidFill>
                  <a:srgbClr val="8B0000"/>
                </a:solidFill>
                <a:latin typeface="Lucida Console" panose="020B0609040504020204" pitchFamily="49" charset="0"/>
              </a:rPr>
              <a:t>"</a:t>
            </a:r>
            <a:endParaRPr lang="en-US" sz="1200" dirty="0">
              <a:solidFill>
                <a:prstClr val="black"/>
              </a:solidFill>
              <a:latin typeface="Lucida Console" panose="020B0609040504020204" pitchFamily="49" charset="0"/>
            </a:endParaRPr>
          </a:p>
          <a:p>
            <a:r>
              <a:rPr lang="en-US" sz="1200" dirty="0">
                <a:solidFill>
                  <a:srgbClr val="A82D00"/>
                </a:solidFill>
                <a:latin typeface="Lucida Console" panose="020B0609040504020204" pitchFamily="49" charset="0"/>
              </a:rPr>
              <a:t>$</a:t>
            </a:r>
            <a:r>
              <a:rPr lang="en-US" sz="1200" dirty="0" err="1">
                <a:solidFill>
                  <a:srgbClr val="A82D00"/>
                </a:solidFill>
                <a:latin typeface="Lucida Console" panose="020B0609040504020204" pitchFamily="49" charset="0"/>
              </a:rPr>
              <a:t>HostPoolNameApps</a:t>
            </a:r>
            <a:endParaRPr lang="en-US" sz="1200" dirty="0">
              <a:solidFill>
                <a:prstClr val="black"/>
              </a:solidFill>
              <a:latin typeface="Lucida Console" panose="020B0609040504020204" pitchFamily="49" charset="0"/>
            </a:endParaRPr>
          </a:p>
          <a:p>
            <a:r>
              <a:rPr lang="en-US" sz="1200" dirty="0">
                <a:solidFill>
                  <a:srgbClr val="A82D00"/>
                </a:solidFill>
                <a:latin typeface="Lucida Console" panose="020B0609040504020204" pitchFamily="49" charset="0"/>
              </a:rPr>
              <a:t>$</a:t>
            </a:r>
            <a:r>
              <a:rPr lang="en-US" sz="1200" dirty="0" err="1">
                <a:solidFill>
                  <a:srgbClr val="A82D00"/>
                </a:solidFill>
                <a:latin typeface="Lucida Console" panose="020B0609040504020204" pitchFamily="49" charset="0"/>
              </a:rPr>
              <a:t>AppGroupName</a:t>
            </a:r>
            <a:r>
              <a:rPr lang="en-US" sz="1200" dirty="0">
                <a:solidFill>
                  <a:prstClr val="black"/>
                </a:solidFill>
                <a:latin typeface="Lucida Console" panose="020B0609040504020204" pitchFamily="49" charset="0"/>
              </a:rPr>
              <a:t> </a:t>
            </a:r>
            <a:r>
              <a:rPr lang="en-US" sz="1200" dirty="0">
                <a:solidFill>
                  <a:srgbClr val="696969"/>
                </a:solidFill>
                <a:latin typeface="Lucida Console" panose="020B0609040504020204" pitchFamily="49" charset="0"/>
              </a:rPr>
              <a:t>=</a:t>
            </a:r>
            <a:r>
              <a:rPr lang="en-US" sz="1200" dirty="0">
                <a:solidFill>
                  <a:prstClr val="black"/>
                </a:solidFill>
                <a:latin typeface="Lucida Console" panose="020B0609040504020204" pitchFamily="49" charset="0"/>
              </a:rPr>
              <a:t> </a:t>
            </a:r>
            <a:r>
              <a:rPr lang="en-US" sz="1200" dirty="0">
                <a:solidFill>
                  <a:srgbClr val="8B0000"/>
                </a:solidFill>
                <a:latin typeface="Lucida Console" panose="020B0609040504020204" pitchFamily="49" charset="0"/>
              </a:rPr>
              <a:t>"</a:t>
            </a:r>
            <a:r>
              <a:rPr lang="en-US" sz="1200" dirty="0" err="1">
                <a:solidFill>
                  <a:srgbClr val="8B0000"/>
                </a:solidFill>
                <a:latin typeface="Lucida Console" panose="020B0609040504020204" pitchFamily="49" charset="0"/>
              </a:rPr>
              <a:t>ReplaceWithDesiredNameofAppGroup</a:t>
            </a:r>
            <a:r>
              <a:rPr lang="en-US" sz="1200" dirty="0">
                <a:solidFill>
                  <a:srgbClr val="8B0000"/>
                </a:solidFill>
                <a:latin typeface="Lucida Console" panose="020B0609040504020204" pitchFamily="49" charset="0"/>
              </a:rPr>
              <a:t>"</a:t>
            </a:r>
            <a:endParaRPr lang="en-US" sz="1200" dirty="0">
              <a:solidFill>
                <a:prstClr val="black"/>
              </a:solidFill>
              <a:latin typeface="Lucida Console" panose="020B0609040504020204" pitchFamily="49" charset="0"/>
            </a:endParaRPr>
          </a:p>
          <a:p>
            <a:r>
              <a:rPr lang="en-US" sz="1200" dirty="0">
                <a:solidFill>
                  <a:srgbClr val="A82D00"/>
                </a:solidFill>
                <a:latin typeface="Lucida Console" panose="020B0609040504020204" pitchFamily="49" charset="0"/>
              </a:rPr>
              <a:t>$</a:t>
            </a:r>
            <a:r>
              <a:rPr lang="en-US" sz="1200" dirty="0" err="1">
                <a:solidFill>
                  <a:srgbClr val="A82D00"/>
                </a:solidFill>
                <a:latin typeface="Lucida Console" panose="020B0609040504020204" pitchFamily="49" charset="0"/>
              </a:rPr>
              <a:t>AppGroupName</a:t>
            </a:r>
            <a:r>
              <a:rPr lang="en-US" sz="1200" dirty="0">
                <a:solidFill>
                  <a:srgbClr val="A82D00"/>
                </a:solidFill>
                <a:latin typeface="Lucida Console" panose="020B0609040504020204" pitchFamily="49" charset="0"/>
              </a:rPr>
              <a:t> </a:t>
            </a:r>
          </a:p>
          <a:p>
            <a:r>
              <a:rPr lang="en-US" sz="2400" dirty="0"/>
              <a:t>“Insert” means Copy/Paste the GUIDs from Azure AD and the Azure Subscription we’ll use today</a:t>
            </a:r>
          </a:p>
          <a:p>
            <a:r>
              <a:rPr lang="en-US" sz="2400" dirty="0"/>
              <a:t>“Replace with” means you have to invent names for the workshop</a:t>
            </a:r>
          </a:p>
          <a:p>
            <a:pPr lvl="1"/>
            <a:r>
              <a:rPr lang="en-US" sz="1800" dirty="0"/>
              <a:t>Everyone needs to update the PS1 file running in their copy of Windows PowerShell ISE</a:t>
            </a:r>
          </a:p>
          <a:p>
            <a:pPr lvl="1"/>
            <a:r>
              <a:rPr lang="en-US" sz="1800" dirty="0"/>
              <a:t>No spaces, no special characters, keep to alphanumeric characters only</a:t>
            </a:r>
          </a:p>
          <a:p>
            <a:pPr lvl="1"/>
            <a:r>
              <a:rPr lang="en-US" sz="1800" dirty="0"/>
              <a:t>Example:</a:t>
            </a:r>
          </a:p>
          <a:p>
            <a:pPr lvl="2"/>
            <a:r>
              <a:rPr lang="en-US" sz="1400" dirty="0">
                <a:solidFill>
                  <a:schemeClr val="tx1"/>
                </a:solidFill>
                <a:latin typeface="Lucida Console" panose="020B0609040504020204" pitchFamily="49" charset="0"/>
              </a:rPr>
              <a:t>From: 	</a:t>
            </a:r>
            <a:r>
              <a:rPr lang="en-US" sz="1400" dirty="0">
                <a:solidFill>
                  <a:srgbClr val="A82D00"/>
                </a:solidFill>
                <a:latin typeface="Lucida Console" panose="020B0609040504020204" pitchFamily="49" charset="0"/>
              </a:rPr>
              <a:t> $</a:t>
            </a:r>
            <a:r>
              <a:rPr lang="en-US" sz="1400" dirty="0" err="1">
                <a:solidFill>
                  <a:srgbClr val="A82D00"/>
                </a:solidFill>
                <a:latin typeface="Lucida Console" panose="020B0609040504020204" pitchFamily="49" charset="0"/>
              </a:rPr>
              <a:t>WVDTenantName</a:t>
            </a:r>
            <a:r>
              <a:rPr lang="en-US" sz="1400" dirty="0">
                <a:solidFill>
                  <a:prstClr val="black"/>
                </a:solidFill>
                <a:latin typeface="Lucida Console" panose="020B0609040504020204" pitchFamily="49" charset="0"/>
              </a:rPr>
              <a:t> </a:t>
            </a:r>
            <a:r>
              <a:rPr lang="en-US" sz="1400" dirty="0">
                <a:solidFill>
                  <a:srgbClr val="696969"/>
                </a:solidFill>
                <a:latin typeface="Lucida Console" panose="020B0609040504020204" pitchFamily="49" charset="0"/>
              </a:rPr>
              <a:t>=</a:t>
            </a:r>
            <a:r>
              <a:rPr lang="en-US" sz="1400" dirty="0">
                <a:solidFill>
                  <a:prstClr val="black"/>
                </a:solidFill>
                <a:latin typeface="Lucida Console" panose="020B0609040504020204" pitchFamily="49" charset="0"/>
              </a:rPr>
              <a:t> </a:t>
            </a:r>
            <a:r>
              <a:rPr lang="en-US" sz="1400" dirty="0">
                <a:solidFill>
                  <a:srgbClr val="8B0000"/>
                </a:solidFill>
                <a:latin typeface="Lucida Console" panose="020B0609040504020204" pitchFamily="49" charset="0"/>
              </a:rPr>
              <a:t>" </a:t>
            </a:r>
            <a:r>
              <a:rPr lang="en-US" sz="1400" dirty="0" err="1">
                <a:solidFill>
                  <a:srgbClr val="8B0000"/>
                </a:solidFill>
                <a:latin typeface="Lucida Console" panose="020B0609040504020204" pitchFamily="49" charset="0"/>
              </a:rPr>
              <a:t>ReplaceWithDesiredNameofWVDTenant</a:t>
            </a:r>
            <a:r>
              <a:rPr lang="en-US" sz="1400" dirty="0">
                <a:solidFill>
                  <a:srgbClr val="8B0000"/>
                </a:solidFill>
                <a:latin typeface="Lucida Console" panose="020B0609040504020204" pitchFamily="49" charset="0"/>
              </a:rPr>
              <a:t> " </a:t>
            </a:r>
          </a:p>
          <a:p>
            <a:pPr lvl="2"/>
            <a:r>
              <a:rPr lang="en-US" sz="1400" dirty="0">
                <a:solidFill>
                  <a:schemeClr val="tx1"/>
                </a:solidFill>
                <a:latin typeface="Lucida Console" panose="020B0609040504020204" pitchFamily="49" charset="0"/>
              </a:rPr>
              <a:t>To: 	</a:t>
            </a:r>
            <a:r>
              <a:rPr lang="en-US" sz="1400" dirty="0">
                <a:solidFill>
                  <a:srgbClr val="A82D00"/>
                </a:solidFill>
                <a:latin typeface="Lucida Console" panose="020B0609040504020204" pitchFamily="49" charset="0"/>
              </a:rPr>
              <a:t> $</a:t>
            </a:r>
            <a:r>
              <a:rPr lang="en-US" sz="1400" dirty="0" err="1">
                <a:solidFill>
                  <a:srgbClr val="A82D00"/>
                </a:solidFill>
                <a:latin typeface="Lucida Console" panose="020B0609040504020204" pitchFamily="49" charset="0"/>
              </a:rPr>
              <a:t>WVDTenantName</a:t>
            </a:r>
            <a:r>
              <a:rPr lang="en-US" sz="1400" dirty="0">
                <a:solidFill>
                  <a:prstClr val="black"/>
                </a:solidFill>
                <a:latin typeface="Lucida Console" panose="020B0609040504020204" pitchFamily="49" charset="0"/>
              </a:rPr>
              <a:t> </a:t>
            </a:r>
            <a:r>
              <a:rPr lang="en-US" sz="1400" dirty="0">
                <a:solidFill>
                  <a:srgbClr val="696969"/>
                </a:solidFill>
                <a:latin typeface="Lucida Console" panose="020B0609040504020204" pitchFamily="49" charset="0"/>
              </a:rPr>
              <a:t>=</a:t>
            </a:r>
            <a:r>
              <a:rPr lang="en-US" sz="1400" dirty="0">
                <a:solidFill>
                  <a:prstClr val="black"/>
                </a:solidFill>
                <a:latin typeface="Lucida Console" panose="020B0609040504020204" pitchFamily="49" charset="0"/>
              </a:rPr>
              <a:t> </a:t>
            </a:r>
            <a:r>
              <a:rPr lang="en-US" sz="1400" dirty="0">
                <a:solidFill>
                  <a:srgbClr val="8B0000"/>
                </a:solidFill>
                <a:latin typeface="Lucida Console" panose="020B0609040504020204" pitchFamily="49" charset="0"/>
              </a:rPr>
              <a:t>“</a:t>
            </a:r>
            <a:r>
              <a:rPr lang="en-US" sz="1400" dirty="0" err="1">
                <a:solidFill>
                  <a:srgbClr val="8B0000"/>
                </a:solidFill>
                <a:latin typeface="Lucida Console" panose="020B0609040504020204" pitchFamily="49" charset="0"/>
              </a:rPr>
              <a:t>MyWickedGoodTenant</a:t>
            </a:r>
            <a:r>
              <a:rPr lang="en-US" sz="1400" dirty="0">
                <a:solidFill>
                  <a:srgbClr val="8B0000"/>
                </a:solidFill>
                <a:latin typeface="Lucida Console" panose="020B0609040504020204" pitchFamily="49" charset="0"/>
              </a:rPr>
              <a:t>"</a:t>
            </a:r>
            <a:endParaRPr lang="en-US" sz="1400" dirty="0"/>
          </a:p>
        </p:txBody>
      </p:sp>
    </p:spTree>
    <p:extLst>
      <p:ext uri="{BB962C8B-B14F-4D97-AF65-F5344CB8AC3E}">
        <p14:creationId xmlns:p14="http://schemas.microsoft.com/office/powerpoint/2010/main" val="12187900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0700" y="229435"/>
            <a:ext cx="11149012" cy="553998"/>
          </a:xfrm>
        </p:spPr>
        <p:txBody>
          <a:bodyPr/>
          <a:lstStyle/>
          <a:p>
            <a:r>
              <a:rPr lang="en-US" dirty="0"/>
              <a:t>Steps to Create a WVD Tenant (follow me)</a:t>
            </a:r>
          </a:p>
        </p:txBody>
      </p:sp>
      <p:sp>
        <p:nvSpPr>
          <p:cNvPr id="3" name="Content Placeholder 2"/>
          <p:cNvSpPr>
            <a:spLocks noGrp="1"/>
          </p:cNvSpPr>
          <p:nvPr>
            <p:ph idx="1"/>
          </p:nvPr>
        </p:nvSpPr>
        <p:spPr>
          <a:xfrm>
            <a:off x="517524" y="1035943"/>
            <a:ext cx="11369676" cy="4050340"/>
          </a:xfrm>
        </p:spPr>
        <p:txBody>
          <a:bodyPr/>
          <a:lstStyle/>
          <a:p>
            <a:r>
              <a:rPr lang="en-US" dirty="0" err="1"/>
              <a:t>UserA</a:t>
            </a:r>
            <a:r>
              <a:rPr lang="en-US" dirty="0"/>
              <a:t> on each Team will do this / 1 WVD Tenant per Team</a:t>
            </a:r>
          </a:p>
          <a:p>
            <a:r>
              <a:rPr lang="en-US" dirty="0"/>
              <a:t>User A:</a:t>
            </a:r>
          </a:p>
          <a:p>
            <a:pPr lvl="1"/>
            <a:r>
              <a:rPr lang="en-US" dirty="0"/>
              <a:t>Select and then Run lines 22-33 (all code in  </a:t>
            </a:r>
            <a:r>
              <a:rPr lang="en-US" sz="1200" dirty="0">
                <a:solidFill>
                  <a:srgbClr val="006400"/>
                </a:solidFill>
                <a:latin typeface="Lucida Console" panose="020B0609040504020204" pitchFamily="49" charset="0"/>
              </a:rPr>
              <a:t>Variable Definition Section</a:t>
            </a:r>
            <a:r>
              <a:rPr lang="en-US" dirty="0"/>
              <a:t>)</a:t>
            </a:r>
          </a:p>
          <a:p>
            <a:pPr lvl="1"/>
            <a:r>
              <a:rPr lang="en-US" dirty="0"/>
              <a:t>Run line 53 to create your Team’s WVD Tenant:  </a:t>
            </a:r>
          </a:p>
          <a:p>
            <a:pPr lvl="2"/>
            <a:r>
              <a:rPr lang="en-US" sz="1200" dirty="0">
                <a:solidFill>
                  <a:srgbClr val="0000FF"/>
                </a:solidFill>
                <a:latin typeface="Lucida Console" panose="020B0609040504020204" pitchFamily="49" charset="0"/>
              </a:rPr>
              <a:t>New-</a:t>
            </a:r>
            <a:r>
              <a:rPr lang="en-US" sz="1200" dirty="0" err="1">
                <a:solidFill>
                  <a:srgbClr val="0000FF"/>
                </a:solidFill>
                <a:latin typeface="Lucida Console" panose="020B0609040504020204" pitchFamily="49" charset="0"/>
              </a:rPr>
              <a:t>RdsTenant</a:t>
            </a:r>
            <a:r>
              <a:rPr lang="en-US" sz="1200" dirty="0">
                <a:solidFill>
                  <a:prstClr val="black"/>
                </a:solidFill>
                <a:latin typeface="Lucida Console" panose="020B0609040504020204" pitchFamily="49" charset="0"/>
              </a:rPr>
              <a:t> </a:t>
            </a:r>
            <a:r>
              <a:rPr lang="en-US" sz="1200" dirty="0">
                <a:solidFill>
                  <a:srgbClr val="000080"/>
                </a:solidFill>
                <a:latin typeface="Lucida Console" panose="020B0609040504020204" pitchFamily="49" charset="0"/>
              </a:rPr>
              <a:t>-Name</a:t>
            </a:r>
            <a:r>
              <a:rPr lang="en-US" sz="1200" dirty="0">
                <a:solidFill>
                  <a:prstClr val="black"/>
                </a:solidFill>
                <a:latin typeface="Lucida Console" panose="020B0609040504020204" pitchFamily="49" charset="0"/>
              </a:rPr>
              <a:t> </a:t>
            </a:r>
            <a:r>
              <a:rPr lang="en-US" sz="1200" dirty="0">
                <a:solidFill>
                  <a:srgbClr val="A82D00"/>
                </a:solidFill>
                <a:latin typeface="Lucida Console" panose="020B0609040504020204" pitchFamily="49" charset="0"/>
              </a:rPr>
              <a:t>$</a:t>
            </a:r>
            <a:r>
              <a:rPr lang="en-US" sz="1200" dirty="0" err="1">
                <a:solidFill>
                  <a:srgbClr val="A82D00"/>
                </a:solidFill>
                <a:latin typeface="Lucida Console" panose="020B0609040504020204" pitchFamily="49" charset="0"/>
              </a:rPr>
              <a:t>WVDTenantName</a:t>
            </a:r>
            <a:r>
              <a:rPr lang="en-US" sz="1200" dirty="0">
                <a:solidFill>
                  <a:prstClr val="black"/>
                </a:solidFill>
                <a:latin typeface="Lucida Console" panose="020B0609040504020204" pitchFamily="49" charset="0"/>
              </a:rPr>
              <a:t> </a:t>
            </a:r>
            <a:r>
              <a:rPr lang="en-US" sz="1200" dirty="0">
                <a:solidFill>
                  <a:srgbClr val="000080"/>
                </a:solidFill>
                <a:latin typeface="Lucida Console" panose="020B0609040504020204" pitchFamily="49" charset="0"/>
              </a:rPr>
              <a:t>-</a:t>
            </a:r>
            <a:r>
              <a:rPr lang="en-US" sz="1200" dirty="0" err="1">
                <a:solidFill>
                  <a:srgbClr val="000080"/>
                </a:solidFill>
                <a:latin typeface="Lucida Console" panose="020B0609040504020204" pitchFamily="49" charset="0"/>
              </a:rPr>
              <a:t>AadTenantId</a:t>
            </a:r>
            <a:r>
              <a:rPr lang="en-US" sz="1200" dirty="0">
                <a:solidFill>
                  <a:prstClr val="black"/>
                </a:solidFill>
                <a:latin typeface="Lucida Console" panose="020B0609040504020204" pitchFamily="49" charset="0"/>
              </a:rPr>
              <a:t> </a:t>
            </a:r>
            <a:r>
              <a:rPr lang="en-US" sz="1200" dirty="0">
                <a:solidFill>
                  <a:srgbClr val="A82D00"/>
                </a:solidFill>
                <a:latin typeface="Lucida Console" panose="020B0609040504020204" pitchFamily="49" charset="0"/>
              </a:rPr>
              <a:t>$AADGUID</a:t>
            </a:r>
            <a:r>
              <a:rPr lang="en-US" sz="1200" dirty="0">
                <a:solidFill>
                  <a:prstClr val="black"/>
                </a:solidFill>
                <a:latin typeface="Lucida Console" panose="020B0609040504020204" pitchFamily="49" charset="0"/>
              </a:rPr>
              <a:t> </a:t>
            </a:r>
            <a:r>
              <a:rPr lang="en-US" sz="1200" dirty="0">
                <a:solidFill>
                  <a:srgbClr val="000080"/>
                </a:solidFill>
                <a:latin typeface="Lucida Console" panose="020B0609040504020204" pitchFamily="49" charset="0"/>
              </a:rPr>
              <a:t>-</a:t>
            </a:r>
            <a:r>
              <a:rPr lang="en-US" sz="1200" dirty="0" err="1">
                <a:solidFill>
                  <a:srgbClr val="000080"/>
                </a:solidFill>
                <a:latin typeface="Lucida Console" panose="020B0609040504020204" pitchFamily="49" charset="0"/>
              </a:rPr>
              <a:t>AzureSubscriptionId</a:t>
            </a:r>
            <a:r>
              <a:rPr lang="en-US" sz="1200" dirty="0">
                <a:solidFill>
                  <a:prstClr val="black"/>
                </a:solidFill>
                <a:latin typeface="Lucida Console" panose="020B0609040504020204" pitchFamily="49" charset="0"/>
              </a:rPr>
              <a:t> </a:t>
            </a:r>
            <a:r>
              <a:rPr lang="en-US" sz="1200" dirty="0">
                <a:solidFill>
                  <a:srgbClr val="A82D00"/>
                </a:solidFill>
                <a:latin typeface="Lucida Console" panose="020B0609040504020204" pitchFamily="49" charset="0"/>
              </a:rPr>
              <a:t>$</a:t>
            </a:r>
            <a:r>
              <a:rPr lang="en-US" sz="1200" dirty="0" err="1">
                <a:solidFill>
                  <a:srgbClr val="A82D00"/>
                </a:solidFill>
                <a:latin typeface="Lucida Console" panose="020B0609040504020204" pitchFamily="49" charset="0"/>
              </a:rPr>
              <a:t>SubGUID</a:t>
            </a:r>
            <a:r>
              <a:rPr lang="en-US" sz="1200" dirty="0">
                <a:solidFill>
                  <a:srgbClr val="A82D00"/>
                </a:solidFill>
                <a:latin typeface="Lucida Console" panose="020B0609040504020204" pitchFamily="49" charset="0"/>
              </a:rPr>
              <a:t> </a:t>
            </a:r>
          </a:p>
          <a:p>
            <a:pPr lvl="1"/>
            <a:r>
              <a:rPr lang="en-US" dirty="0"/>
              <a:t>Use line 56 to validate your Team’s WVD Tenant:  </a:t>
            </a:r>
          </a:p>
          <a:p>
            <a:pPr lvl="2"/>
            <a:r>
              <a:rPr lang="en-US" dirty="0"/>
              <a:t> </a:t>
            </a:r>
            <a:r>
              <a:rPr lang="en-US" sz="1400" dirty="0">
                <a:solidFill>
                  <a:srgbClr val="0000FF"/>
                </a:solidFill>
                <a:latin typeface="Lucida Console" panose="020B0609040504020204" pitchFamily="49" charset="0"/>
              </a:rPr>
              <a:t>Get-</a:t>
            </a:r>
            <a:r>
              <a:rPr lang="en-US" sz="1400" dirty="0" err="1">
                <a:solidFill>
                  <a:srgbClr val="0000FF"/>
                </a:solidFill>
                <a:latin typeface="Lucida Console" panose="020B0609040504020204" pitchFamily="49" charset="0"/>
              </a:rPr>
              <a:t>RdsTenant</a:t>
            </a:r>
            <a:r>
              <a:rPr lang="en-US" sz="1400" dirty="0">
                <a:solidFill>
                  <a:prstClr val="black"/>
                </a:solidFill>
                <a:latin typeface="Lucida Console" panose="020B0609040504020204" pitchFamily="49" charset="0"/>
              </a:rPr>
              <a:t> </a:t>
            </a:r>
            <a:r>
              <a:rPr lang="en-US" sz="1400" dirty="0">
                <a:solidFill>
                  <a:srgbClr val="A82D00"/>
                </a:solidFill>
                <a:latin typeface="Lucida Console" panose="020B0609040504020204" pitchFamily="49" charset="0"/>
              </a:rPr>
              <a:t>$</a:t>
            </a:r>
            <a:r>
              <a:rPr lang="en-US" sz="1400" dirty="0" err="1">
                <a:solidFill>
                  <a:srgbClr val="A82D00"/>
                </a:solidFill>
                <a:latin typeface="Lucida Console" panose="020B0609040504020204" pitchFamily="49" charset="0"/>
              </a:rPr>
              <a:t>WVDTenantName</a:t>
            </a:r>
            <a:r>
              <a:rPr lang="en-US" sz="1400" dirty="0">
                <a:solidFill>
                  <a:srgbClr val="A82D00"/>
                </a:solidFill>
                <a:latin typeface="Lucida Console" panose="020B0609040504020204" pitchFamily="49" charset="0"/>
              </a:rPr>
              <a:t> </a:t>
            </a:r>
            <a:endParaRPr lang="en-US" dirty="0"/>
          </a:p>
          <a:p>
            <a:pPr lvl="1"/>
            <a:r>
              <a:rPr lang="en-US" dirty="0"/>
              <a:t>Add the other UPN’s from your Team to the Tenant (line 59) </a:t>
            </a:r>
          </a:p>
          <a:p>
            <a:pPr lvl="2"/>
            <a:r>
              <a:rPr lang="en-US" dirty="0"/>
              <a:t>Change the UPN for </a:t>
            </a:r>
            <a:r>
              <a:rPr lang="en-US" dirty="0">
                <a:solidFill>
                  <a:srgbClr val="00A249"/>
                </a:solidFill>
                <a:latin typeface="Lucida Console" panose="020B0609040504020204" pitchFamily="49" charset="0"/>
              </a:rPr>
              <a:t>–</a:t>
            </a:r>
            <a:r>
              <a:rPr lang="en-US" dirty="0" err="1">
                <a:solidFill>
                  <a:srgbClr val="00A249"/>
                </a:solidFill>
                <a:latin typeface="Lucida Console" panose="020B0609040504020204" pitchFamily="49" charset="0"/>
              </a:rPr>
              <a:t>SignInName</a:t>
            </a:r>
            <a:r>
              <a:rPr lang="en-US" dirty="0">
                <a:solidFill>
                  <a:srgbClr val="00A249"/>
                </a:solidFill>
                <a:latin typeface="Lucida Console" panose="020B0609040504020204" pitchFamily="49" charset="0"/>
              </a:rPr>
              <a:t> </a:t>
            </a:r>
            <a:r>
              <a:rPr lang="en-US" dirty="0"/>
              <a:t>for each user</a:t>
            </a:r>
          </a:p>
          <a:p>
            <a:pPr lvl="2"/>
            <a:r>
              <a:rPr lang="en-US" dirty="0"/>
              <a:t>Also add these UPNs:  </a:t>
            </a:r>
            <a:r>
              <a:rPr lang="en-US" dirty="0">
                <a:hlinkClick r:id="rId2"/>
              </a:rPr>
              <a:t>remadmin@hackwvd.net</a:t>
            </a:r>
            <a:r>
              <a:rPr lang="en-US" dirty="0"/>
              <a:t>   </a:t>
            </a:r>
            <a:r>
              <a:rPr lang="en-US" dirty="0">
                <a:hlinkClick r:id="rId3"/>
              </a:rPr>
              <a:t>ricks@hackwvd.net</a:t>
            </a:r>
            <a:r>
              <a:rPr lang="en-US" dirty="0"/>
              <a:t>  </a:t>
            </a:r>
            <a:r>
              <a:rPr lang="en-US" dirty="0">
                <a:hlinkClick r:id="rId4"/>
              </a:rPr>
              <a:t>mortys@hackwvd.net</a:t>
            </a:r>
            <a:r>
              <a:rPr lang="en-US" dirty="0"/>
              <a:t> </a:t>
            </a:r>
          </a:p>
          <a:p>
            <a:pPr marL="338396" indent="-342900"/>
            <a:r>
              <a:rPr lang="en-US" dirty="0"/>
              <a:t>All other users:  Run Line 63 and validate you can enumerate the Tenant</a:t>
            </a:r>
          </a:p>
        </p:txBody>
      </p:sp>
    </p:spTree>
    <p:extLst>
      <p:ext uri="{BB962C8B-B14F-4D97-AF65-F5344CB8AC3E}">
        <p14:creationId xmlns:p14="http://schemas.microsoft.com/office/powerpoint/2010/main" val="165729091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0B14FF-CF60-4F04-9ADC-9DFFE7AB3C5C}"/>
              </a:ext>
            </a:extLst>
          </p:cNvPr>
          <p:cNvSpPr>
            <a:spLocks noGrp="1"/>
          </p:cNvSpPr>
          <p:nvPr>
            <p:ph type="title"/>
          </p:nvPr>
        </p:nvSpPr>
        <p:spPr/>
        <p:txBody>
          <a:bodyPr/>
          <a:lstStyle/>
          <a:p>
            <a:r>
              <a:rPr lang="en-US" b="0" dirty="0">
                <a:solidFill>
                  <a:srgbClr val="1A1A1A"/>
                </a:solidFill>
                <a:latin typeface="Segoe UI"/>
                <a:ea typeface="Segoe UI" pitchFamily="34" charset="0"/>
                <a:hlinkClick r:id="rId2"/>
              </a:rPr>
              <a:t>For Reference Only - Create WVD Tenant</a:t>
            </a:r>
            <a:r>
              <a:rPr lang="en-US" b="0" dirty="0">
                <a:solidFill>
                  <a:srgbClr val="1A1A1A"/>
                </a:solidFill>
                <a:latin typeface="Segoe UI"/>
                <a:ea typeface="Segoe UI" pitchFamily="34" charset="0"/>
              </a:rPr>
              <a:t> </a:t>
            </a:r>
            <a:endParaRPr lang="en-US" b="0" dirty="0"/>
          </a:p>
        </p:txBody>
      </p:sp>
      <p:sp>
        <p:nvSpPr>
          <p:cNvPr id="3" name="Text Placeholder 2">
            <a:extLst>
              <a:ext uri="{FF2B5EF4-FFF2-40B4-BE49-F238E27FC236}">
                <a16:creationId xmlns:a16="http://schemas.microsoft.com/office/drawing/2014/main" id="{48AD6E40-5534-421A-AF9D-CFD7795CAA50}"/>
              </a:ext>
            </a:extLst>
          </p:cNvPr>
          <p:cNvSpPr>
            <a:spLocks noGrp="1"/>
          </p:cNvSpPr>
          <p:nvPr>
            <p:ph type="body" sz="quarter" idx="10"/>
          </p:nvPr>
        </p:nvSpPr>
        <p:spPr>
          <a:xfrm>
            <a:off x="584200" y="1435497"/>
            <a:ext cx="11018520" cy="1495794"/>
          </a:xfrm>
        </p:spPr>
        <p:txBody>
          <a:bodyPr/>
          <a:lstStyle/>
          <a:p>
            <a:r>
              <a:rPr lang="en-US" sz="1800" dirty="0"/>
              <a:t>Run PowerShell ISE as Administrator</a:t>
            </a:r>
          </a:p>
          <a:p>
            <a:pPr lvl="2"/>
            <a:r>
              <a:rPr lang="en-US" sz="1200" b="1" dirty="0">
                <a:latin typeface="Lucida Sans Typewriter" panose="020B0509030504030204" pitchFamily="49" charset="0"/>
              </a:rPr>
              <a:t>Set-</a:t>
            </a:r>
            <a:r>
              <a:rPr lang="en-US" sz="1200" b="1" dirty="0" err="1">
                <a:latin typeface="Lucida Sans Typewriter" panose="020B0509030504030204" pitchFamily="49" charset="0"/>
              </a:rPr>
              <a:t>ExecutionPolicy</a:t>
            </a:r>
            <a:r>
              <a:rPr lang="en-US" sz="1200" b="1" dirty="0">
                <a:latin typeface="Lucida Sans Typewriter" panose="020B0509030504030204" pitchFamily="49" charset="0"/>
              </a:rPr>
              <a:t> Unrestricted</a:t>
            </a:r>
          </a:p>
          <a:p>
            <a:pPr lvl="1"/>
            <a:r>
              <a:rPr lang="en-US" sz="1200" dirty="0"/>
              <a:t># Install / Update core Azure RM Modules regularly:</a:t>
            </a:r>
          </a:p>
          <a:p>
            <a:pPr lvl="2"/>
            <a:r>
              <a:rPr lang="en-US" sz="1200" b="1" dirty="0">
                <a:latin typeface="Lucida Sans Typewriter" panose="020B0509030504030204" pitchFamily="49" charset="0"/>
              </a:rPr>
              <a:t>Install-Module -</a:t>
            </a:r>
            <a:r>
              <a:rPr lang="en-US" sz="1200" b="1" dirty="0" err="1">
                <a:latin typeface="Lucida Sans Typewriter" panose="020B0509030504030204" pitchFamily="49" charset="0"/>
              </a:rPr>
              <a:t>AllowClobber</a:t>
            </a:r>
            <a:r>
              <a:rPr lang="en-US" sz="1200" b="1" dirty="0">
                <a:latin typeface="Lucida Sans Typewriter" panose="020B0509030504030204" pitchFamily="49" charset="0"/>
              </a:rPr>
              <a:t> -Force AzureRM</a:t>
            </a:r>
          </a:p>
          <a:p>
            <a:pPr lvl="2"/>
            <a:r>
              <a:rPr lang="en-US" sz="1200" b="1" dirty="0">
                <a:latin typeface="Lucida Sans Typewriter" panose="020B0509030504030204" pitchFamily="49" charset="0"/>
              </a:rPr>
              <a:t>Install-Module -</a:t>
            </a:r>
            <a:r>
              <a:rPr lang="en-US" sz="1200" b="1" dirty="0" err="1">
                <a:latin typeface="Lucida Sans Typewriter" panose="020B0509030504030204" pitchFamily="49" charset="0"/>
              </a:rPr>
              <a:t>AllowClobber</a:t>
            </a:r>
            <a:r>
              <a:rPr lang="en-US" sz="1200" b="1" dirty="0">
                <a:latin typeface="Lucida Sans Typewriter" panose="020B0509030504030204" pitchFamily="49" charset="0"/>
              </a:rPr>
              <a:t> -Force -Name </a:t>
            </a:r>
            <a:r>
              <a:rPr lang="en-US" sz="1200" b="1" dirty="0" err="1">
                <a:latin typeface="Lucida Sans Typewriter" panose="020B0509030504030204" pitchFamily="49" charset="0"/>
              </a:rPr>
              <a:t>Microsoft.RDInfra.RDPowerShell</a:t>
            </a:r>
            <a:endParaRPr lang="en-US" sz="1200" b="1" dirty="0">
              <a:latin typeface="Lucida Sans Typewriter" panose="020B0509030504030204" pitchFamily="49" charset="0"/>
            </a:endParaRPr>
          </a:p>
          <a:p>
            <a:r>
              <a:rPr lang="en-US" sz="1800" dirty="0"/>
              <a:t>Run one command to create a WVD Tenant:</a:t>
            </a:r>
          </a:p>
        </p:txBody>
      </p:sp>
      <p:pic>
        <p:nvPicPr>
          <p:cNvPr id="4" name="Picture 3">
            <a:extLst>
              <a:ext uri="{FF2B5EF4-FFF2-40B4-BE49-F238E27FC236}">
                <a16:creationId xmlns:a16="http://schemas.microsoft.com/office/drawing/2014/main" id="{C2D6580C-6A02-4C9C-85AA-BD2AD6DECFA9}"/>
              </a:ext>
            </a:extLst>
          </p:cNvPr>
          <p:cNvPicPr>
            <a:picLocks noChangeAspect="1"/>
          </p:cNvPicPr>
          <p:nvPr/>
        </p:nvPicPr>
        <p:blipFill>
          <a:blip r:embed="rId3"/>
          <a:stretch>
            <a:fillRect/>
          </a:stretch>
        </p:blipFill>
        <p:spPr>
          <a:xfrm>
            <a:off x="1184804" y="2900513"/>
            <a:ext cx="10663298" cy="1163487"/>
          </a:xfrm>
          <a:prstGeom prst="rect">
            <a:avLst/>
          </a:prstGeom>
        </p:spPr>
      </p:pic>
      <p:pic>
        <p:nvPicPr>
          <p:cNvPr id="5" name="Picture 4">
            <a:extLst>
              <a:ext uri="{FF2B5EF4-FFF2-40B4-BE49-F238E27FC236}">
                <a16:creationId xmlns:a16="http://schemas.microsoft.com/office/drawing/2014/main" id="{84A42D45-CFEF-4347-B193-5BC2C2CC4399}"/>
              </a:ext>
            </a:extLst>
          </p:cNvPr>
          <p:cNvPicPr>
            <a:picLocks noChangeAspect="1"/>
          </p:cNvPicPr>
          <p:nvPr/>
        </p:nvPicPr>
        <p:blipFill>
          <a:blip r:embed="rId4"/>
          <a:stretch>
            <a:fillRect/>
          </a:stretch>
        </p:blipFill>
        <p:spPr>
          <a:xfrm>
            <a:off x="1184804" y="4165070"/>
            <a:ext cx="10911568" cy="1363946"/>
          </a:xfrm>
          <a:prstGeom prst="rect">
            <a:avLst/>
          </a:prstGeom>
        </p:spPr>
      </p:pic>
      <p:sp>
        <p:nvSpPr>
          <p:cNvPr id="6" name="Arrow: Up 5">
            <a:extLst>
              <a:ext uri="{FF2B5EF4-FFF2-40B4-BE49-F238E27FC236}">
                <a16:creationId xmlns:a16="http://schemas.microsoft.com/office/drawing/2014/main" id="{6C7CF8CE-806D-4475-A0C1-96C7BDF34A13}"/>
              </a:ext>
            </a:extLst>
          </p:cNvPr>
          <p:cNvSpPr/>
          <p:nvPr/>
        </p:nvSpPr>
        <p:spPr bwMode="auto">
          <a:xfrm>
            <a:off x="3310466" y="4948112"/>
            <a:ext cx="2319867" cy="2079221"/>
          </a:xfrm>
          <a:prstGeom prst="up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AAD Tenant ID obtained from AAD Global Admin</a:t>
            </a:r>
          </a:p>
        </p:txBody>
      </p:sp>
      <p:sp>
        <p:nvSpPr>
          <p:cNvPr id="7" name="Arrow: Up 6">
            <a:extLst>
              <a:ext uri="{FF2B5EF4-FFF2-40B4-BE49-F238E27FC236}">
                <a16:creationId xmlns:a16="http://schemas.microsoft.com/office/drawing/2014/main" id="{391113F1-F68A-4E2B-B019-A7AE3DC08450}"/>
              </a:ext>
            </a:extLst>
          </p:cNvPr>
          <p:cNvSpPr/>
          <p:nvPr/>
        </p:nvSpPr>
        <p:spPr bwMode="auto">
          <a:xfrm>
            <a:off x="9624105" y="4948113"/>
            <a:ext cx="1978615" cy="1909887"/>
          </a:xfrm>
          <a:prstGeom prst="up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a:gradFill>
                  <a:gsLst>
                    <a:gs pos="40075">
                      <a:srgbClr val="FFFFFF"/>
                    </a:gs>
                    <a:gs pos="30000">
                      <a:srgbClr val="FFFFFF"/>
                    </a:gs>
                  </a:gsLst>
                  <a:lin ang="5400000" scaled="0"/>
                </a:gradFill>
              </a:rPr>
              <a:t>Subscription ID from Azure Portal</a:t>
            </a:r>
          </a:p>
        </p:txBody>
      </p:sp>
    </p:spTree>
    <p:extLst>
      <p:ext uri="{BB962C8B-B14F-4D97-AF65-F5344CB8AC3E}">
        <p14:creationId xmlns:p14="http://schemas.microsoft.com/office/powerpoint/2010/main" val="447607263"/>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0700" y="229435"/>
            <a:ext cx="11149012" cy="553998"/>
          </a:xfrm>
        </p:spPr>
        <p:txBody>
          <a:bodyPr/>
          <a:lstStyle/>
          <a:p>
            <a:r>
              <a:rPr lang="en-US" dirty="0"/>
              <a:t>Wait, what about Service Principals?</a:t>
            </a:r>
          </a:p>
        </p:txBody>
      </p:sp>
      <p:sp>
        <p:nvSpPr>
          <p:cNvPr id="3" name="Content Placeholder 2"/>
          <p:cNvSpPr>
            <a:spLocks noGrp="1"/>
          </p:cNvSpPr>
          <p:nvPr>
            <p:ph idx="1"/>
          </p:nvPr>
        </p:nvSpPr>
        <p:spPr>
          <a:xfrm>
            <a:off x="517524" y="1035943"/>
            <a:ext cx="11369676" cy="4789003"/>
          </a:xfrm>
        </p:spPr>
        <p:txBody>
          <a:bodyPr/>
          <a:lstStyle/>
          <a:p>
            <a:r>
              <a:rPr lang="en-US" dirty="0"/>
              <a:t>When should I use a Service Principal with WVD?</a:t>
            </a:r>
          </a:p>
          <a:p>
            <a:pPr lvl="1"/>
            <a:r>
              <a:rPr lang="en-US" dirty="0"/>
              <a:t>Automate specific Windows Virtual Desktop management tasks such as host pool creation, authorizing users, setting host pool parameters, etc.</a:t>
            </a:r>
          </a:p>
          <a:p>
            <a:pPr lvl="1"/>
            <a:r>
              <a:rPr lang="en-US" dirty="0"/>
              <a:t>Use as credentials in place of MFA-required users when running any Azure Resource Manager template for Windows Virtual Desktop.</a:t>
            </a:r>
          </a:p>
          <a:p>
            <a:r>
              <a:rPr lang="en-US" dirty="0"/>
              <a:t>OK, what are the steps?</a:t>
            </a:r>
          </a:p>
          <a:p>
            <a:pPr lvl="1"/>
            <a:r>
              <a:rPr lang="en-US" dirty="0"/>
              <a:t>Create a service principal in Azure Active Directory.</a:t>
            </a:r>
          </a:p>
          <a:p>
            <a:pPr lvl="1"/>
            <a:r>
              <a:rPr lang="en-US" dirty="0"/>
              <a:t>Create a role assignment in Windows Virtual Desktop.</a:t>
            </a:r>
          </a:p>
          <a:p>
            <a:pPr lvl="1"/>
            <a:r>
              <a:rPr lang="en-US" dirty="0"/>
              <a:t>Sign in to Windows Virtual Desktop by using the service principal.</a:t>
            </a:r>
          </a:p>
          <a:p>
            <a:r>
              <a:rPr lang="en-US" dirty="0"/>
              <a:t>It’s all documented here - </a:t>
            </a:r>
            <a:r>
              <a:rPr lang="en-US" dirty="0">
                <a:hlinkClick r:id="rId2"/>
              </a:rPr>
              <a:t>https://docs.microsoft.com/en-us/azure/virtual-desktop/virtual-desktop-fall-2019/create-service-principal-role-powershell</a:t>
            </a:r>
            <a:endParaRPr lang="en-US" dirty="0"/>
          </a:p>
        </p:txBody>
      </p:sp>
      <p:pic>
        <p:nvPicPr>
          <p:cNvPr id="4" name="Picture 3">
            <a:extLst>
              <a:ext uri="{FF2B5EF4-FFF2-40B4-BE49-F238E27FC236}">
                <a16:creationId xmlns:a16="http://schemas.microsoft.com/office/drawing/2014/main" id="{72915A7C-2DFC-40CE-805D-499A39FC3718}"/>
              </a:ext>
            </a:extLst>
          </p:cNvPr>
          <p:cNvPicPr>
            <a:picLocks noChangeAspect="1"/>
          </p:cNvPicPr>
          <p:nvPr/>
        </p:nvPicPr>
        <p:blipFill>
          <a:blip r:embed="rId3"/>
          <a:stretch>
            <a:fillRect/>
          </a:stretch>
        </p:blipFill>
        <p:spPr>
          <a:xfrm>
            <a:off x="974082" y="635872"/>
            <a:ext cx="2063856" cy="800141"/>
          </a:xfrm>
          <a:prstGeom prst="rect">
            <a:avLst/>
          </a:prstGeom>
        </p:spPr>
      </p:pic>
      <p:pic>
        <p:nvPicPr>
          <p:cNvPr id="5" name="Picture 4">
            <a:extLst>
              <a:ext uri="{FF2B5EF4-FFF2-40B4-BE49-F238E27FC236}">
                <a16:creationId xmlns:a16="http://schemas.microsoft.com/office/drawing/2014/main" id="{90CE2EFB-629E-4873-BB2C-D4AD6547CA74}"/>
              </a:ext>
            </a:extLst>
          </p:cNvPr>
          <p:cNvPicPr>
            <a:picLocks noChangeAspect="1"/>
          </p:cNvPicPr>
          <p:nvPr/>
        </p:nvPicPr>
        <p:blipFill>
          <a:blip r:embed="rId4"/>
          <a:stretch>
            <a:fillRect/>
          </a:stretch>
        </p:blipFill>
        <p:spPr>
          <a:xfrm>
            <a:off x="974082" y="1463941"/>
            <a:ext cx="7360028" cy="977950"/>
          </a:xfrm>
          <a:prstGeom prst="rect">
            <a:avLst/>
          </a:prstGeom>
        </p:spPr>
      </p:pic>
      <p:pic>
        <p:nvPicPr>
          <p:cNvPr id="6" name="Picture 5">
            <a:extLst>
              <a:ext uri="{FF2B5EF4-FFF2-40B4-BE49-F238E27FC236}">
                <a16:creationId xmlns:a16="http://schemas.microsoft.com/office/drawing/2014/main" id="{6E0E4053-C872-4D6D-BA80-C1FB711175D5}"/>
              </a:ext>
            </a:extLst>
          </p:cNvPr>
          <p:cNvPicPr>
            <a:picLocks noChangeAspect="1"/>
          </p:cNvPicPr>
          <p:nvPr/>
        </p:nvPicPr>
        <p:blipFill>
          <a:blip r:embed="rId5"/>
          <a:stretch>
            <a:fillRect/>
          </a:stretch>
        </p:blipFill>
        <p:spPr>
          <a:xfrm>
            <a:off x="6202362" y="2621775"/>
            <a:ext cx="6864703" cy="4248368"/>
          </a:xfrm>
          <a:prstGeom prst="rect">
            <a:avLst/>
          </a:prstGeom>
        </p:spPr>
      </p:pic>
      <p:pic>
        <p:nvPicPr>
          <p:cNvPr id="7" name="Picture 6">
            <a:extLst>
              <a:ext uri="{FF2B5EF4-FFF2-40B4-BE49-F238E27FC236}">
                <a16:creationId xmlns:a16="http://schemas.microsoft.com/office/drawing/2014/main" id="{0481E672-0754-4DCC-B665-C53ECA037A2D}"/>
              </a:ext>
            </a:extLst>
          </p:cNvPr>
          <p:cNvPicPr>
            <a:picLocks noChangeAspect="1"/>
          </p:cNvPicPr>
          <p:nvPr/>
        </p:nvPicPr>
        <p:blipFill>
          <a:blip r:embed="rId6"/>
          <a:stretch>
            <a:fillRect/>
          </a:stretch>
        </p:blipFill>
        <p:spPr>
          <a:xfrm>
            <a:off x="5370853" y="270728"/>
            <a:ext cx="5391427" cy="730288"/>
          </a:xfrm>
          <a:prstGeom prst="rect">
            <a:avLst/>
          </a:prstGeom>
        </p:spPr>
      </p:pic>
      <p:pic>
        <p:nvPicPr>
          <p:cNvPr id="8" name="Picture 7">
            <a:extLst>
              <a:ext uri="{FF2B5EF4-FFF2-40B4-BE49-F238E27FC236}">
                <a16:creationId xmlns:a16="http://schemas.microsoft.com/office/drawing/2014/main" id="{E867E827-C2F0-41A9-9A3C-72870747C735}"/>
              </a:ext>
            </a:extLst>
          </p:cNvPr>
          <p:cNvPicPr>
            <a:picLocks noChangeAspect="1"/>
          </p:cNvPicPr>
          <p:nvPr/>
        </p:nvPicPr>
        <p:blipFill>
          <a:blip r:embed="rId7"/>
          <a:stretch>
            <a:fillRect/>
          </a:stretch>
        </p:blipFill>
        <p:spPr>
          <a:xfrm>
            <a:off x="4223521" y="1042309"/>
            <a:ext cx="7360028" cy="558829"/>
          </a:xfrm>
          <a:prstGeom prst="rect">
            <a:avLst/>
          </a:prstGeom>
        </p:spPr>
      </p:pic>
      <p:pic>
        <p:nvPicPr>
          <p:cNvPr id="9" name="Picture 8">
            <a:extLst>
              <a:ext uri="{FF2B5EF4-FFF2-40B4-BE49-F238E27FC236}">
                <a16:creationId xmlns:a16="http://schemas.microsoft.com/office/drawing/2014/main" id="{775C83E8-6877-4E27-B35E-611C6083DBEA}"/>
              </a:ext>
            </a:extLst>
          </p:cNvPr>
          <p:cNvPicPr>
            <a:picLocks noChangeAspect="1"/>
          </p:cNvPicPr>
          <p:nvPr/>
        </p:nvPicPr>
        <p:blipFill>
          <a:blip r:embed="rId8"/>
          <a:stretch>
            <a:fillRect/>
          </a:stretch>
        </p:blipFill>
        <p:spPr>
          <a:xfrm>
            <a:off x="4271582" y="2721603"/>
            <a:ext cx="7398130" cy="711237"/>
          </a:xfrm>
          <a:prstGeom prst="rect">
            <a:avLst/>
          </a:prstGeom>
        </p:spPr>
      </p:pic>
    </p:spTree>
    <p:extLst>
      <p:ext uri="{BB962C8B-B14F-4D97-AF65-F5344CB8AC3E}">
        <p14:creationId xmlns:p14="http://schemas.microsoft.com/office/powerpoint/2010/main" val="30533211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92CFAD-07BF-4084-AE4A-134A87B892C4}"/>
              </a:ext>
            </a:extLst>
          </p:cNvPr>
          <p:cNvSpPr>
            <a:spLocks noGrp="1"/>
          </p:cNvSpPr>
          <p:nvPr>
            <p:ph type="title"/>
          </p:nvPr>
        </p:nvSpPr>
        <p:spPr/>
        <p:txBody>
          <a:bodyPr/>
          <a:lstStyle/>
          <a:p>
            <a:r>
              <a:rPr lang="en-US" dirty="0"/>
              <a:t>Host Pool Planning</a:t>
            </a:r>
          </a:p>
        </p:txBody>
      </p:sp>
    </p:spTree>
    <p:extLst>
      <p:ext uri="{BB962C8B-B14F-4D97-AF65-F5344CB8AC3E}">
        <p14:creationId xmlns:p14="http://schemas.microsoft.com/office/powerpoint/2010/main" val="1821647401"/>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54E618CB-CE8B-4008-82A3-E908DD97DCE6}"/>
              </a:ext>
            </a:extLst>
          </p:cNvPr>
          <p:cNvPicPr>
            <a:picLocks noChangeAspect="1"/>
          </p:cNvPicPr>
          <p:nvPr/>
        </p:nvPicPr>
        <p:blipFill>
          <a:blip r:embed="rId2"/>
          <a:stretch>
            <a:fillRect/>
          </a:stretch>
        </p:blipFill>
        <p:spPr>
          <a:xfrm>
            <a:off x="10611453" y="2122121"/>
            <a:ext cx="1520387" cy="875014"/>
          </a:xfrm>
          <a:prstGeom prst="rect">
            <a:avLst/>
          </a:prstGeom>
        </p:spPr>
      </p:pic>
      <p:sp>
        <p:nvSpPr>
          <p:cNvPr id="8" name="Rectangle 7">
            <a:extLst>
              <a:ext uri="{FF2B5EF4-FFF2-40B4-BE49-F238E27FC236}">
                <a16:creationId xmlns:a16="http://schemas.microsoft.com/office/drawing/2014/main" id="{09974033-D44A-4E5A-B614-3AA91275681F}"/>
              </a:ext>
            </a:extLst>
          </p:cNvPr>
          <p:cNvSpPr/>
          <p:nvPr/>
        </p:nvSpPr>
        <p:spPr bwMode="auto">
          <a:xfrm>
            <a:off x="9850800" y="41259"/>
            <a:ext cx="1712285" cy="1457864"/>
          </a:xfrm>
          <a:prstGeom prst="rect">
            <a:avLst/>
          </a:prstGeom>
          <a:solidFill>
            <a:schemeClr val="accent3">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solidFill>
                  <a:schemeClr val="tx2"/>
                </a:solidFill>
              </a:rPr>
              <a:t>Desktop Host Pool</a:t>
            </a:r>
          </a:p>
        </p:txBody>
      </p:sp>
      <p:sp>
        <p:nvSpPr>
          <p:cNvPr id="2" name="Title 1">
            <a:extLst>
              <a:ext uri="{FF2B5EF4-FFF2-40B4-BE49-F238E27FC236}">
                <a16:creationId xmlns:a16="http://schemas.microsoft.com/office/drawing/2014/main" id="{2DA8E249-A57D-4291-9BD5-B66C8449C5AE}"/>
              </a:ext>
            </a:extLst>
          </p:cNvPr>
          <p:cNvSpPr>
            <a:spLocks noGrp="1"/>
          </p:cNvSpPr>
          <p:nvPr>
            <p:ph type="title"/>
          </p:nvPr>
        </p:nvSpPr>
        <p:spPr/>
        <p:txBody>
          <a:bodyPr/>
          <a:lstStyle/>
          <a:p>
            <a:r>
              <a:rPr lang="en-US" dirty="0"/>
              <a:t>Host Pools</a:t>
            </a:r>
          </a:p>
        </p:txBody>
      </p:sp>
      <p:sp>
        <p:nvSpPr>
          <p:cNvPr id="3" name="Text Placeholder 2">
            <a:extLst>
              <a:ext uri="{FF2B5EF4-FFF2-40B4-BE49-F238E27FC236}">
                <a16:creationId xmlns:a16="http://schemas.microsoft.com/office/drawing/2014/main" id="{6D37EA7F-0E8A-4D15-A8F0-60DE98CC2B30}"/>
              </a:ext>
            </a:extLst>
          </p:cNvPr>
          <p:cNvSpPr>
            <a:spLocks noGrp="1"/>
          </p:cNvSpPr>
          <p:nvPr>
            <p:ph type="body" sz="quarter" idx="10"/>
          </p:nvPr>
        </p:nvSpPr>
        <p:spPr>
          <a:xfrm>
            <a:off x="584200" y="1435497"/>
            <a:ext cx="8551174" cy="4210383"/>
          </a:xfrm>
        </p:spPr>
        <p:txBody>
          <a:bodyPr/>
          <a:lstStyle/>
          <a:p>
            <a:r>
              <a:rPr lang="en-US" sz="3200" dirty="0"/>
              <a:t>Consist of a group of VMs that offer </a:t>
            </a:r>
            <a:r>
              <a:rPr lang="en-US" sz="3200" b="1" u="sng" dirty="0"/>
              <a:t>either</a:t>
            </a:r>
            <a:r>
              <a:rPr lang="en-US" sz="3200" dirty="0"/>
              <a:t> Desktops or Apps</a:t>
            </a:r>
          </a:p>
          <a:p>
            <a:pPr lvl="1"/>
            <a:r>
              <a:rPr lang="en-US" sz="2400" dirty="0"/>
              <a:t>Must be kept consistent / patched to same level</a:t>
            </a:r>
          </a:p>
          <a:p>
            <a:pPr lvl="1"/>
            <a:r>
              <a:rPr lang="en-US" sz="2400" dirty="0"/>
              <a:t>Do not all have to be online all the time</a:t>
            </a:r>
          </a:p>
          <a:p>
            <a:pPr lvl="1"/>
            <a:r>
              <a:rPr lang="en-US" sz="2400" dirty="0"/>
              <a:t>All built from the same Image at Host Pool creation</a:t>
            </a:r>
          </a:p>
          <a:p>
            <a:r>
              <a:rPr lang="en-US" sz="3200" dirty="0"/>
              <a:t>Individual VMs in Host Pools are “seen” by the Broker service (next slide)</a:t>
            </a:r>
          </a:p>
          <a:p>
            <a:pPr lvl="1"/>
            <a:r>
              <a:rPr lang="en-US" sz="2400" dirty="0"/>
              <a:t>Broker service mediates access to the “best available” VM in the Host Pool</a:t>
            </a:r>
          </a:p>
        </p:txBody>
      </p:sp>
      <p:pic>
        <p:nvPicPr>
          <p:cNvPr id="4" name="Virtual machines">
            <a:extLst>
              <a:ext uri="{FF2B5EF4-FFF2-40B4-BE49-F238E27FC236}">
                <a16:creationId xmlns:a16="http://schemas.microsoft.com/office/drawing/2014/main" id="{6A5C4B54-090E-4B27-9F56-EBE092BEBB70}"/>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9981595" y="917580"/>
            <a:ext cx="468965" cy="436611"/>
          </a:xfrm>
          <a:prstGeom prst="rect">
            <a:avLst/>
          </a:prstGeom>
        </p:spPr>
      </p:pic>
      <p:pic>
        <p:nvPicPr>
          <p:cNvPr id="5" name="Virtual machines">
            <a:extLst>
              <a:ext uri="{FF2B5EF4-FFF2-40B4-BE49-F238E27FC236}">
                <a16:creationId xmlns:a16="http://schemas.microsoft.com/office/drawing/2014/main" id="{F48BE742-0D61-4C22-ACD4-65BEDBF96109}"/>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10975202" y="917580"/>
            <a:ext cx="468965" cy="436611"/>
          </a:xfrm>
          <a:prstGeom prst="rect">
            <a:avLst/>
          </a:prstGeom>
        </p:spPr>
      </p:pic>
      <p:pic>
        <p:nvPicPr>
          <p:cNvPr id="6" name="Virtual machines">
            <a:extLst>
              <a:ext uri="{FF2B5EF4-FFF2-40B4-BE49-F238E27FC236}">
                <a16:creationId xmlns:a16="http://schemas.microsoft.com/office/drawing/2014/main" id="{B3E1BA20-130A-42C4-BB6C-6F7C6BB64E1E}"/>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10975200" y="149728"/>
            <a:ext cx="468965" cy="436611"/>
          </a:xfrm>
          <a:prstGeom prst="rect">
            <a:avLst/>
          </a:prstGeom>
        </p:spPr>
      </p:pic>
      <p:pic>
        <p:nvPicPr>
          <p:cNvPr id="7" name="Virtual machines">
            <a:extLst>
              <a:ext uri="{FF2B5EF4-FFF2-40B4-BE49-F238E27FC236}">
                <a16:creationId xmlns:a16="http://schemas.microsoft.com/office/drawing/2014/main" id="{F621C6DA-2231-4E93-AEFF-44FBF321B290}"/>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9981594" y="149728"/>
            <a:ext cx="468965" cy="436611"/>
          </a:xfrm>
          <a:prstGeom prst="rect">
            <a:avLst/>
          </a:prstGeom>
        </p:spPr>
      </p:pic>
      <p:sp>
        <p:nvSpPr>
          <p:cNvPr id="9" name="Rectangle 8">
            <a:extLst>
              <a:ext uri="{FF2B5EF4-FFF2-40B4-BE49-F238E27FC236}">
                <a16:creationId xmlns:a16="http://schemas.microsoft.com/office/drawing/2014/main" id="{43523ABC-D504-4043-B0B5-1CA49DFD13EB}"/>
              </a:ext>
            </a:extLst>
          </p:cNvPr>
          <p:cNvSpPr/>
          <p:nvPr/>
        </p:nvSpPr>
        <p:spPr bwMode="auto">
          <a:xfrm>
            <a:off x="9947053" y="5346842"/>
            <a:ext cx="1712285" cy="1457864"/>
          </a:xfrm>
          <a:prstGeom prst="rect">
            <a:avLst/>
          </a:prstGeom>
          <a:solidFill>
            <a:srgbClr val="FFB9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solidFill>
                  <a:schemeClr val="tx2"/>
                </a:solidFill>
              </a:rPr>
              <a:t>Apps Host Pool</a:t>
            </a:r>
          </a:p>
        </p:txBody>
      </p:sp>
      <p:pic>
        <p:nvPicPr>
          <p:cNvPr id="10" name="Virtual machines">
            <a:extLst>
              <a:ext uri="{FF2B5EF4-FFF2-40B4-BE49-F238E27FC236}">
                <a16:creationId xmlns:a16="http://schemas.microsoft.com/office/drawing/2014/main" id="{946AF729-BDDE-4D55-B687-7BF245874EE5}"/>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10077848" y="6223163"/>
            <a:ext cx="468965" cy="436611"/>
          </a:xfrm>
          <a:prstGeom prst="rect">
            <a:avLst/>
          </a:prstGeom>
        </p:spPr>
      </p:pic>
      <p:pic>
        <p:nvPicPr>
          <p:cNvPr id="11" name="Virtual machines">
            <a:extLst>
              <a:ext uri="{FF2B5EF4-FFF2-40B4-BE49-F238E27FC236}">
                <a16:creationId xmlns:a16="http://schemas.microsoft.com/office/drawing/2014/main" id="{5E452388-9A88-4D6B-9292-980436A7E3F9}"/>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11071455" y="6223163"/>
            <a:ext cx="468965" cy="436611"/>
          </a:xfrm>
          <a:prstGeom prst="rect">
            <a:avLst/>
          </a:prstGeom>
        </p:spPr>
      </p:pic>
      <p:pic>
        <p:nvPicPr>
          <p:cNvPr id="12" name="Virtual machines">
            <a:extLst>
              <a:ext uri="{FF2B5EF4-FFF2-40B4-BE49-F238E27FC236}">
                <a16:creationId xmlns:a16="http://schemas.microsoft.com/office/drawing/2014/main" id="{66F760C4-9350-4B9D-97C3-F829EE107EFE}"/>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11071453" y="5455311"/>
            <a:ext cx="468965" cy="436611"/>
          </a:xfrm>
          <a:prstGeom prst="rect">
            <a:avLst/>
          </a:prstGeom>
        </p:spPr>
      </p:pic>
      <p:pic>
        <p:nvPicPr>
          <p:cNvPr id="13" name="Virtual machines">
            <a:extLst>
              <a:ext uri="{FF2B5EF4-FFF2-40B4-BE49-F238E27FC236}">
                <a16:creationId xmlns:a16="http://schemas.microsoft.com/office/drawing/2014/main" id="{CDA2D612-5A67-4E35-80D9-D288F64E7A38}"/>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10077847" y="5455311"/>
            <a:ext cx="468965" cy="436611"/>
          </a:xfrm>
          <a:prstGeom prst="rect">
            <a:avLst/>
          </a:prstGeom>
        </p:spPr>
      </p:pic>
      <p:pic>
        <p:nvPicPr>
          <p:cNvPr id="15" name="Picture 14">
            <a:extLst>
              <a:ext uri="{FF2B5EF4-FFF2-40B4-BE49-F238E27FC236}">
                <a16:creationId xmlns:a16="http://schemas.microsoft.com/office/drawing/2014/main" id="{2FDD6C11-9EEE-43CB-9264-0D7521F5173B}"/>
              </a:ext>
            </a:extLst>
          </p:cNvPr>
          <p:cNvPicPr>
            <a:picLocks noChangeAspect="1"/>
          </p:cNvPicPr>
          <p:nvPr/>
        </p:nvPicPr>
        <p:blipFill>
          <a:blip r:embed="rId5"/>
          <a:stretch>
            <a:fillRect/>
          </a:stretch>
        </p:blipFill>
        <p:spPr>
          <a:xfrm>
            <a:off x="9260304" y="4139663"/>
            <a:ext cx="2883568" cy="583074"/>
          </a:xfrm>
          <a:prstGeom prst="rect">
            <a:avLst/>
          </a:prstGeom>
        </p:spPr>
      </p:pic>
      <p:sp>
        <p:nvSpPr>
          <p:cNvPr id="16" name="Arrow: Up 15">
            <a:extLst>
              <a:ext uri="{FF2B5EF4-FFF2-40B4-BE49-F238E27FC236}">
                <a16:creationId xmlns:a16="http://schemas.microsoft.com/office/drawing/2014/main" id="{6DE374B4-A542-4EF4-8BE9-4EA5CA212CB7}"/>
              </a:ext>
            </a:extLst>
          </p:cNvPr>
          <p:cNvSpPr/>
          <p:nvPr/>
        </p:nvSpPr>
        <p:spPr bwMode="auto">
          <a:xfrm>
            <a:off x="9947053" y="4741865"/>
            <a:ext cx="1684421" cy="670892"/>
          </a:xfrm>
          <a:prstGeom prst="up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a:gradFill>
                  <a:gsLst>
                    <a:gs pos="40075">
                      <a:srgbClr val="FFFFFF"/>
                    </a:gs>
                    <a:gs pos="30000">
                      <a:srgbClr val="FFFFFF"/>
                    </a:gs>
                  </a:gsLst>
                  <a:lin ang="5400000" scaled="0"/>
                </a:gradFill>
              </a:rPr>
              <a:t>Published </a:t>
            </a:r>
          </a:p>
          <a:p>
            <a:pPr algn="ctr" defTabSz="932472" fontAlgn="base">
              <a:spcBef>
                <a:spcPct val="0"/>
              </a:spcBef>
              <a:spcAft>
                <a:spcPct val="0"/>
              </a:spcAft>
            </a:pPr>
            <a:r>
              <a:rPr lang="en-US" sz="1400" dirty="0">
                <a:gradFill>
                  <a:gsLst>
                    <a:gs pos="40075">
                      <a:srgbClr val="FFFFFF"/>
                    </a:gs>
                    <a:gs pos="30000">
                      <a:srgbClr val="FFFFFF"/>
                    </a:gs>
                  </a:gsLst>
                  <a:lin ang="5400000" scaled="0"/>
                </a:gradFill>
              </a:rPr>
              <a:t>apps</a:t>
            </a:r>
          </a:p>
        </p:txBody>
      </p:sp>
      <p:pic>
        <p:nvPicPr>
          <p:cNvPr id="17" name="Picture 16">
            <a:extLst>
              <a:ext uri="{FF2B5EF4-FFF2-40B4-BE49-F238E27FC236}">
                <a16:creationId xmlns:a16="http://schemas.microsoft.com/office/drawing/2014/main" id="{D68EDA4B-672E-49C4-93DC-11D3334069C9}"/>
              </a:ext>
            </a:extLst>
          </p:cNvPr>
          <p:cNvPicPr>
            <a:picLocks noChangeAspect="1"/>
          </p:cNvPicPr>
          <p:nvPr/>
        </p:nvPicPr>
        <p:blipFill>
          <a:blip r:embed="rId6"/>
          <a:stretch>
            <a:fillRect/>
          </a:stretch>
        </p:blipFill>
        <p:spPr>
          <a:xfrm>
            <a:off x="9711757" y="3621509"/>
            <a:ext cx="524551" cy="518154"/>
          </a:xfrm>
          <a:prstGeom prst="rect">
            <a:avLst/>
          </a:prstGeom>
        </p:spPr>
      </p:pic>
      <p:pic>
        <p:nvPicPr>
          <p:cNvPr id="18" name="Picture 17">
            <a:extLst>
              <a:ext uri="{FF2B5EF4-FFF2-40B4-BE49-F238E27FC236}">
                <a16:creationId xmlns:a16="http://schemas.microsoft.com/office/drawing/2014/main" id="{AB2FE0C2-9297-4B06-98A4-36BD60920AE5}"/>
              </a:ext>
            </a:extLst>
          </p:cNvPr>
          <p:cNvPicPr>
            <a:picLocks noChangeAspect="1"/>
          </p:cNvPicPr>
          <p:nvPr/>
        </p:nvPicPr>
        <p:blipFill>
          <a:blip r:embed="rId7"/>
          <a:stretch>
            <a:fillRect/>
          </a:stretch>
        </p:blipFill>
        <p:spPr>
          <a:xfrm>
            <a:off x="10236309" y="3623927"/>
            <a:ext cx="524552" cy="515736"/>
          </a:xfrm>
          <a:prstGeom prst="rect">
            <a:avLst/>
          </a:prstGeom>
        </p:spPr>
      </p:pic>
      <p:pic>
        <p:nvPicPr>
          <p:cNvPr id="19" name="Picture 18">
            <a:extLst>
              <a:ext uri="{FF2B5EF4-FFF2-40B4-BE49-F238E27FC236}">
                <a16:creationId xmlns:a16="http://schemas.microsoft.com/office/drawing/2014/main" id="{5BEFF5AA-807C-43CE-8B68-8687614B3026}"/>
              </a:ext>
            </a:extLst>
          </p:cNvPr>
          <p:cNvPicPr>
            <a:picLocks noChangeAspect="1"/>
          </p:cNvPicPr>
          <p:nvPr/>
        </p:nvPicPr>
        <p:blipFill>
          <a:blip r:embed="rId8"/>
          <a:stretch>
            <a:fillRect/>
          </a:stretch>
        </p:blipFill>
        <p:spPr>
          <a:xfrm>
            <a:off x="10727290" y="3604270"/>
            <a:ext cx="666617" cy="535393"/>
          </a:xfrm>
          <a:prstGeom prst="rect">
            <a:avLst/>
          </a:prstGeom>
        </p:spPr>
      </p:pic>
      <p:pic>
        <p:nvPicPr>
          <p:cNvPr id="21" name="Picture 20">
            <a:extLst>
              <a:ext uri="{FF2B5EF4-FFF2-40B4-BE49-F238E27FC236}">
                <a16:creationId xmlns:a16="http://schemas.microsoft.com/office/drawing/2014/main" id="{C3BA407A-888B-44FF-8AEE-B554E01CDE63}"/>
              </a:ext>
            </a:extLst>
          </p:cNvPr>
          <p:cNvPicPr>
            <a:picLocks noChangeAspect="1"/>
          </p:cNvPicPr>
          <p:nvPr/>
        </p:nvPicPr>
        <p:blipFill>
          <a:blip r:embed="rId9"/>
          <a:stretch>
            <a:fillRect/>
          </a:stretch>
        </p:blipFill>
        <p:spPr>
          <a:xfrm>
            <a:off x="9357798" y="2122121"/>
            <a:ext cx="1164851" cy="875014"/>
          </a:xfrm>
          <a:prstGeom prst="rect">
            <a:avLst/>
          </a:prstGeom>
        </p:spPr>
      </p:pic>
      <p:sp>
        <p:nvSpPr>
          <p:cNvPr id="20" name="Arrow: Down 19">
            <a:extLst>
              <a:ext uri="{FF2B5EF4-FFF2-40B4-BE49-F238E27FC236}">
                <a16:creationId xmlns:a16="http://schemas.microsoft.com/office/drawing/2014/main" id="{07F23B4F-D314-4254-8A00-5651B189396D}"/>
              </a:ext>
            </a:extLst>
          </p:cNvPr>
          <p:cNvSpPr/>
          <p:nvPr/>
        </p:nvSpPr>
        <p:spPr bwMode="auto">
          <a:xfrm>
            <a:off x="9898717" y="1373545"/>
            <a:ext cx="1664368" cy="731389"/>
          </a:xfrm>
          <a:prstGeom prst="down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a:gradFill>
                  <a:gsLst>
                    <a:gs pos="40075">
                      <a:srgbClr val="FFFFFF"/>
                    </a:gs>
                    <a:gs pos="30000">
                      <a:srgbClr val="FFFFFF"/>
                    </a:gs>
                  </a:gsLst>
                  <a:lin ang="5400000" scaled="0"/>
                </a:gradFill>
              </a:rPr>
              <a:t>Published Desktops</a:t>
            </a:r>
          </a:p>
        </p:txBody>
      </p:sp>
      <p:cxnSp>
        <p:nvCxnSpPr>
          <p:cNvPr id="24" name="Straight Connector 23">
            <a:extLst>
              <a:ext uri="{FF2B5EF4-FFF2-40B4-BE49-F238E27FC236}">
                <a16:creationId xmlns:a16="http://schemas.microsoft.com/office/drawing/2014/main" id="{48DE828D-7850-47AC-980B-6D8E8373BD9B}"/>
              </a:ext>
            </a:extLst>
          </p:cNvPr>
          <p:cNvCxnSpPr>
            <a:cxnSpLocks/>
          </p:cNvCxnSpPr>
          <p:nvPr/>
        </p:nvCxnSpPr>
        <p:spPr>
          <a:xfrm>
            <a:off x="9135374" y="3290268"/>
            <a:ext cx="3020530" cy="0"/>
          </a:xfrm>
          <a:prstGeom prst="line">
            <a:avLst/>
          </a:prstGeom>
          <a:ln w="149225" cmpd="dbl">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787564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wipe(up)">
                                      <p:cBhvr>
                                        <p:cTn id="7" dur="500"/>
                                        <p:tgtEl>
                                          <p:spTgt spid="22"/>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wipe(up)">
                                      <p:cBhvr>
                                        <p:cTn id="10" dur="500"/>
                                        <p:tgtEl>
                                          <p:spTgt spid="8"/>
                                        </p:tgtEl>
                                      </p:cBhvr>
                                    </p:animEffect>
                                  </p:childTnLst>
                                </p:cTn>
                              </p:par>
                              <p:par>
                                <p:cTn id="11" presetID="22" presetClass="entr" presetSubtype="1" fill="hold" nodeType="with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wipe(up)">
                                      <p:cBhvr>
                                        <p:cTn id="13" dur="500"/>
                                        <p:tgtEl>
                                          <p:spTgt spid="4"/>
                                        </p:tgtEl>
                                      </p:cBhvr>
                                    </p:animEffect>
                                  </p:childTnLst>
                                </p:cTn>
                              </p:par>
                              <p:par>
                                <p:cTn id="14" presetID="22" presetClass="entr" presetSubtype="1" fill="hold" nodeType="with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wipe(up)">
                                      <p:cBhvr>
                                        <p:cTn id="16" dur="500"/>
                                        <p:tgtEl>
                                          <p:spTgt spid="5"/>
                                        </p:tgtEl>
                                      </p:cBhvr>
                                    </p:animEffect>
                                  </p:childTnLst>
                                </p:cTn>
                              </p:par>
                              <p:par>
                                <p:cTn id="17" presetID="22" presetClass="entr" presetSubtype="1" fill="hold" nodeType="with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wipe(up)">
                                      <p:cBhvr>
                                        <p:cTn id="19" dur="500"/>
                                        <p:tgtEl>
                                          <p:spTgt spid="6"/>
                                        </p:tgtEl>
                                      </p:cBhvr>
                                    </p:animEffect>
                                  </p:childTnLst>
                                </p:cTn>
                              </p:par>
                              <p:par>
                                <p:cTn id="20" presetID="22" presetClass="entr" presetSubtype="1" fill="hold" nodeType="with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wipe(up)">
                                      <p:cBhvr>
                                        <p:cTn id="22" dur="500"/>
                                        <p:tgtEl>
                                          <p:spTgt spid="7"/>
                                        </p:tgtEl>
                                      </p:cBhvr>
                                    </p:animEffect>
                                  </p:childTnLst>
                                </p:cTn>
                              </p:par>
                              <p:par>
                                <p:cTn id="23" presetID="22" presetClass="entr" presetSubtype="1" fill="hold" nodeType="withEffect">
                                  <p:stCondLst>
                                    <p:cond delay="0"/>
                                  </p:stCondLst>
                                  <p:childTnLst>
                                    <p:set>
                                      <p:cBhvr>
                                        <p:cTn id="24" dur="1" fill="hold">
                                          <p:stCondLst>
                                            <p:cond delay="0"/>
                                          </p:stCondLst>
                                        </p:cTn>
                                        <p:tgtEl>
                                          <p:spTgt spid="21"/>
                                        </p:tgtEl>
                                        <p:attrNameLst>
                                          <p:attrName>style.visibility</p:attrName>
                                        </p:attrNameLst>
                                      </p:cBhvr>
                                      <p:to>
                                        <p:strVal val="visible"/>
                                      </p:to>
                                    </p:set>
                                    <p:animEffect transition="in" filter="wipe(up)">
                                      <p:cBhvr>
                                        <p:cTn id="25" dur="500"/>
                                        <p:tgtEl>
                                          <p:spTgt spid="21"/>
                                        </p:tgtEl>
                                      </p:cBhvr>
                                    </p:animEffect>
                                  </p:childTnLst>
                                </p:cTn>
                              </p:par>
                              <p:par>
                                <p:cTn id="26" presetID="22" presetClass="entr" presetSubtype="1" fill="hold" grpId="0" nodeType="withEffect">
                                  <p:stCondLst>
                                    <p:cond delay="0"/>
                                  </p:stCondLst>
                                  <p:childTnLst>
                                    <p:set>
                                      <p:cBhvr>
                                        <p:cTn id="27" dur="1" fill="hold">
                                          <p:stCondLst>
                                            <p:cond delay="0"/>
                                          </p:stCondLst>
                                        </p:cTn>
                                        <p:tgtEl>
                                          <p:spTgt spid="20"/>
                                        </p:tgtEl>
                                        <p:attrNameLst>
                                          <p:attrName>style.visibility</p:attrName>
                                        </p:attrNameLst>
                                      </p:cBhvr>
                                      <p:to>
                                        <p:strVal val="visible"/>
                                      </p:to>
                                    </p:set>
                                    <p:animEffect transition="in" filter="wipe(up)">
                                      <p:cBhvr>
                                        <p:cTn id="28" dur="500"/>
                                        <p:tgtEl>
                                          <p:spTgt spid="20"/>
                                        </p:tgtEl>
                                      </p:cBhvr>
                                    </p:animEffect>
                                  </p:childTnLst>
                                </p:cTn>
                              </p:par>
                            </p:childTnLst>
                          </p:cTn>
                        </p:par>
                      </p:childTnLst>
                    </p:cTn>
                  </p:par>
                  <p:par>
                    <p:cTn id="29" fill="hold">
                      <p:stCondLst>
                        <p:cond delay="indefinite"/>
                      </p:stCondLst>
                      <p:childTnLst>
                        <p:par>
                          <p:cTn id="30" fill="hold">
                            <p:stCondLst>
                              <p:cond delay="0"/>
                            </p:stCondLst>
                            <p:childTnLst>
                              <p:par>
                                <p:cTn id="31" presetID="22" presetClass="entr" presetSubtype="4" fill="hold" grpId="0" nodeType="clickEffect">
                                  <p:stCondLst>
                                    <p:cond delay="0"/>
                                  </p:stCondLst>
                                  <p:childTnLst>
                                    <p:set>
                                      <p:cBhvr>
                                        <p:cTn id="32" dur="1" fill="hold">
                                          <p:stCondLst>
                                            <p:cond delay="0"/>
                                          </p:stCondLst>
                                        </p:cTn>
                                        <p:tgtEl>
                                          <p:spTgt spid="9"/>
                                        </p:tgtEl>
                                        <p:attrNameLst>
                                          <p:attrName>style.visibility</p:attrName>
                                        </p:attrNameLst>
                                      </p:cBhvr>
                                      <p:to>
                                        <p:strVal val="visible"/>
                                      </p:to>
                                    </p:set>
                                    <p:animEffect transition="in" filter="wipe(down)">
                                      <p:cBhvr>
                                        <p:cTn id="33" dur="500"/>
                                        <p:tgtEl>
                                          <p:spTgt spid="9"/>
                                        </p:tgtEl>
                                      </p:cBhvr>
                                    </p:animEffect>
                                  </p:childTnLst>
                                </p:cTn>
                              </p:par>
                              <p:par>
                                <p:cTn id="34" presetID="22" presetClass="entr" presetSubtype="4" fill="hold" nodeType="withEffect">
                                  <p:stCondLst>
                                    <p:cond delay="0"/>
                                  </p:stCondLst>
                                  <p:childTnLst>
                                    <p:set>
                                      <p:cBhvr>
                                        <p:cTn id="35" dur="1" fill="hold">
                                          <p:stCondLst>
                                            <p:cond delay="0"/>
                                          </p:stCondLst>
                                        </p:cTn>
                                        <p:tgtEl>
                                          <p:spTgt spid="10"/>
                                        </p:tgtEl>
                                        <p:attrNameLst>
                                          <p:attrName>style.visibility</p:attrName>
                                        </p:attrNameLst>
                                      </p:cBhvr>
                                      <p:to>
                                        <p:strVal val="visible"/>
                                      </p:to>
                                    </p:set>
                                    <p:animEffect transition="in" filter="wipe(down)">
                                      <p:cBhvr>
                                        <p:cTn id="36" dur="500"/>
                                        <p:tgtEl>
                                          <p:spTgt spid="10"/>
                                        </p:tgtEl>
                                      </p:cBhvr>
                                    </p:animEffect>
                                  </p:childTnLst>
                                </p:cTn>
                              </p:par>
                              <p:par>
                                <p:cTn id="37" presetID="22" presetClass="entr" presetSubtype="4" fill="hold" nodeType="withEffect">
                                  <p:stCondLst>
                                    <p:cond delay="0"/>
                                  </p:stCondLst>
                                  <p:childTnLst>
                                    <p:set>
                                      <p:cBhvr>
                                        <p:cTn id="38" dur="1" fill="hold">
                                          <p:stCondLst>
                                            <p:cond delay="0"/>
                                          </p:stCondLst>
                                        </p:cTn>
                                        <p:tgtEl>
                                          <p:spTgt spid="11"/>
                                        </p:tgtEl>
                                        <p:attrNameLst>
                                          <p:attrName>style.visibility</p:attrName>
                                        </p:attrNameLst>
                                      </p:cBhvr>
                                      <p:to>
                                        <p:strVal val="visible"/>
                                      </p:to>
                                    </p:set>
                                    <p:animEffect transition="in" filter="wipe(down)">
                                      <p:cBhvr>
                                        <p:cTn id="39" dur="500"/>
                                        <p:tgtEl>
                                          <p:spTgt spid="11"/>
                                        </p:tgtEl>
                                      </p:cBhvr>
                                    </p:animEffect>
                                  </p:childTnLst>
                                </p:cTn>
                              </p:par>
                              <p:par>
                                <p:cTn id="40" presetID="22" presetClass="entr" presetSubtype="4" fill="hold" nodeType="withEffect">
                                  <p:stCondLst>
                                    <p:cond delay="0"/>
                                  </p:stCondLst>
                                  <p:childTnLst>
                                    <p:set>
                                      <p:cBhvr>
                                        <p:cTn id="41" dur="1" fill="hold">
                                          <p:stCondLst>
                                            <p:cond delay="0"/>
                                          </p:stCondLst>
                                        </p:cTn>
                                        <p:tgtEl>
                                          <p:spTgt spid="12"/>
                                        </p:tgtEl>
                                        <p:attrNameLst>
                                          <p:attrName>style.visibility</p:attrName>
                                        </p:attrNameLst>
                                      </p:cBhvr>
                                      <p:to>
                                        <p:strVal val="visible"/>
                                      </p:to>
                                    </p:set>
                                    <p:animEffect transition="in" filter="wipe(down)">
                                      <p:cBhvr>
                                        <p:cTn id="42" dur="500"/>
                                        <p:tgtEl>
                                          <p:spTgt spid="12"/>
                                        </p:tgtEl>
                                      </p:cBhvr>
                                    </p:animEffect>
                                  </p:childTnLst>
                                </p:cTn>
                              </p:par>
                              <p:par>
                                <p:cTn id="43" presetID="22" presetClass="entr" presetSubtype="4" fill="hold" nodeType="withEffect">
                                  <p:stCondLst>
                                    <p:cond delay="0"/>
                                  </p:stCondLst>
                                  <p:childTnLst>
                                    <p:set>
                                      <p:cBhvr>
                                        <p:cTn id="44" dur="1" fill="hold">
                                          <p:stCondLst>
                                            <p:cond delay="0"/>
                                          </p:stCondLst>
                                        </p:cTn>
                                        <p:tgtEl>
                                          <p:spTgt spid="13"/>
                                        </p:tgtEl>
                                        <p:attrNameLst>
                                          <p:attrName>style.visibility</p:attrName>
                                        </p:attrNameLst>
                                      </p:cBhvr>
                                      <p:to>
                                        <p:strVal val="visible"/>
                                      </p:to>
                                    </p:set>
                                    <p:animEffect transition="in" filter="wipe(down)">
                                      <p:cBhvr>
                                        <p:cTn id="45" dur="500"/>
                                        <p:tgtEl>
                                          <p:spTgt spid="13"/>
                                        </p:tgtEl>
                                      </p:cBhvr>
                                    </p:animEffect>
                                  </p:childTnLst>
                                </p:cTn>
                              </p:par>
                              <p:par>
                                <p:cTn id="46" presetID="22" presetClass="entr" presetSubtype="4" fill="hold" nodeType="withEffect">
                                  <p:stCondLst>
                                    <p:cond delay="0"/>
                                  </p:stCondLst>
                                  <p:childTnLst>
                                    <p:set>
                                      <p:cBhvr>
                                        <p:cTn id="47" dur="1" fill="hold">
                                          <p:stCondLst>
                                            <p:cond delay="0"/>
                                          </p:stCondLst>
                                        </p:cTn>
                                        <p:tgtEl>
                                          <p:spTgt spid="15"/>
                                        </p:tgtEl>
                                        <p:attrNameLst>
                                          <p:attrName>style.visibility</p:attrName>
                                        </p:attrNameLst>
                                      </p:cBhvr>
                                      <p:to>
                                        <p:strVal val="visible"/>
                                      </p:to>
                                    </p:set>
                                    <p:animEffect transition="in" filter="wipe(down)">
                                      <p:cBhvr>
                                        <p:cTn id="48" dur="500"/>
                                        <p:tgtEl>
                                          <p:spTgt spid="15"/>
                                        </p:tgtEl>
                                      </p:cBhvr>
                                    </p:animEffect>
                                  </p:childTnLst>
                                </p:cTn>
                              </p:par>
                              <p:par>
                                <p:cTn id="49" presetID="22" presetClass="entr" presetSubtype="4" fill="hold" grpId="0" nodeType="withEffect">
                                  <p:stCondLst>
                                    <p:cond delay="0"/>
                                  </p:stCondLst>
                                  <p:childTnLst>
                                    <p:set>
                                      <p:cBhvr>
                                        <p:cTn id="50" dur="1" fill="hold">
                                          <p:stCondLst>
                                            <p:cond delay="0"/>
                                          </p:stCondLst>
                                        </p:cTn>
                                        <p:tgtEl>
                                          <p:spTgt spid="16"/>
                                        </p:tgtEl>
                                        <p:attrNameLst>
                                          <p:attrName>style.visibility</p:attrName>
                                        </p:attrNameLst>
                                      </p:cBhvr>
                                      <p:to>
                                        <p:strVal val="visible"/>
                                      </p:to>
                                    </p:set>
                                    <p:animEffect transition="in" filter="wipe(down)">
                                      <p:cBhvr>
                                        <p:cTn id="51" dur="500"/>
                                        <p:tgtEl>
                                          <p:spTgt spid="16"/>
                                        </p:tgtEl>
                                      </p:cBhvr>
                                    </p:animEffect>
                                  </p:childTnLst>
                                </p:cTn>
                              </p:par>
                              <p:par>
                                <p:cTn id="52" presetID="22" presetClass="entr" presetSubtype="4" fill="hold" nodeType="withEffect">
                                  <p:stCondLst>
                                    <p:cond delay="0"/>
                                  </p:stCondLst>
                                  <p:childTnLst>
                                    <p:set>
                                      <p:cBhvr>
                                        <p:cTn id="53" dur="1" fill="hold">
                                          <p:stCondLst>
                                            <p:cond delay="0"/>
                                          </p:stCondLst>
                                        </p:cTn>
                                        <p:tgtEl>
                                          <p:spTgt spid="17"/>
                                        </p:tgtEl>
                                        <p:attrNameLst>
                                          <p:attrName>style.visibility</p:attrName>
                                        </p:attrNameLst>
                                      </p:cBhvr>
                                      <p:to>
                                        <p:strVal val="visible"/>
                                      </p:to>
                                    </p:set>
                                    <p:animEffect transition="in" filter="wipe(down)">
                                      <p:cBhvr>
                                        <p:cTn id="54" dur="500"/>
                                        <p:tgtEl>
                                          <p:spTgt spid="17"/>
                                        </p:tgtEl>
                                      </p:cBhvr>
                                    </p:animEffect>
                                  </p:childTnLst>
                                </p:cTn>
                              </p:par>
                              <p:par>
                                <p:cTn id="55" presetID="22" presetClass="entr" presetSubtype="4" fill="hold" nodeType="withEffect">
                                  <p:stCondLst>
                                    <p:cond delay="0"/>
                                  </p:stCondLst>
                                  <p:childTnLst>
                                    <p:set>
                                      <p:cBhvr>
                                        <p:cTn id="56" dur="1" fill="hold">
                                          <p:stCondLst>
                                            <p:cond delay="0"/>
                                          </p:stCondLst>
                                        </p:cTn>
                                        <p:tgtEl>
                                          <p:spTgt spid="18"/>
                                        </p:tgtEl>
                                        <p:attrNameLst>
                                          <p:attrName>style.visibility</p:attrName>
                                        </p:attrNameLst>
                                      </p:cBhvr>
                                      <p:to>
                                        <p:strVal val="visible"/>
                                      </p:to>
                                    </p:set>
                                    <p:animEffect transition="in" filter="wipe(down)">
                                      <p:cBhvr>
                                        <p:cTn id="57" dur="500"/>
                                        <p:tgtEl>
                                          <p:spTgt spid="18"/>
                                        </p:tgtEl>
                                      </p:cBhvr>
                                    </p:animEffect>
                                  </p:childTnLst>
                                </p:cTn>
                              </p:par>
                              <p:par>
                                <p:cTn id="58" presetID="22" presetClass="entr" presetSubtype="4" fill="hold" nodeType="withEffect">
                                  <p:stCondLst>
                                    <p:cond delay="0"/>
                                  </p:stCondLst>
                                  <p:childTnLst>
                                    <p:set>
                                      <p:cBhvr>
                                        <p:cTn id="59" dur="1" fill="hold">
                                          <p:stCondLst>
                                            <p:cond delay="0"/>
                                          </p:stCondLst>
                                        </p:cTn>
                                        <p:tgtEl>
                                          <p:spTgt spid="19"/>
                                        </p:tgtEl>
                                        <p:attrNameLst>
                                          <p:attrName>style.visibility</p:attrName>
                                        </p:attrNameLst>
                                      </p:cBhvr>
                                      <p:to>
                                        <p:strVal val="visible"/>
                                      </p:to>
                                    </p:set>
                                    <p:animEffect transition="in" filter="wipe(down)">
                                      <p:cBhvr>
                                        <p:cTn id="60"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6" grpId="0" animBg="1"/>
      <p:bldP spid="20"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113">
            <a:extLst>
              <a:ext uri="{FF2B5EF4-FFF2-40B4-BE49-F238E27FC236}">
                <a16:creationId xmlns:a16="http://schemas.microsoft.com/office/drawing/2014/main" id="{3DB78693-04F4-486E-AFBC-1CB976F1F2BB}"/>
              </a:ext>
            </a:extLst>
          </p:cNvPr>
          <p:cNvSpPr/>
          <p:nvPr/>
        </p:nvSpPr>
        <p:spPr bwMode="auto">
          <a:xfrm>
            <a:off x="3069329" y="2659786"/>
            <a:ext cx="3910278" cy="3904526"/>
          </a:xfrm>
          <a:prstGeom prst="rect">
            <a:avLst/>
          </a:prstGeom>
          <a:solidFill>
            <a:schemeClr val="accent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46637" numCol="1" spcCol="0" rtlCol="0" fromWordArt="0" anchor="t" anchorCtr="0" forceAA="0" compatLnSpc="1">
            <a:prstTxWarp prst="textNoShape">
              <a:avLst/>
            </a:prstTxWarp>
            <a:noAutofit/>
          </a:bodyPr>
          <a:lstStyle/>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Windows Virtual Desktop </a:t>
            </a:r>
            <a:b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b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Microsoft-managed Azure PaaS</a:t>
            </a:r>
          </a:p>
        </p:txBody>
      </p:sp>
      <p:sp>
        <p:nvSpPr>
          <p:cNvPr id="118" name="Rectangle 117">
            <a:extLst>
              <a:ext uri="{FF2B5EF4-FFF2-40B4-BE49-F238E27FC236}">
                <a16:creationId xmlns:a16="http://schemas.microsoft.com/office/drawing/2014/main" id="{A84C689F-3340-49F5-A7F2-A36864274355}"/>
              </a:ext>
            </a:extLst>
          </p:cNvPr>
          <p:cNvSpPr/>
          <p:nvPr/>
        </p:nvSpPr>
        <p:spPr bwMode="auto">
          <a:xfrm>
            <a:off x="3226471" y="3524364"/>
            <a:ext cx="3545771" cy="2637021"/>
          </a:xfrm>
          <a:prstGeom prst="rect">
            <a:avLst/>
          </a:prstGeom>
          <a:solidFill>
            <a:srgbClr val="767676"/>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640" tIns="137160" rIns="0" bIns="4663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err="1">
              <a:ln>
                <a:noFill/>
              </a:ln>
              <a:solidFill>
                <a:srgbClr val="505050"/>
              </a:solidFill>
              <a:effectLst/>
              <a:uLnTx/>
              <a:uFillTx/>
              <a:latin typeface="Segoe Pro Semibold" panose="020B0702040504020203" pitchFamily="34" charset="0"/>
              <a:ea typeface="+mn-ea"/>
              <a:cs typeface="Segoe UI Light"/>
            </a:endParaRPr>
          </a:p>
        </p:txBody>
      </p:sp>
      <p:grpSp>
        <p:nvGrpSpPr>
          <p:cNvPr id="119" name="Group 118">
            <a:extLst>
              <a:ext uri="{FF2B5EF4-FFF2-40B4-BE49-F238E27FC236}">
                <a16:creationId xmlns:a16="http://schemas.microsoft.com/office/drawing/2014/main" id="{DDDC248B-7FAE-43DF-B584-3D0A9844E22A}"/>
              </a:ext>
            </a:extLst>
          </p:cNvPr>
          <p:cNvGrpSpPr/>
          <p:nvPr/>
        </p:nvGrpSpPr>
        <p:grpSpPr>
          <a:xfrm>
            <a:off x="2842651" y="2659786"/>
            <a:ext cx="187578" cy="3738194"/>
            <a:chOff x="2849277" y="1648178"/>
            <a:chExt cx="187578" cy="3738194"/>
          </a:xfrm>
        </p:grpSpPr>
        <p:cxnSp>
          <p:nvCxnSpPr>
            <p:cNvPr id="120" name="Straight Connector 119">
              <a:extLst>
                <a:ext uri="{FF2B5EF4-FFF2-40B4-BE49-F238E27FC236}">
                  <a16:creationId xmlns:a16="http://schemas.microsoft.com/office/drawing/2014/main" id="{572480E5-3A00-47EB-945D-68C52AC0199B}"/>
                </a:ext>
              </a:extLst>
            </p:cNvPr>
            <p:cNvCxnSpPr>
              <a:cxnSpLocks/>
            </p:cNvCxnSpPr>
            <p:nvPr/>
          </p:nvCxnSpPr>
          <p:spPr>
            <a:xfrm flipV="1">
              <a:off x="2935888" y="1648178"/>
              <a:ext cx="14357" cy="3738194"/>
            </a:xfrm>
            <a:prstGeom prst="line">
              <a:avLst/>
            </a:prstGeom>
            <a:noFill/>
            <a:ln w="38100"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125" name="Rectangle 124">
              <a:extLst>
                <a:ext uri="{FF2B5EF4-FFF2-40B4-BE49-F238E27FC236}">
                  <a16:creationId xmlns:a16="http://schemas.microsoft.com/office/drawing/2014/main" id="{3A1822B5-B8C5-48FB-A7CD-A9FCEC66D2C8}"/>
                </a:ext>
              </a:extLst>
            </p:cNvPr>
            <p:cNvSpPr/>
            <p:nvPr/>
          </p:nvSpPr>
          <p:spPr>
            <a:xfrm rot="16200000">
              <a:off x="2530934" y="3423487"/>
              <a:ext cx="824264" cy="187578"/>
            </a:xfrm>
            <a:prstGeom prst="rect">
              <a:avLst/>
            </a:prstGeom>
            <a:solidFill>
              <a:srgbClr val="E6E6E6"/>
            </a:solidFill>
            <a:effectLst/>
          </p:spPr>
          <p:txBody>
            <a:bodyPr wrap="none" anchor="ctr">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FIREWALL</a:t>
              </a:r>
              <a:endParaRPr kumimoji="0" lang="en-US" sz="11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33" name="Group 132">
            <a:extLst>
              <a:ext uri="{FF2B5EF4-FFF2-40B4-BE49-F238E27FC236}">
                <a16:creationId xmlns:a16="http://schemas.microsoft.com/office/drawing/2014/main" id="{C0AC1B29-DD27-4AB7-B826-F28239F776EC}"/>
              </a:ext>
            </a:extLst>
          </p:cNvPr>
          <p:cNvGrpSpPr/>
          <p:nvPr/>
        </p:nvGrpSpPr>
        <p:grpSpPr>
          <a:xfrm>
            <a:off x="7031995" y="2755616"/>
            <a:ext cx="155930" cy="3691795"/>
            <a:chOff x="2849277" y="128295"/>
            <a:chExt cx="187578" cy="5258077"/>
          </a:xfrm>
        </p:grpSpPr>
        <p:cxnSp>
          <p:nvCxnSpPr>
            <p:cNvPr id="147" name="Straight Connector 146">
              <a:extLst>
                <a:ext uri="{FF2B5EF4-FFF2-40B4-BE49-F238E27FC236}">
                  <a16:creationId xmlns:a16="http://schemas.microsoft.com/office/drawing/2014/main" id="{120E67A5-982A-4349-AB3F-08B00B748BB4}"/>
                </a:ext>
              </a:extLst>
            </p:cNvPr>
            <p:cNvCxnSpPr>
              <a:cxnSpLocks/>
            </p:cNvCxnSpPr>
            <p:nvPr/>
          </p:nvCxnSpPr>
          <p:spPr>
            <a:xfrm flipV="1">
              <a:off x="2935888" y="128295"/>
              <a:ext cx="20194" cy="5258077"/>
            </a:xfrm>
            <a:prstGeom prst="line">
              <a:avLst/>
            </a:prstGeom>
            <a:noFill/>
            <a:ln w="38100"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148" name="Rectangle 147">
              <a:extLst>
                <a:ext uri="{FF2B5EF4-FFF2-40B4-BE49-F238E27FC236}">
                  <a16:creationId xmlns:a16="http://schemas.microsoft.com/office/drawing/2014/main" id="{022A10AA-3850-4E3E-9915-C7992D70FB25}"/>
                </a:ext>
              </a:extLst>
            </p:cNvPr>
            <p:cNvSpPr/>
            <p:nvPr/>
          </p:nvSpPr>
          <p:spPr>
            <a:xfrm rot="16200000">
              <a:off x="2530934" y="2663545"/>
              <a:ext cx="824264" cy="187578"/>
            </a:xfrm>
            <a:prstGeom prst="rect">
              <a:avLst/>
            </a:prstGeom>
            <a:solidFill>
              <a:srgbClr val="E6E6E6"/>
            </a:solidFill>
            <a:effectLst/>
          </p:spPr>
          <p:txBody>
            <a:bodyPr wrap="none" anchor="ctr">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FIREWALL</a:t>
              </a:r>
              <a:endParaRPr kumimoji="0" lang="en-US" sz="11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149" name="Rectangle 148">
            <a:extLst>
              <a:ext uri="{FF2B5EF4-FFF2-40B4-BE49-F238E27FC236}">
                <a16:creationId xmlns:a16="http://schemas.microsoft.com/office/drawing/2014/main" id="{20521BEA-0639-4AF2-B1B0-A47017B00F24}"/>
              </a:ext>
            </a:extLst>
          </p:cNvPr>
          <p:cNvSpPr/>
          <p:nvPr/>
        </p:nvSpPr>
        <p:spPr bwMode="auto">
          <a:xfrm>
            <a:off x="7248938" y="2673573"/>
            <a:ext cx="4357445" cy="3869897"/>
          </a:xfrm>
          <a:prstGeom prst="rect">
            <a:avLst/>
          </a:prstGeom>
          <a:solidFill>
            <a:schemeClr val="accent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82880" rIns="182880" bIns="46637" numCol="1" rtlCol="0" anchor="t" anchorCtr="0" compatLnSpc="1">
            <a:prstTxWarp prst="textNoShape">
              <a:avLst/>
            </a:prstTxWarp>
          </a:bodyPr>
          <a:lstStyle/>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Windows 10 Enterprise multi-session</a:t>
            </a:r>
          </a:p>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Customer-managed Azure VMs &amp; services</a:t>
            </a:r>
          </a:p>
        </p:txBody>
      </p:sp>
      <p:sp>
        <p:nvSpPr>
          <p:cNvPr id="150" name="Rectangle 149">
            <a:extLst>
              <a:ext uri="{FF2B5EF4-FFF2-40B4-BE49-F238E27FC236}">
                <a16:creationId xmlns:a16="http://schemas.microsoft.com/office/drawing/2014/main" id="{D6BFDF53-5942-4943-8272-BDB97CF83977}"/>
              </a:ext>
            </a:extLst>
          </p:cNvPr>
          <p:cNvSpPr/>
          <p:nvPr/>
        </p:nvSpPr>
        <p:spPr bwMode="auto">
          <a:xfrm>
            <a:off x="588263" y="2659786"/>
            <a:ext cx="2236418" cy="3904525"/>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46637" numCol="1" spcCol="0" rtlCol="0" fromWordArt="0" anchor="t" anchorCtr="0" forceAA="0" compatLnSpc="1">
            <a:prstTxWarp prst="textNoShape">
              <a:avLst/>
            </a:prstTxWarp>
            <a:noAutofit/>
          </a:bodyPr>
          <a:lstStyle/>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 RD clients</a:t>
            </a:r>
          </a:p>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Customer-managed</a:t>
            </a:r>
          </a:p>
        </p:txBody>
      </p:sp>
      <p:grpSp>
        <p:nvGrpSpPr>
          <p:cNvPr id="151" name="Group 150">
            <a:extLst>
              <a:ext uri="{FF2B5EF4-FFF2-40B4-BE49-F238E27FC236}">
                <a16:creationId xmlns:a16="http://schemas.microsoft.com/office/drawing/2014/main" id="{503B6C01-EA90-42DB-9671-12F97246BB8F}"/>
              </a:ext>
            </a:extLst>
          </p:cNvPr>
          <p:cNvGrpSpPr/>
          <p:nvPr/>
        </p:nvGrpSpPr>
        <p:grpSpPr>
          <a:xfrm>
            <a:off x="4994175" y="3834996"/>
            <a:ext cx="1703068" cy="587682"/>
            <a:chOff x="4908037" y="3834996"/>
            <a:chExt cx="1703068" cy="587682"/>
          </a:xfrm>
        </p:grpSpPr>
        <p:sp>
          <p:nvSpPr>
            <p:cNvPr id="152" name="Rectangle: Rounded Corners 151">
              <a:extLst>
                <a:ext uri="{FF2B5EF4-FFF2-40B4-BE49-F238E27FC236}">
                  <a16:creationId xmlns:a16="http://schemas.microsoft.com/office/drawing/2014/main" id="{6F5998EC-9006-4367-9868-D2E84D8F2BF5}"/>
                </a:ext>
              </a:extLst>
            </p:cNvPr>
            <p:cNvSpPr/>
            <p:nvPr/>
          </p:nvSpPr>
          <p:spPr bwMode="auto">
            <a:xfrm>
              <a:off x="4908037" y="3834996"/>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53" name="Rectangle: Rounded Corners 152">
              <a:extLst>
                <a:ext uri="{FF2B5EF4-FFF2-40B4-BE49-F238E27FC236}">
                  <a16:creationId xmlns:a16="http://schemas.microsoft.com/office/drawing/2014/main" id="{9D3A483A-D655-404C-AA65-01C032E1DDEE}"/>
                </a:ext>
              </a:extLst>
            </p:cNvPr>
            <p:cNvSpPr/>
            <p:nvPr/>
          </p:nvSpPr>
          <p:spPr bwMode="auto">
            <a:xfrm>
              <a:off x="4943996" y="3879453"/>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54" name="Rectangle: Rounded Corners 153">
              <a:extLst>
                <a:ext uri="{FF2B5EF4-FFF2-40B4-BE49-F238E27FC236}">
                  <a16:creationId xmlns:a16="http://schemas.microsoft.com/office/drawing/2014/main" id="{DC76AF59-95A1-43D4-A54C-355C2EDB514B}"/>
                </a:ext>
              </a:extLst>
            </p:cNvPr>
            <p:cNvSpPr/>
            <p:nvPr/>
          </p:nvSpPr>
          <p:spPr bwMode="auto">
            <a:xfrm>
              <a:off x="4979955"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Diagnostics</a:t>
              </a:r>
            </a:p>
          </p:txBody>
        </p:sp>
        <p:sp>
          <p:nvSpPr>
            <p:cNvPr id="155" name="algorithm" title="Icon of a heartbeat">
              <a:extLst>
                <a:ext uri="{FF2B5EF4-FFF2-40B4-BE49-F238E27FC236}">
                  <a16:creationId xmlns:a16="http://schemas.microsoft.com/office/drawing/2014/main" id="{2D76ED79-C5A3-42DB-AEE0-23E6D3CC89F1}"/>
                </a:ext>
              </a:extLst>
            </p:cNvPr>
            <p:cNvSpPr>
              <a:spLocks noChangeAspect="1" noEditPoints="1"/>
            </p:cNvSpPr>
            <p:nvPr/>
          </p:nvSpPr>
          <p:spPr bwMode="auto">
            <a:xfrm>
              <a:off x="6155405" y="4046929"/>
              <a:ext cx="316179" cy="273715"/>
            </a:xfrm>
            <a:custGeom>
              <a:avLst/>
              <a:gdLst>
                <a:gd name="T0" fmla="*/ 0 w 349"/>
                <a:gd name="T1" fmla="*/ 148 h 302"/>
                <a:gd name="T2" fmla="*/ 78 w 349"/>
                <a:gd name="T3" fmla="*/ 148 h 302"/>
                <a:gd name="T4" fmla="*/ 127 w 349"/>
                <a:gd name="T5" fmla="*/ 0 h 302"/>
                <a:gd name="T6" fmla="*/ 204 w 349"/>
                <a:gd name="T7" fmla="*/ 302 h 302"/>
                <a:gd name="T8" fmla="*/ 265 w 349"/>
                <a:gd name="T9" fmla="*/ 50 h 302"/>
                <a:gd name="T10" fmla="*/ 288 w 349"/>
                <a:gd name="T11" fmla="*/ 148 h 302"/>
                <a:gd name="T12" fmla="*/ 335 w 349"/>
                <a:gd name="T13" fmla="*/ 148 h 302"/>
                <a:gd name="T14" fmla="*/ 335 w 349"/>
                <a:gd name="T15" fmla="*/ 148 h 302"/>
                <a:gd name="T16" fmla="*/ 342 w 349"/>
                <a:gd name="T17" fmla="*/ 155 h 302"/>
                <a:gd name="T18" fmla="*/ 349 w 349"/>
                <a:gd name="T19" fmla="*/ 148 h 302"/>
                <a:gd name="T20" fmla="*/ 342 w 349"/>
                <a:gd name="T21" fmla="*/ 140 h 302"/>
                <a:gd name="T22" fmla="*/ 335 w 349"/>
                <a:gd name="T23" fmla="*/ 14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9" h="302">
                  <a:moveTo>
                    <a:pt x="0" y="148"/>
                  </a:moveTo>
                  <a:cubicBezTo>
                    <a:pt x="78" y="148"/>
                    <a:pt x="78" y="148"/>
                    <a:pt x="78" y="148"/>
                  </a:cubicBezTo>
                  <a:cubicBezTo>
                    <a:pt x="127" y="0"/>
                    <a:pt x="127" y="0"/>
                    <a:pt x="127" y="0"/>
                  </a:cubicBezTo>
                  <a:cubicBezTo>
                    <a:pt x="204" y="302"/>
                    <a:pt x="204" y="302"/>
                    <a:pt x="204" y="302"/>
                  </a:cubicBezTo>
                  <a:cubicBezTo>
                    <a:pt x="265" y="50"/>
                    <a:pt x="265" y="50"/>
                    <a:pt x="265" y="50"/>
                  </a:cubicBezTo>
                  <a:cubicBezTo>
                    <a:pt x="288" y="148"/>
                    <a:pt x="288" y="148"/>
                    <a:pt x="288" y="148"/>
                  </a:cubicBezTo>
                  <a:cubicBezTo>
                    <a:pt x="335" y="148"/>
                    <a:pt x="335" y="148"/>
                    <a:pt x="335" y="148"/>
                  </a:cubicBezTo>
                  <a:moveTo>
                    <a:pt x="335" y="148"/>
                  </a:moveTo>
                  <a:cubicBezTo>
                    <a:pt x="335" y="152"/>
                    <a:pt x="338" y="155"/>
                    <a:pt x="342" y="155"/>
                  </a:cubicBezTo>
                  <a:cubicBezTo>
                    <a:pt x="346" y="155"/>
                    <a:pt x="349" y="152"/>
                    <a:pt x="349" y="148"/>
                  </a:cubicBezTo>
                  <a:cubicBezTo>
                    <a:pt x="349" y="144"/>
                    <a:pt x="346" y="140"/>
                    <a:pt x="342" y="140"/>
                  </a:cubicBezTo>
                  <a:cubicBezTo>
                    <a:pt x="338" y="140"/>
                    <a:pt x="335" y="144"/>
                    <a:pt x="335" y="148"/>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56" name="Group 155">
            <a:extLst>
              <a:ext uri="{FF2B5EF4-FFF2-40B4-BE49-F238E27FC236}">
                <a16:creationId xmlns:a16="http://schemas.microsoft.com/office/drawing/2014/main" id="{81ECE36B-61C5-412C-82D0-47BB791C3756}"/>
              </a:ext>
            </a:extLst>
          </p:cNvPr>
          <p:cNvGrpSpPr/>
          <p:nvPr/>
        </p:nvGrpSpPr>
        <p:grpSpPr>
          <a:xfrm>
            <a:off x="4994175" y="4699961"/>
            <a:ext cx="1703068" cy="587682"/>
            <a:chOff x="4908037" y="4699961"/>
            <a:chExt cx="1703068" cy="587682"/>
          </a:xfrm>
        </p:grpSpPr>
        <p:sp>
          <p:nvSpPr>
            <p:cNvPr id="157" name="Rectangle: Rounded Corners 156">
              <a:extLst>
                <a:ext uri="{FF2B5EF4-FFF2-40B4-BE49-F238E27FC236}">
                  <a16:creationId xmlns:a16="http://schemas.microsoft.com/office/drawing/2014/main" id="{C4DE2297-033B-4DB2-86D4-C1DB054EF603}"/>
                </a:ext>
              </a:extLst>
            </p:cNvPr>
            <p:cNvSpPr/>
            <p:nvPr/>
          </p:nvSpPr>
          <p:spPr bwMode="auto">
            <a:xfrm>
              <a:off x="4908037" y="4699961"/>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58" name="Rectangle: Rounded Corners 157">
              <a:extLst>
                <a:ext uri="{FF2B5EF4-FFF2-40B4-BE49-F238E27FC236}">
                  <a16:creationId xmlns:a16="http://schemas.microsoft.com/office/drawing/2014/main" id="{D6B62881-E7D9-40DC-A85F-501772B78438}"/>
                </a:ext>
              </a:extLst>
            </p:cNvPr>
            <p:cNvSpPr/>
            <p:nvPr/>
          </p:nvSpPr>
          <p:spPr bwMode="auto">
            <a:xfrm>
              <a:off x="4943996" y="47444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59" name="Rectangle: Rounded Corners 158">
              <a:extLst>
                <a:ext uri="{FF2B5EF4-FFF2-40B4-BE49-F238E27FC236}">
                  <a16:creationId xmlns:a16="http://schemas.microsoft.com/office/drawing/2014/main" id="{4EFED4B0-D653-459F-9EE8-AAF48DACA307}"/>
                </a:ext>
              </a:extLst>
            </p:cNvPr>
            <p:cNvSpPr/>
            <p:nvPr/>
          </p:nvSpPr>
          <p:spPr bwMode="auto">
            <a:xfrm>
              <a:off x="4979955"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Broker</a:t>
              </a:r>
            </a:p>
          </p:txBody>
        </p:sp>
        <p:cxnSp>
          <p:nvCxnSpPr>
            <p:cNvPr id="160" name="Straight Connector 159">
              <a:extLst>
                <a:ext uri="{FF2B5EF4-FFF2-40B4-BE49-F238E27FC236}">
                  <a16:creationId xmlns:a16="http://schemas.microsoft.com/office/drawing/2014/main" id="{0107C626-70C2-4462-B0E3-FDBE4521524D}"/>
                </a:ext>
              </a:extLst>
            </p:cNvPr>
            <p:cNvCxnSpPr>
              <a:cxnSpLocks/>
            </p:cNvCxnSpPr>
            <p:nvPr/>
          </p:nvCxnSpPr>
          <p:spPr>
            <a:xfrm>
              <a:off x="6171692" y="5021999"/>
              <a:ext cx="283604" cy="0"/>
            </a:xfrm>
            <a:prstGeom prst="line">
              <a:avLst/>
            </a:prstGeom>
            <a:ln w="12700">
              <a:solidFill>
                <a:schemeClr val="bg1"/>
              </a:solidFill>
              <a:headEnd type="oval" w="sm" len="sm"/>
              <a:tailEnd type="arrow" w="sm" len="sm"/>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42F433F9-A278-4C73-B333-F14B06C0AB06}"/>
                </a:ext>
              </a:extLst>
            </p:cNvPr>
            <p:cNvCxnSpPr>
              <a:cxnSpLocks/>
            </p:cNvCxnSpPr>
            <p:nvPr/>
          </p:nvCxnSpPr>
          <p:spPr>
            <a:xfrm flipV="1">
              <a:off x="6237818" y="4870627"/>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id="{A70844CA-7F9C-4358-AFAB-C2C318B1FA64}"/>
                </a:ext>
              </a:extLst>
            </p:cNvPr>
            <p:cNvCxnSpPr>
              <a:cxnSpLocks/>
            </p:cNvCxnSpPr>
            <p:nvPr/>
          </p:nvCxnSpPr>
          <p:spPr>
            <a:xfrm>
              <a:off x="6239170" y="5025554"/>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grpSp>
      <p:sp>
        <p:nvSpPr>
          <p:cNvPr id="163" name="Rectangle 162">
            <a:extLst>
              <a:ext uri="{FF2B5EF4-FFF2-40B4-BE49-F238E27FC236}">
                <a16:creationId xmlns:a16="http://schemas.microsoft.com/office/drawing/2014/main" id="{2054B6A5-E7B0-4149-90FD-4ECBBD6342DF}"/>
              </a:ext>
            </a:extLst>
          </p:cNvPr>
          <p:cNvSpPr/>
          <p:nvPr/>
        </p:nvSpPr>
        <p:spPr bwMode="auto">
          <a:xfrm>
            <a:off x="7518174" y="3524364"/>
            <a:ext cx="3944798" cy="2020965"/>
          </a:xfrm>
          <a:prstGeom prst="rect">
            <a:avLst/>
          </a:prstGeom>
          <a:solidFill>
            <a:schemeClr val="bg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640" tIns="137160" rIns="0" bIns="4663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endParaRPr>
          </a:p>
        </p:txBody>
      </p:sp>
      <p:grpSp>
        <p:nvGrpSpPr>
          <p:cNvPr id="165" name="Group 164">
            <a:extLst>
              <a:ext uri="{FF2B5EF4-FFF2-40B4-BE49-F238E27FC236}">
                <a16:creationId xmlns:a16="http://schemas.microsoft.com/office/drawing/2014/main" id="{7BE3B930-4457-410C-AF4B-524221325A73}"/>
              </a:ext>
            </a:extLst>
          </p:cNvPr>
          <p:cNvGrpSpPr/>
          <p:nvPr/>
        </p:nvGrpSpPr>
        <p:grpSpPr>
          <a:xfrm>
            <a:off x="7334706" y="3288329"/>
            <a:ext cx="378819" cy="378819"/>
            <a:chOff x="5564119" y="2081144"/>
            <a:chExt cx="501718" cy="501718"/>
          </a:xfrm>
        </p:grpSpPr>
        <p:sp>
          <p:nvSpPr>
            <p:cNvPr id="166" name="Diamond 165">
              <a:extLst>
                <a:ext uri="{FF2B5EF4-FFF2-40B4-BE49-F238E27FC236}">
                  <a16:creationId xmlns:a16="http://schemas.microsoft.com/office/drawing/2014/main" id="{2083CC6D-A3BC-48DF-A33A-705359D024CA}"/>
                </a:ext>
              </a:extLst>
            </p:cNvPr>
            <p:cNvSpPr/>
            <p:nvPr/>
          </p:nvSpPr>
          <p:spPr bwMode="auto">
            <a:xfrm>
              <a:off x="5614884" y="2160973"/>
              <a:ext cx="418054" cy="39572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169" name="Graphic 168">
              <a:extLst>
                <a:ext uri="{FF2B5EF4-FFF2-40B4-BE49-F238E27FC236}">
                  <a16:creationId xmlns:a16="http://schemas.microsoft.com/office/drawing/2014/main" id="{86180137-E95A-44C5-B36C-D4BE48BBC719}"/>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564119" y="2081144"/>
              <a:ext cx="501718" cy="501718"/>
            </a:xfrm>
            <a:prstGeom prst="rect">
              <a:avLst/>
            </a:prstGeom>
          </p:spPr>
        </p:pic>
      </p:grpSp>
      <p:grpSp>
        <p:nvGrpSpPr>
          <p:cNvPr id="171" name="Group 170">
            <a:extLst>
              <a:ext uri="{FF2B5EF4-FFF2-40B4-BE49-F238E27FC236}">
                <a16:creationId xmlns:a16="http://schemas.microsoft.com/office/drawing/2014/main" id="{2E53121B-F0F5-4A59-9C58-48C4F992D1EF}"/>
              </a:ext>
            </a:extLst>
          </p:cNvPr>
          <p:cNvGrpSpPr/>
          <p:nvPr/>
        </p:nvGrpSpPr>
        <p:grpSpPr>
          <a:xfrm>
            <a:off x="7787505" y="3882836"/>
            <a:ext cx="3370177" cy="587682"/>
            <a:chOff x="3519131" y="2542018"/>
            <a:chExt cx="3370177" cy="587682"/>
          </a:xfrm>
        </p:grpSpPr>
        <p:grpSp>
          <p:nvGrpSpPr>
            <p:cNvPr id="185" name="Group 184">
              <a:extLst>
                <a:ext uri="{FF2B5EF4-FFF2-40B4-BE49-F238E27FC236}">
                  <a16:creationId xmlns:a16="http://schemas.microsoft.com/office/drawing/2014/main" id="{711E7E85-7FCA-496E-9E1A-05073F54596E}"/>
                </a:ext>
              </a:extLst>
            </p:cNvPr>
            <p:cNvGrpSpPr/>
            <p:nvPr/>
          </p:nvGrpSpPr>
          <p:grpSpPr>
            <a:xfrm>
              <a:off x="3519131" y="2542018"/>
              <a:ext cx="3334218" cy="498768"/>
              <a:chOff x="7837970" y="2542018"/>
              <a:chExt cx="3334218" cy="498768"/>
            </a:xfrm>
          </p:grpSpPr>
          <p:sp>
            <p:nvSpPr>
              <p:cNvPr id="198" name="Rectangle: Rounded Corners 197">
                <a:extLst>
                  <a:ext uri="{FF2B5EF4-FFF2-40B4-BE49-F238E27FC236}">
                    <a16:creationId xmlns:a16="http://schemas.microsoft.com/office/drawing/2014/main" id="{EEF95112-CACF-4AEB-BBA4-B64F81F9606B}"/>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99" name="Rectangle: Rounded Corners 198">
                <a:extLst>
                  <a:ext uri="{FF2B5EF4-FFF2-40B4-BE49-F238E27FC236}">
                    <a16:creationId xmlns:a16="http://schemas.microsoft.com/office/drawing/2014/main" id="{0BD765D6-2426-43F0-9A5A-A4D0798EDF33}"/>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187" name="Group 186">
              <a:extLst>
                <a:ext uri="{FF2B5EF4-FFF2-40B4-BE49-F238E27FC236}">
                  <a16:creationId xmlns:a16="http://schemas.microsoft.com/office/drawing/2014/main" id="{3F6FC8C3-A4E9-474C-8E48-55913E471AAE}"/>
                </a:ext>
              </a:extLst>
            </p:cNvPr>
            <p:cNvGrpSpPr/>
            <p:nvPr/>
          </p:nvGrpSpPr>
          <p:grpSpPr>
            <a:xfrm>
              <a:off x="3555090" y="2586475"/>
              <a:ext cx="3334218" cy="498768"/>
              <a:chOff x="7837970" y="2542018"/>
              <a:chExt cx="3334218" cy="498768"/>
            </a:xfrm>
          </p:grpSpPr>
          <p:sp>
            <p:nvSpPr>
              <p:cNvPr id="196" name="Rectangle: Rounded Corners 195">
                <a:extLst>
                  <a:ext uri="{FF2B5EF4-FFF2-40B4-BE49-F238E27FC236}">
                    <a16:creationId xmlns:a16="http://schemas.microsoft.com/office/drawing/2014/main" id="{AA42F435-5D8F-43B2-82D4-4A750635A02A}"/>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97" name="Rectangle: Rounded Corners 196">
                <a:extLst>
                  <a:ext uri="{FF2B5EF4-FFF2-40B4-BE49-F238E27FC236}">
                    <a16:creationId xmlns:a16="http://schemas.microsoft.com/office/drawing/2014/main" id="{14E61E8B-5CBC-4D17-8F7A-3EA5343427E5}"/>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193" name="Group 192">
              <a:extLst>
                <a:ext uri="{FF2B5EF4-FFF2-40B4-BE49-F238E27FC236}">
                  <a16:creationId xmlns:a16="http://schemas.microsoft.com/office/drawing/2014/main" id="{6AF7DAE1-7254-4163-9BD9-891BBE4095FB}"/>
                </a:ext>
              </a:extLst>
            </p:cNvPr>
            <p:cNvGrpSpPr/>
            <p:nvPr/>
          </p:nvGrpSpPr>
          <p:grpSpPr>
            <a:xfrm>
              <a:off x="3591049" y="2630932"/>
              <a:ext cx="2630109" cy="498768"/>
              <a:chOff x="7837970" y="2542018"/>
              <a:chExt cx="2630109" cy="498768"/>
            </a:xfrm>
          </p:grpSpPr>
          <p:sp>
            <p:nvSpPr>
              <p:cNvPr id="194" name="Rectangle: Rounded Corners 193">
                <a:extLst>
                  <a:ext uri="{FF2B5EF4-FFF2-40B4-BE49-F238E27FC236}">
                    <a16:creationId xmlns:a16="http://schemas.microsoft.com/office/drawing/2014/main" id="{F4972C6D-3A5F-4EFA-BA67-6FE5FAB54426}"/>
                  </a:ext>
                </a:extLst>
              </p:cNvPr>
              <p:cNvSpPr/>
              <p:nvPr/>
            </p:nvSpPr>
            <p:spPr bwMode="auto">
              <a:xfrm>
                <a:off x="7837970" y="2542018"/>
                <a:ext cx="1092488"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Desktops in Host Pools</a:t>
                </a:r>
              </a:p>
            </p:txBody>
          </p:sp>
          <p:sp>
            <p:nvSpPr>
              <p:cNvPr id="195" name="Rectangle: Rounded Corners 194">
                <a:extLst>
                  <a:ext uri="{FF2B5EF4-FFF2-40B4-BE49-F238E27FC236}">
                    <a16:creationId xmlns:a16="http://schemas.microsoft.com/office/drawing/2014/main" id="{C0855252-FF02-42B6-95D8-DC55159634C1}"/>
                  </a:ext>
                </a:extLst>
              </p:cNvPr>
              <p:cNvSpPr/>
              <p:nvPr/>
            </p:nvSpPr>
            <p:spPr bwMode="auto">
              <a:xfrm>
                <a:off x="9541038" y="2542018"/>
                <a:ext cx="927041"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Apps in Host Pools</a:t>
                </a:r>
              </a:p>
            </p:txBody>
          </p:sp>
        </p:grpSp>
      </p:grpSp>
      <p:sp>
        <p:nvSpPr>
          <p:cNvPr id="209" name="desktop" title="a desktop PC">
            <a:extLst>
              <a:ext uri="{FF2B5EF4-FFF2-40B4-BE49-F238E27FC236}">
                <a16:creationId xmlns:a16="http://schemas.microsoft.com/office/drawing/2014/main" id="{F809EEF7-DA96-4A2A-A507-E86B526AFD89}"/>
              </a:ext>
            </a:extLst>
          </p:cNvPr>
          <p:cNvSpPr>
            <a:spLocks noChangeAspect="1" noEditPoints="1"/>
          </p:cNvSpPr>
          <p:nvPr/>
        </p:nvSpPr>
        <p:spPr bwMode="auto">
          <a:xfrm>
            <a:off x="8930300" y="4071121"/>
            <a:ext cx="291984" cy="287217"/>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0" name="GenericApp_EB3B" title="Icon of an app window">
            <a:extLst>
              <a:ext uri="{FF2B5EF4-FFF2-40B4-BE49-F238E27FC236}">
                <a16:creationId xmlns:a16="http://schemas.microsoft.com/office/drawing/2014/main" id="{B25F7052-242C-4E52-B4A7-36720DB1CAE7}"/>
              </a:ext>
            </a:extLst>
          </p:cNvPr>
          <p:cNvSpPr>
            <a:spLocks noChangeAspect="1" noEditPoints="1"/>
          </p:cNvSpPr>
          <p:nvPr/>
        </p:nvSpPr>
        <p:spPr bwMode="auto">
          <a:xfrm>
            <a:off x="10561450" y="4080922"/>
            <a:ext cx="350390" cy="280423"/>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srgbClr val="505050"/>
              </a:solidFill>
              <a:effectLst/>
              <a:uLnTx/>
              <a:uFillTx/>
              <a:latin typeface="Segoe UI"/>
              <a:ea typeface="+mn-ea"/>
              <a:cs typeface="+mn-cs"/>
            </a:endParaRPr>
          </a:p>
        </p:txBody>
      </p:sp>
      <p:grpSp>
        <p:nvGrpSpPr>
          <p:cNvPr id="218" name="Group 217">
            <a:extLst>
              <a:ext uri="{FF2B5EF4-FFF2-40B4-BE49-F238E27FC236}">
                <a16:creationId xmlns:a16="http://schemas.microsoft.com/office/drawing/2014/main" id="{320683BF-A2B6-4DBC-B72F-B8F19C004993}"/>
              </a:ext>
            </a:extLst>
          </p:cNvPr>
          <p:cNvGrpSpPr/>
          <p:nvPr/>
        </p:nvGrpSpPr>
        <p:grpSpPr>
          <a:xfrm>
            <a:off x="9293160" y="4013418"/>
            <a:ext cx="1846543" cy="154356"/>
            <a:chOff x="9293160" y="2701454"/>
            <a:chExt cx="1846543" cy="154356"/>
          </a:xfrm>
        </p:grpSpPr>
        <p:sp>
          <p:nvSpPr>
            <p:cNvPr id="219" name="Oval 218">
              <a:extLst>
                <a:ext uri="{FF2B5EF4-FFF2-40B4-BE49-F238E27FC236}">
                  <a16:creationId xmlns:a16="http://schemas.microsoft.com/office/drawing/2014/main" id="{45ABEBFA-871F-4F2D-AF11-830EC1C1B80D}"/>
                </a:ext>
              </a:extLst>
            </p:cNvPr>
            <p:cNvSpPr/>
            <p:nvPr/>
          </p:nvSpPr>
          <p:spPr bwMode="auto">
            <a:xfrm>
              <a:off x="9293160" y="2701454"/>
              <a:ext cx="149098" cy="149098"/>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dirty="0">
                  <a:ln>
                    <a:noFill/>
                  </a:ln>
                  <a:solidFill>
                    <a:srgbClr val="0078D4"/>
                  </a:solidFill>
                  <a:effectLst/>
                  <a:uLnTx/>
                  <a:uFillTx/>
                  <a:latin typeface="Segoe UI"/>
                  <a:ea typeface="+mn-ea"/>
                  <a:cs typeface="+mn-cs"/>
                </a:rPr>
                <a:t>A</a:t>
              </a:r>
            </a:p>
          </p:txBody>
        </p:sp>
        <p:sp>
          <p:nvSpPr>
            <p:cNvPr id="220" name="Oval 219">
              <a:extLst>
                <a:ext uri="{FF2B5EF4-FFF2-40B4-BE49-F238E27FC236}">
                  <a16:creationId xmlns:a16="http://schemas.microsoft.com/office/drawing/2014/main" id="{E974F190-2559-451F-A13E-593CD5532CE3}"/>
                </a:ext>
              </a:extLst>
            </p:cNvPr>
            <p:cNvSpPr/>
            <p:nvPr/>
          </p:nvSpPr>
          <p:spPr bwMode="auto">
            <a:xfrm>
              <a:off x="10990605" y="2706712"/>
              <a:ext cx="149098" cy="149098"/>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dirty="0">
                  <a:ln>
                    <a:noFill/>
                  </a:ln>
                  <a:solidFill>
                    <a:srgbClr val="0078D4"/>
                  </a:solidFill>
                  <a:effectLst/>
                  <a:uLnTx/>
                  <a:uFillTx/>
                  <a:latin typeface="Segoe UI"/>
                  <a:ea typeface="+mn-ea"/>
                  <a:cs typeface="+mn-cs"/>
                </a:rPr>
                <a:t>A</a:t>
              </a:r>
            </a:p>
          </p:txBody>
        </p:sp>
      </p:grpSp>
      <p:grpSp>
        <p:nvGrpSpPr>
          <p:cNvPr id="221" name="Group 220">
            <a:extLst>
              <a:ext uri="{FF2B5EF4-FFF2-40B4-BE49-F238E27FC236}">
                <a16:creationId xmlns:a16="http://schemas.microsoft.com/office/drawing/2014/main" id="{1735E39B-D355-4F68-8888-324A84770D31}"/>
              </a:ext>
            </a:extLst>
          </p:cNvPr>
          <p:cNvGrpSpPr/>
          <p:nvPr/>
        </p:nvGrpSpPr>
        <p:grpSpPr>
          <a:xfrm>
            <a:off x="899303" y="3341056"/>
            <a:ext cx="1626420" cy="2908602"/>
            <a:chOff x="899303" y="2229846"/>
            <a:chExt cx="1626420" cy="2908602"/>
          </a:xfrm>
        </p:grpSpPr>
        <p:sp>
          <p:nvSpPr>
            <p:cNvPr id="222" name="Oval 221">
              <a:extLst>
                <a:ext uri="{FF2B5EF4-FFF2-40B4-BE49-F238E27FC236}">
                  <a16:creationId xmlns:a16="http://schemas.microsoft.com/office/drawing/2014/main" id="{7DF60BE3-F109-485D-9700-520AC407EBB8}"/>
                </a:ext>
              </a:extLst>
            </p:cNvPr>
            <p:cNvSpPr/>
            <p:nvPr/>
          </p:nvSpPr>
          <p:spPr bwMode="auto">
            <a:xfrm>
              <a:off x="899303" y="2229846"/>
              <a:ext cx="835378" cy="835378"/>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640" tIns="137160" rIns="0" bIns="4663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endParaRPr>
            </a:p>
          </p:txBody>
        </p:sp>
        <p:sp>
          <p:nvSpPr>
            <p:cNvPr id="223" name="Oval 222">
              <a:extLst>
                <a:ext uri="{FF2B5EF4-FFF2-40B4-BE49-F238E27FC236}">
                  <a16:creationId xmlns:a16="http://schemas.microsoft.com/office/drawing/2014/main" id="{87EDE430-C86E-4D2E-8601-43D4212DC534}"/>
                </a:ext>
              </a:extLst>
            </p:cNvPr>
            <p:cNvSpPr/>
            <p:nvPr/>
          </p:nvSpPr>
          <p:spPr bwMode="auto">
            <a:xfrm>
              <a:off x="899303" y="3266458"/>
              <a:ext cx="835378" cy="835378"/>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640" tIns="137160" rIns="0" bIns="4663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endParaRPr>
            </a:p>
          </p:txBody>
        </p:sp>
        <p:sp>
          <p:nvSpPr>
            <p:cNvPr id="226" name="Oval 225">
              <a:extLst>
                <a:ext uri="{FF2B5EF4-FFF2-40B4-BE49-F238E27FC236}">
                  <a16:creationId xmlns:a16="http://schemas.microsoft.com/office/drawing/2014/main" id="{1266CEDA-5C52-46E8-AA2D-96AA839042FC}"/>
                </a:ext>
              </a:extLst>
            </p:cNvPr>
            <p:cNvSpPr/>
            <p:nvPr/>
          </p:nvSpPr>
          <p:spPr bwMode="auto">
            <a:xfrm>
              <a:off x="899303" y="4303070"/>
              <a:ext cx="835378" cy="835378"/>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640" tIns="137160" rIns="0" bIns="4663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endParaRPr>
            </a:p>
          </p:txBody>
        </p:sp>
        <p:grpSp>
          <p:nvGrpSpPr>
            <p:cNvPr id="227" name="Group 226">
              <a:extLst>
                <a:ext uri="{FF2B5EF4-FFF2-40B4-BE49-F238E27FC236}">
                  <a16:creationId xmlns:a16="http://schemas.microsoft.com/office/drawing/2014/main" id="{07B5E88F-2C5D-4528-B48C-63DA17C8B289}"/>
                </a:ext>
              </a:extLst>
            </p:cNvPr>
            <p:cNvGrpSpPr/>
            <p:nvPr/>
          </p:nvGrpSpPr>
          <p:grpSpPr>
            <a:xfrm>
              <a:off x="2043658" y="2532747"/>
              <a:ext cx="482065" cy="2255907"/>
              <a:chOff x="2224274" y="2338191"/>
              <a:chExt cx="482065" cy="2255907"/>
            </a:xfrm>
          </p:grpSpPr>
          <p:grpSp>
            <p:nvGrpSpPr>
              <p:cNvPr id="233" name="Group 232">
                <a:extLst>
                  <a:ext uri="{FF2B5EF4-FFF2-40B4-BE49-F238E27FC236}">
                    <a16:creationId xmlns:a16="http://schemas.microsoft.com/office/drawing/2014/main" id="{EAC87E12-3B9D-46A8-A048-7C763C959A84}"/>
                  </a:ext>
                </a:extLst>
              </p:cNvPr>
              <p:cNvGrpSpPr/>
              <p:nvPr/>
            </p:nvGrpSpPr>
            <p:grpSpPr>
              <a:xfrm>
                <a:off x="2281302" y="3639439"/>
                <a:ext cx="319498" cy="414180"/>
                <a:chOff x="5866856" y="4829242"/>
                <a:chExt cx="702675" cy="865083"/>
              </a:xfrm>
            </p:grpSpPr>
            <p:sp>
              <p:nvSpPr>
                <p:cNvPr id="241" name="Freeform 12">
                  <a:extLst>
                    <a:ext uri="{FF2B5EF4-FFF2-40B4-BE49-F238E27FC236}">
                      <a16:creationId xmlns:a16="http://schemas.microsoft.com/office/drawing/2014/main" id="{D0814F50-2C8C-4A6E-95E9-157903482238}"/>
                    </a:ext>
                  </a:extLst>
                </p:cNvPr>
                <p:cNvSpPr>
                  <a:spLocks/>
                </p:cNvSpPr>
                <p:nvPr/>
              </p:nvSpPr>
              <p:spPr bwMode="auto">
                <a:xfrm>
                  <a:off x="5866856" y="5025048"/>
                  <a:ext cx="702675" cy="669277"/>
                </a:xfrm>
                <a:custGeom>
                  <a:avLst/>
                  <a:gdLst>
                    <a:gd name="T0" fmla="*/ 379 w 454"/>
                    <a:gd name="T1" fmla="*/ 174 h 432"/>
                    <a:gd name="T2" fmla="*/ 440 w 454"/>
                    <a:gd name="T3" fmla="*/ 60 h 432"/>
                    <a:gd name="T4" fmla="*/ 412 w 454"/>
                    <a:gd name="T5" fmla="*/ 33 h 432"/>
                    <a:gd name="T6" fmla="*/ 275 w 454"/>
                    <a:gd name="T7" fmla="*/ 18 h 432"/>
                    <a:gd name="T8" fmla="*/ 187 w 454"/>
                    <a:gd name="T9" fmla="*/ 18 h 432"/>
                    <a:gd name="T10" fmla="*/ 96 w 454"/>
                    <a:gd name="T11" fmla="*/ 16 h 432"/>
                    <a:gd name="T12" fmla="*/ 3 w 454"/>
                    <a:gd name="T13" fmla="*/ 154 h 432"/>
                    <a:gd name="T14" fmla="*/ 32 w 454"/>
                    <a:gd name="T15" fmla="*/ 304 h 432"/>
                    <a:gd name="T16" fmla="*/ 101 w 454"/>
                    <a:gd name="T17" fmla="*/ 405 h 432"/>
                    <a:gd name="T18" fmla="*/ 170 w 454"/>
                    <a:gd name="T19" fmla="*/ 421 h 432"/>
                    <a:gd name="T20" fmla="*/ 193 w 454"/>
                    <a:gd name="T21" fmla="*/ 413 h 432"/>
                    <a:gd name="T22" fmla="*/ 285 w 454"/>
                    <a:gd name="T23" fmla="*/ 413 h 432"/>
                    <a:gd name="T24" fmla="*/ 307 w 454"/>
                    <a:gd name="T25" fmla="*/ 421 h 432"/>
                    <a:gd name="T26" fmla="*/ 374 w 454"/>
                    <a:gd name="T27" fmla="*/ 406 h 432"/>
                    <a:gd name="T28" fmla="*/ 426 w 454"/>
                    <a:gd name="T29" fmla="*/ 338 h 432"/>
                    <a:gd name="T30" fmla="*/ 454 w 454"/>
                    <a:gd name="T31" fmla="*/ 280 h 432"/>
                    <a:gd name="T32" fmla="*/ 379 w 454"/>
                    <a:gd name="T33" fmla="*/ 174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4" h="432">
                      <a:moveTo>
                        <a:pt x="379" y="174"/>
                      </a:moveTo>
                      <a:cubicBezTo>
                        <a:pt x="375" y="125"/>
                        <a:pt x="397" y="88"/>
                        <a:pt x="440" y="60"/>
                      </a:cubicBezTo>
                      <a:cubicBezTo>
                        <a:pt x="430" y="51"/>
                        <a:pt x="422" y="40"/>
                        <a:pt x="412" y="33"/>
                      </a:cubicBezTo>
                      <a:cubicBezTo>
                        <a:pt x="369" y="2"/>
                        <a:pt x="323" y="0"/>
                        <a:pt x="275" y="18"/>
                      </a:cubicBezTo>
                      <a:cubicBezTo>
                        <a:pt x="224" y="36"/>
                        <a:pt x="239" y="37"/>
                        <a:pt x="187" y="18"/>
                      </a:cubicBezTo>
                      <a:cubicBezTo>
                        <a:pt x="156" y="6"/>
                        <a:pt x="126" y="4"/>
                        <a:pt x="96" y="16"/>
                      </a:cubicBezTo>
                      <a:cubicBezTo>
                        <a:pt x="36" y="39"/>
                        <a:pt x="7" y="96"/>
                        <a:pt x="3" y="154"/>
                      </a:cubicBezTo>
                      <a:cubicBezTo>
                        <a:pt x="0" y="207"/>
                        <a:pt x="11" y="256"/>
                        <a:pt x="32" y="304"/>
                      </a:cubicBezTo>
                      <a:cubicBezTo>
                        <a:pt x="49" y="342"/>
                        <a:pt x="71" y="376"/>
                        <a:pt x="101" y="405"/>
                      </a:cubicBezTo>
                      <a:cubicBezTo>
                        <a:pt x="121" y="424"/>
                        <a:pt x="143" y="432"/>
                        <a:pt x="170" y="421"/>
                      </a:cubicBezTo>
                      <a:cubicBezTo>
                        <a:pt x="178" y="418"/>
                        <a:pt x="186" y="416"/>
                        <a:pt x="193" y="413"/>
                      </a:cubicBezTo>
                      <a:cubicBezTo>
                        <a:pt x="224" y="400"/>
                        <a:pt x="254" y="400"/>
                        <a:pt x="285" y="413"/>
                      </a:cubicBezTo>
                      <a:cubicBezTo>
                        <a:pt x="292" y="417"/>
                        <a:pt x="300" y="419"/>
                        <a:pt x="307" y="421"/>
                      </a:cubicBezTo>
                      <a:cubicBezTo>
                        <a:pt x="332" y="428"/>
                        <a:pt x="355" y="424"/>
                        <a:pt x="374" y="406"/>
                      </a:cubicBezTo>
                      <a:cubicBezTo>
                        <a:pt x="396" y="387"/>
                        <a:pt x="412" y="363"/>
                        <a:pt x="426" y="338"/>
                      </a:cubicBezTo>
                      <a:cubicBezTo>
                        <a:pt x="437" y="319"/>
                        <a:pt x="445" y="299"/>
                        <a:pt x="454" y="280"/>
                      </a:cubicBezTo>
                      <a:cubicBezTo>
                        <a:pt x="409" y="257"/>
                        <a:pt x="382" y="223"/>
                        <a:pt x="379" y="17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sp>
              <p:nvSpPr>
                <p:cNvPr id="242" name="Freeform 13">
                  <a:extLst>
                    <a:ext uri="{FF2B5EF4-FFF2-40B4-BE49-F238E27FC236}">
                      <a16:creationId xmlns:a16="http://schemas.microsoft.com/office/drawing/2014/main" id="{1CFB0E51-568F-4682-8D96-428BAC803ECF}"/>
                    </a:ext>
                  </a:extLst>
                </p:cNvPr>
                <p:cNvSpPr>
                  <a:spLocks/>
                </p:cNvSpPr>
                <p:nvPr/>
              </p:nvSpPr>
              <p:spPr bwMode="auto">
                <a:xfrm>
                  <a:off x="6211971" y="4829242"/>
                  <a:ext cx="185983" cy="203008"/>
                </a:xfrm>
                <a:custGeom>
                  <a:avLst/>
                  <a:gdLst>
                    <a:gd name="T0" fmla="*/ 115 w 120"/>
                    <a:gd name="T1" fmla="*/ 0 h 131"/>
                    <a:gd name="T2" fmla="*/ 38 w 120"/>
                    <a:gd name="T3" fmla="*/ 36 h 131"/>
                    <a:gd name="T4" fmla="*/ 4 w 120"/>
                    <a:gd name="T5" fmla="*/ 126 h 131"/>
                    <a:gd name="T6" fmla="*/ 115 w 120"/>
                    <a:gd name="T7" fmla="*/ 0 h 131"/>
                  </a:gdLst>
                  <a:ahLst/>
                  <a:cxnLst>
                    <a:cxn ang="0">
                      <a:pos x="T0" y="T1"/>
                    </a:cxn>
                    <a:cxn ang="0">
                      <a:pos x="T2" y="T3"/>
                    </a:cxn>
                    <a:cxn ang="0">
                      <a:pos x="T4" y="T5"/>
                    </a:cxn>
                    <a:cxn ang="0">
                      <a:pos x="T6" y="T7"/>
                    </a:cxn>
                  </a:cxnLst>
                  <a:rect l="0" t="0" r="r" b="b"/>
                  <a:pathLst>
                    <a:path w="120" h="131">
                      <a:moveTo>
                        <a:pt x="115" y="0"/>
                      </a:moveTo>
                      <a:cubicBezTo>
                        <a:pt x="84" y="2"/>
                        <a:pt x="59" y="15"/>
                        <a:pt x="38" y="36"/>
                      </a:cubicBezTo>
                      <a:cubicBezTo>
                        <a:pt x="14" y="61"/>
                        <a:pt x="0" y="90"/>
                        <a:pt x="4" y="126"/>
                      </a:cubicBezTo>
                      <a:cubicBezTo>
                        <a:pt x="64" y="131"/>
                        <a:pt x="120" y="68"/>
                        <a:pt x="115"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34" name="Group 233">
                <a:extLst>
                  <a:ext uri="{FF2B5EF4-FFF2-40B4-BE49-F238E27FC236}">
                    <a16:creationId xmlns:a16="http://schemas.microsoft.com/office/drawing/2014/main" id="{FD11D71D-BBC5-4669-BB0A-C7B482612858}"/>
                  </a:ext>
                </a:extLst>
              </p:cNvPr>
              <p:cNvGrpSpPr/>
              <p:nvPr/>
            </p:nvGrpSpPr>
            <p:grpSpPr>
              <a:xfrm>
                <a:off x="2286418" y="3019895"/>
                <a:ext cx="335350" cy="419905"/>
                <a:chOff x="13987161" y="3323588"/>
                <a:chExt cx="2047876" cy="2435225"/>
              </a:xfrm>
              <a:solidFill>
                <a:schemeClr val="bg1"/>
              </a:solidFill>
            </p:grpSpPr>
            <p:sp>
              <p:nvSpPr>
                <p:cNvPr id="237" name="Freeform 50">
                  <a:extLst>
                    <a:ext uri="{FF2B5EF4-FFF2-40B4-BE49-F238E27FC236}">
                      <a16:creationId xmlns:a16="http://schemas.microsoft.com/office/drawing/2014/main" id="{0D08F7CB-DCD8-4B2E-91FE-D02B9D4F6B6B}"/>
                    </a:ext>
                  </a:extLst>
                </p:cNvPr>
                <p:cNvSpPr>
                  <a:spLocks/>
                </p:cNvSpPr>
                <p:nvPr/>
              </p:nvSpPr>
              <p:spPr bwMode="auto">
                <a:xfrm>
                  <a:off x="14341178" y="4145911"/>
                  <a:ext cx="1344611" cy="1612902"/>
                </a:xfrm>
                <a:custGeom>
                  <a:avLst/>
                  <a:gdLst>
                    <a:gd name="T0" fmla="*/ 0 w 358"/>
                    <a:gd name="T1" fmla="*/ 6 h 429"/>
                    <a:gd name="T2" fmla="*/ 0 w 358"/>
                    <a:gd name="T3" fmla="*/ 258 h 429"/>
                    <a:gd name="T4" fmla="*/ 44 w 358"/>
                    <a:gd name="T5" fmla="*/ 302 h 429"/>
                    <a:gd name="T6" fmla="*/ 72 w 358"/>
                    <a:gd name="T7" fmla="*/ 302 h 429"/>
                    <a:gd name="T8" fmla="*/ 72 w 358"/>
                    <a:gd name="T9" fmla="*/ 388 h 429"/>
                    <a:gd name="T10" fmla="*/ 112 w 358"/>
                    <a:gd name="T11" fmla="*/ 429 h 429"/>
                    <a:gd name="T12" fmla="*/ 152 w 358"/>
                    <a:gd name="T13" fmla="*/ 388 h 429"/>
                    <a:gd name="T14" fmla="*/ 152 w 358"/>
                    <a:gd name="T15" fmla="*/ 313 h 429"/>
                    <a:gd name="T16" fmla="*/ 152 w 358"/>
                    <a:gd name="T17" fmla="*/ 303 h 429"/>
                    <a:gd name="T18" fmla="*/ 205 w 358"/>
                    <a:gd name="T19" fmla="*/ 303 h 429"/>
                    <a:gd name="T20" fmla="*/ 205 w 358"/>
                    <a:gd name="T21" fmla="*/ 317 h 429"/>
                    <a:gd name="T22" fmla="*/ 205 w 358"/>
                    <a:gd name="T23" fmla="*/ 388 h 429"/>
                    <a:gd name="T24" fmla="*/ 246 w 358"/>
                    <a:gd name="T25" fmla="*/ 429 h 429"/>
                    <a:gd name="T26" fmla="*/ 285 w 358"/>
                    <a:gd name="T27" fmla="*/ 388 h 429"/>
                    <a:gd name="T28" fmla="*/ 285 w 358"/>
                    <a:gd name="T29" fmla="*/ 332 h 429"/>
                    <a:gd name="T30" fmla="*/ 285 w 358"/>
                    <a:gd name="T31" fmla="*/ 302 h 429"/>
                    <a:gd name="T32" fmla="*/ 307 w 358"/>
                    <a:gd name="T33" fmla="*/ 302 h 429"/>
                    <a:gd name="T34" fmla="*/ 358 w 358"/>
                    <a:gd name="T35" fmla="*/ 251 h 429"/>
                    <a:gd name="T36" fmla="*/ 358 w 358"/>
                    <a:gd name="T37" fmla="*/ 12 h 429"/>
                    <a:gd name="T38" fmla="*/ 358 w 358"/>
                    <a:gd name="T39" fmla="*/ 0 h 429"/>
                    <a:gd name="T40" fmla="*/ 1 w 358"/>
                    <a:gd name="T41" fmla="*/ 0 h 429"/>
                    <a:gd name="T42" fmla="*/ 0 w 358"/>
                    <a:gd name="T43" fmla="*/ 6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 h="429">
                      <a:moveTo>
                        <a:pt x="0" y="6"/>
                      </a:moveTo>
                      <a:cubicBezTo>
                        <a:pt x="0" y="90"/>
                        <a:pt x="0" y="174"/>
                        <a:pt x="0" y="258"/>
                      </a:cubicBezTo>
                      <a:cubicBezTo>
                        <a:pt x="0" y="284"/>
                        <a:pt x="18" y="301"/>
                        <a:pt x="44" y="302"/>
                      </a:cubicBezTo>
                      <a:cubicBezTo>
                        <a:pt x="53" y="302"/>
                        <a:pt x="62" y="302"/>
                        <a:pt x="72" y="302"/>
                      </a:cubicBezTo>
                      <a:cubicBezTo>
                        <a:pt x="72" y="332"/>
                        <a:pt x="72" y="360"/>
                        <a:pt x="72" y="388"/>
                      </a:cubicBezTo>
                      <a:cubicBezTo>
                        <a:pt x="72" y="412"/>
                        <a:pt x="90" y="429"/>
                        <a:pt x="112" y="429"/>
                      </a:cubicBezTo>
                      <a:cubicBezTo>
                        <a:pt x="135" y="429"/>
                        <a:pt x="152" y="412"/>
                        <a:pt x="152" y="388"/>
                      </a:cubicBezTo>
                      <a:cubicBezTo>
                        <a:pt x="152" y="363"/>
                        <a:pt x="152" y="338"/>
                        <a:pt x="152" y="313"/>
                      </a:cubicBezTo>
                      <a:cubicBezTo>
                        <a:pt x="152" y="309"/>
                        <a:pt x="152" y="306"/>
                        <a:pt x="152" y="303"/>
                      </a:cubicBezTo>
                      <a:cubicBezTo>
                        <a:pt x="171" y="303"/>
                        <a:pt x="188" y="303"/>
                        <a:pt x="205" y="303"/>
                      </a:cubicBezTo>
                      <a:cubicBezTo>
                        <a:pt x="205" y="308"/>
                        <a:pt x="205" y="313"/>
                        <a:pt x="205" y="317"/>
                      </a:cubicBezTo>
                      <a:cubicBezTo>
                        <a:pt x="205" y="341"/>
                        <a:pt x="205" y="364"/>
                        <a:pt x="205" y="388"/>
                      </a:cubicBezTo>
                      <a:cubicBezTo>
                        <a:pt x="206" y="412"/>
                        <a:pt x="223" y="429"/>
                        <a:pt x="246" y="429"/>
                      </a:cubicBezTo>
                      <a:cubicBezTo>
                        <a:pt x="269" y="428"/>
                        <a:pt x="285" y="411"/>
                        <a:pt x="285" y="388"/>
                      </a:cubicBezTo>
                      <a:cubicBezTo>
                        <a:pt x="285" y="369"/>
                        <a:pt x="285" y="350"/>
                        <a:pt x="285" y="332"/>
                      </a:cubicBezTo>
                      <a:cubicBezTo>
                        <a:pt x="285" y="322"/>
                        <a:pt x="285" y="312"/>
                        <a:pt x="285" y="302"/>
                      </a:cubicBezTo>
                      <a:cubicBezTo>
                        <a:pt x="293" y="302"/>
                        <a:pt x="300" y="302"/>
                        <a:pt x="307" y="302"/>
                      </a:cubicBezTo>
                      <a:cubicBezTo>
                        <a:pt x="342" y="302"/>
                        <a:pt x="358" y="285"/>
                        <a:pt x="358" y="251"/>
                      </a:cubicBezTo>
                      <a:cubicBezTo>
                        <a:pt x="358" y="171"/>
                        <a:pt x="358" y="91"/>
                        <a:pt x="358" y="12"/>
                      </a:cubicBezTo>
                      <a:cubicBezTo>
                        <a:pt x="358" y="8"/>
                        <a:pt x="358" y="4"/>
                        <a:pt x="358" y="0"/>
                      </a:cubicBezTo>
                      <a:cubicBezTo>
                        <a:pt x="238" y="0"/>
                        <a:pt x="119" y="0"/>
                        <a:pt x="1" y="0"/>
                      </a:cubicBezTo>
                      <a:cubicBezTo>
                        <a:pt x="0" y="3"/>
                        <a:pt x="0" y="5"/>
                        <a:pt x="0" y="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sp>
              <p:nvSpPr>
                <p:cNvPr id="238" name="Freeform 51">
                  <a:extLst>
                    <a:ext uri="{FF2B5EF4-FFF2-40B4-BE49-F238E27FC236}">
                      <a16:creationId xmlns:a16="http://schemas.microsoft.com/office/drawing/2014/main" id="{75A2B0F3-C01A-4BC0-9EFE-17F0734F5F2E}"/>
                    </a:ext>
                  </a:extLst>
                </p:cNvPr>
                <p:cNvSpPr>
                  <a:spLocks noEditPoints="1"/>
                </p:cNvSpPr>
                <p:nvPr/>
              </p:nvSpPr>
              <p:spPr bwMode="auto">
                <a:xfrm>
                  <a:off x="14341178" y="3323588"/>
                  <a:ext cx="1344611" cy="766765"/>
                </a:xfrm>
                <a:custGeom>
                  <a:avLst/>
                  <a:gdLst>
                    <a:gd name="T0" fmla="*/ 267 w 358"/>
                    <a:gd name="T1" fmla="*/ 61 h 204"/>
                    <a:gd name="T2" fmla="*/ 273 w 358"/>
                    <a:gd name="T3" fmla="*/ 49 h 204"/>
                    <a:gd name="T4" fmla="*/ 293 w 358"/>
                    <a:gd name="T5" fmla="*/ 12 h 204"/>
                    <a:gd name="T6" fmla="*/ 293 w 358"/>
                    <a:gd name="T7" fmla="*/ 4 h 204"/>
                    <a:gd name="T8" fmla="*/ 284 w 358"/>
                    <a:gd name="T9" fmla="*/ 7 h 204"/>
                    <a:gd name="T10" fmla="*/ 280 w 358"/>
                    <a:gd name="T11" fmla="*/ 14 h 204"/>
                    <a:gd name="T12" fmla="*/ 256 w 358"/>
                    <a:gd name="T13" fmla="*/ 56 h 204"/>
                    <a:gd name="T14" fmla="*/ 179 w 358"/>
                    <a:gd name="T15" fmla="*/ 40 h 204"/>
                    <a:gd name="T16" fmla="*/ 101 w 358"/>
                    <a:gd name="T17" fmla="*/ 56 h 204"/>
                    <a:gd name="T18" fmla="*/ 77 w 358"/>
                    <a:gd name="T19" fmla="*/ 12 h 204"/>
                    <a:gd name="T20" fmla="*/ 66 w 358"/>
                    <a:gd name="T21" fmla="*/ 4 h 204"/>
                    <a:gd name="T22" fmla="*/ 67 w 358"/>
                    <a:gd name="T23" fmla="*/ 18 h 204"/>
                    <a:gd name="T24" fmla="*/ 91 w 358"/>
                    <a:gd name="T25" fmla="*/ 61 h 204"/>
                    <a:gd name="T26" fmla="*/ 0 w 358"/>
                    <a:gd name="T27" fmla="*/ 204 h 204"/>
                    <a:gd name="T28" fmla="*/ 358 w 358"/>
                    <a:gd name="T29" fmla="*/ 204 h 204"/>
                    <a:gd name="T30" fmla="*/ 267 w 358"/>
                    <a:gd name="T31" fmla="*/ 61 h 204"/>
                    <a:gd name="T32" fmla="*/ 98 w 358"/>
                    <a:gd name="T33" fmla="*/ 140 h 204"/>
                    <a:gd name="T34" fmla="*/ 82 w 358"/>
                    <a:gd name="T35" fmla="*/ 124 h 204"/>
                    <a:gd name="T36" fmla="*/ 98 w 358"/>
                    <a:gd name="T37" fmla="*/ 110 h 204"/>
                    <a:gd name="T38" fmla="*/ 112 w 358"/>
                    <a:gd name="T39" fmla="*/ 125 h 204"/>
                    <a:gd name="T40" fmla="*/ 98 w 358"/>
                    <a:gd name="T41" fmla="*/ 140 h 204"/>
                    <a:gd name="T42" fmla="*/ 261 w 358"/>
                    <a:gd name="T43" fmla="*/ 140 h 204"/>
                    <a:gd name="T44" fmla="*/ 245 w 358"/>
                    <a:gd name="T45" fmla="*/ 126 h 204"/>
                    <a:gd name="T46" fmla="*/ 259 w 358"/>
                    <a:gd name="T47" fmla="*/ 110 h 204"/>
                    <a:gd name="T48" fmla="*/ 275 w 358"/>
                    <a:gd name="T49" fmla="*/ 125 h 204"/>
                    <a:gd name="T50" fmla="*/ 261 w 358"/>
                    <a:gd name="T51" fmla="*/ 14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8" h="204">
                      <a:moveTo>
                        <a:pt x="267" y="61"/>
                      </a:moveTo>
                      <a:cubicBezTo>
                        <a:pt x="269" y="57"/>
                        <a:pt x="271" y="53"/>
                        <a:pt x="273" y="49"/>
                      </a:cubicBezTo>
                      <a:cubicBezTo>
                        <a:pt x="280" y="37"/>
                        <a:pt x="287" y="25"/>
                        <a:pt x="293" y="12"/>
                      </a:cubicBezTo>
                      <a:cubicBezTo>
                        <a:pt x="294" y="10"/>
                        <a:pt x="293" y="7"/>
                        <a:pt x="293" y="4"/>
                      </a:cubicBezTo>
                      <a:cubicBezTo>
                        <a:pt x="290" y="5"/>
                        <a:pt x="286" y="6"/>
                        <a:pt x="284" y="7"/>
                      </a:cubicBezTo>
                      <a:cubicBezTo>
                        <a:pt x="282" y="8"/>
                        <a:pt x="281" y="11"/>
                        <a:pt x="280" y="14"/>
                      </a:cubicBezTo>
                      <a:cubicBezTo>
                        <a:pt x="272" y="28"/>
                        <a:pt x="264" y="42"/>
                        <a:pt x="256" y="56"/>
                      </a:cubicBezTo>
                      <a:cubicBezTo>
                        <a:pt x="231" y="45"/>
                        <a:pt x="205" y="41"/>
                        <a:pt x="179" y="40"/>
                      </a:cubicBezTo>
                      <a:cubicBezTo>
                        <a:pt x="152" y="40"/>
                        <a:pt x="126" y="46"/>
                        <a:pt x="101" y="56"/>
                      </a:cubicBezTo>
                      <a:cubicBezTo>
                        <a:pt x="93" y="41"/>
                        <a:pt x="85" y="27"/>
                        <a:pt x="77" y="12"/>
                      </a:cubicBezTo>
                      <a:cubicBezTo>
                        <a:pt x="74" y="8"/>
                        <a:pt x="73" y="0"/>
                        <a:pt x="66" y="4"/>
                      </a:cubicBezTo>
                      <a:cubicBezTo>
                        <a:pt x="58" y="8"/>
                        <a:pt x="65" y="14"/>
                        <a:pt x="67" y="18"/>
                      </a:cubicBezTo>
                      <a:cubicBezTo>
                        <a:pt x="75" y="32"/>
                        <a:pt x="83" y="46"/>
                        <a:pt x="91" y="61"/>
                      </a:cubicBezTo>
                      <a:cubicBezTo>
                        <a:pt x="35" y="94"/>
                        <a:pt x="2" y="139"/>
                        <a:pt x="0" y="204"/>
                      </a:cubicBezTo>
                      <a:cubicBezTo>
                        <a:pt x="120" y="204"/>
                        <a:pt x="239" y="204"/>
                        <a:pt x="358" y="204"/>
                      </a:cubicBezTo>
                      <a:cubicBezTo>
                        <a:pt x="355" y="139"/>
                        <a:pt x="322" y="93"/>
                        <a:pt x="267" y="61"/>
                      </a:cubicBezTo>
                      <a:close/>
                      <a:moveTo>
                        <a:pt x="98" y="140"/>
                      </a:moveTo>
                      <a:cubicBezTo>
                        <a:pt x="89" y="140"/>
                        <a:pt x="82" y="133"/>
                        <a:pt x="82" y="124"/>
                      </a:cubicBezTo>
                      <a:cubicBezTo>
                        <a:pt x="83" y="116"/>
                        <a:pt x="89" y="110"/>
                        <a:pt x="98" y="110"/>
                      </a:cubicBezTo>
                      <a:cubicBezTo>
                        <a:pt x="106" y="111"/>
                        <a:pt x="112" y="117"/>
                        <a:pt x="112" y="125"/>
                      </a:cubicBezTo>
                      <a:cubicBezTo>
                        <a:pt x="112" y="133"/>
                        <a:pt x="105" y="140"/>
                        <a:pt x="98" y="140"/>
                      </a:cubicBezTo>
                      <a:close/>
                      <a:moveTo>
                        <a:pt x="261" y="140"/>
                      </a:moveTo>
                      <a:cubicBezTo>
                        <a:pt x="253" y="140"/>
                        <a:pt x="246" y="134"/>
                        <a:pt x="245" y="126"/>
                      </a:cubicBezTo>
                      <a:cubicBezTo>
                        <a:pt x="245" y="118"/>
                        <a:pt x="251" y="111"/>
                        <a:pt x="259" y="110"/>
                      </a:cubicBezTo>
                      <a:cubicBezTo>
                        <a:pt x="268" y="110"/>
                        <a:pt x="275" y="116"/>
                        <a:pt x="275" y="125"/>
                      </a:cubicBezTo>
                      <a:cubicBezTo>
                        <a:pt x="275" y="133"/>
                        <a:pt x="269" y="140"/>
                        <a:pt x="261" y="14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sp>
              <p:nvSpPr>
                <p:cNvPr id="239" name="Freeform 52">
                  <a:extLst>
                    <a:ext uri="{FF2B5EF4-FFF2-40B4-BE49-F238E27FC236}">
                      <a16:creationId xmlns:a16="http://schemas.microsoft.com/office/drawing/2014/main" id="{71E26DC3-718B-4662-B8B2-80E2F8774A0B}"/>
                    </a:ext>
                  </a:extLst>
                </p:cNvPr>
                <p:cNvSpPr>
                  <a:spLocks/>
                </p:cNvSpPr>
                <p:nvPr/>
              </p:nvSpPr>
              <p:spPr bwMode="auto">
                <a:xfrm>
                  <a:off x="13987161" y="4117341"/>
                  <a:ext cx="300035" cy="927097"/>
                </a:xfrm>
                <a:custGeom>
                  <a:avLst/>
                  <a:gdLst>
                    <a:gd name="T0" fmla="*/ 40 w 80"/>
                    <a:gd name="T1" fmla="*/ 247 h 247"/>
                    <a:gd name="T2" fmla="*/ 80 w 80"/>
                    <a:gd name="T3" fmla="*/ 205 h 247"/>
                    <a:gd name="T4" fmla="*/ 80 w 80"/>
                    <a:gd name="T5" fmla="*/ 124 h 247"/>
                    <a:gd name="T6" fmla="*/ 80 w 80"/>
                    <a:gd name="T7" fmla="*/ 42 h 247"/>
                    <a:gd name="T8" fmla="*/ 40 w 80"/>
                    <a:gd name="T9" fmla="*/ 0 h 247"/>
                    <a:gd name="T10" fmla="*/ 0 w 80"/>
                    <a:gd name="T11" fmla="*/ 42 h 247"/>
                    <a:gd name="T12" fmla="*/ 0 w 80"/>
                    <a:gd name="T13" fmla="*/ 206 h 247"/>
                    <a:gd name="T14" fmla="*/ 40 w 80"/>
                    <a:gd name="T15" fmla="*/ 247 h 2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7">
                      <a:moveTo>
                        <a:pt x="40" y="247"/>
                      </a:moveTo>
                      <a:cubicBezTo>
                        <a:pt x="63" y="247"/>
                        <a:pt x="80" y="229"/>
                        <a:pt x="80" y="205"/>
                      </a:cubicBezTo>
                      <a:cubicBezTo>
                        <a:pt x="80" y="178"/>
                        <a:pt x="80" y="151"/>
                        <a:pt x="80" y="124"/>
                      </a:cubicBezTo>
                      <a:cubicBezTo>
                        <a:pt x="80" y="97"/>
                        <a:pt x="80" y="70"/>
                        <a:pt x="80" y="42"/>
                      </a:cubicBezTo>
                      <a:cubicBezTo>
                        <a:pt x="80" y="18"/>
                        <a:pt x="63" y="0"/>
                        <a:pt x="40" y="0"/>
                      </a:cubicBezTo>
                      <a:cubicBezTo>
                        <a:pt x="17" y="0"/>
                        <a:pt x="1" y="18"/>
                        <a:pt x="0" y="42"/>
                      </a:cubicBezTo>
                      <a:cubicBezTo>
                        <a:pt x="0" y="96"/>
                        <a:pt x="0" y="151"/>
                        <a:pt x="0" y="206"/>
                      </a:cubicBezTo>
                      <a:cubicBezTo>
                        <a:pt x="1" y="230"/>
                        <a:pt x="18" y="247"/>
                        <a:pt x="40"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sp>
              <p:nvSpPr>
                <p:cNvPr id="240" name="Freeform 53">
                  <a:extLst>
                    <a:ext uri="{FF2B5EF4-FFF2-40B4-BE49-F238E27FC236}">
                      <a16:creationId xmlns:a16="http://schemas.microsoft.com/office/drawing/2014/main" id="{12454D67-EB0A-4263-A4CB-DCD3FCCEAE21}"/>
                    </a:ext>
                  </a:extLst>
                </p:cNvPr>
                <p:cNvSpPr>
                  <a:spLocks/>
                </p:cNvSpPr>
                <p:nvPr/>
              </p:nvSpPr>
              <p:spPr bwMode="auto">
                <a:xfrm>
                  <a:off x="15733414" y="4117341"/>
                  <a:ext cx="301623" cy="931866"/>
                </a:xfrm>
                <a:custGeom>
                  <a:avLst/>
                  <a:gdLst>
                    <a:gd name="T0" fmla="*/ 41 w 80"/>
                    <a:gd name="T1" fmla="*/ 247 h 248"/>
                    <a:gd name="T2" fmla="*/ 80 w 80"/>
                    <a:gd name="T3" fmla="*/ 206 h 248"/>
                    <a:gd name="T4" fmla="*/ 80 w 80"/>
                    <a:gd name="T5" fmla="*/ 124 h 248"/>
                    <a:gd name="T6" fmla="*/ 80 w 80"/>
                    <a:gd name="T7" fmla="*/ 42 h 248"/>
                    <a:gd name="T8" fmla="*/ 42 w 80"/>
                    <a:gd name="T9" fmla="*/ 0 h 248"/>
                    <a:gd name="T10" fmla="*/ 0 w 80"/>
                    <a:gd name="T11" fmla="*/ 40 h 248"/>
                    <a:gd name="T12" fmla="*/ 0 w 80"/>
                    <a:gd name="T13" fmla="*/ 208 h 248"/>
                    <a:gd name="T14" fmla="*/ 41 w 80"/>
                    <a:gd name="T15" fmla="*/ 247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8">
                      <a:moveTo>
                        <a:pt x="41" y="247"/>
                      </a:moveTo>
                      <a:cubicBezTo>
                        <a:pt x="63" y="247"/>
                        <a:pt x="80" y="229"/>
                        <a:pt x="80" y="206"/>
                      </a:cubicBezTo>
                      <a:cubicBezTo>
                        <a:pt x="80" y="179"/>
                        <a:pt x="80" y="151"/>
                        <a:pt x="80" y="124"/>
                      </a:cubicBezTo>
                      <a:cubicBezTo>
                        <a:pt x="80" y="96"/>
                        <a:pt x="80" y="69"/>
                        <a:pt x="80" y="42"/>
                      </a:cubicBezTo>
                      <a:cubicBezTo>
                        <a:pt x="80" y="18"/>
                        <a:pt x="64" y="1"/>
                        <a:pt x="42" y="0"/>
                      </a:cubicBezTo>
                      <a:cubicBezTo>
                        <a:pt x="19" y="0"/>
                        <a:pt x="1" y="17"/>
                        <a:pt x="0" y="40"/>
                      </a:cubicBezTo>
                      <a:cubicBezTo>
                        <a:pt x="0" y="96"/>
                        <a:pt x="0" y="152"/>
                        <a:pt x="0" y="208"/>
                      </a:cubicBezTo>
                      <a:cubicBezTo>
                        <a:pt x="1" y="230"/>
                        <a:pt x="19" y="248"/>
                        <a:pt x="41"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235" name="Picture 234">
                <a:extLst>
                  <a:ext uri="{FF2B5EF4-FFF2-40B4-BE49-F238E27FC236}">
                    <a16:creationId xmlns:a16="http://schemas.microsoft.com/office/drawing/2014/main" id="{95D877FB-9842-4C37-AB06-22917AF0041E}"/>
                  </a:ext>
                </a:extLst>
              </p:cNvPr>
              <p:cNvPicPr>
                <a:picLocks noChangeAspect="1"/>
              </p:cNvPicPr>
              <p:nvPr/>
            </p:nvPicPr>
            <p:blipFill rotWithShape="1">
              <a:blip r:embed="rId5" cstate="email">
                <a:duotone>
                  <a:prstClr val="black"/>
                  <a:schemeClr val="tx1">
                    <a:tint val="45000"/>
                    <a:satMod val="400000"/>
                  </a:schemeClr>
                </a:duotone>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rcRect/>
              <a:stretch/>
            </p:blipFill>
            <p:spPr>
              <a:xfrm>
                <a:off x="2286418" y="4253257"/>
                <a:ext cx="364301" cy="340841"/>
              </a:xfrm>
              <a:prstGeom prst="rect">
                <a:avLst/>
              </a:prstGeom>
            </p:spPr>
          </p:pic>
          <p:pic>
            <p:nvPicPr>
              <p:cNvPr id="236" name="Picture 235">
                <a:extLst>
                  <a:ext uri="{FF2B5EF4-FFF2-40B4-BE49-F238E27FC236}">
                    <a16:creationId xmlns:a16="http://schemas.microsoft.com/office/drawing/2014/main" id="{64CD3150-E69F-4DC9-BBD0-47AD38543AB1}"/>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2224274" y="2338191"/>
                <a:ext cx="482065" cy="482065"/>
              </a:xfrm>
              <a:prstGeom prst="rect">
                <a:avLst/>
              </a:prstGeom>
            </p:spPr>
          </p:pic>
        </p:grpSp>
        <p:sp>
          <p:nvSpPr>
            <p:cNvPr id="228" name="CellPhone_E8EA" title="Icon of a cellphone">
              <a:extLst>
                <a:ext uri="{FF2B5EF4-FFF2-40B4-BE49-F238E27FC236}">
                  <a16:creationId xmlns:a16="http://schemas.microsoft.com/office/drawing/2014/main" id="{5B413609-5A17-4602-A9F9-0B6A81E94C3B}"/>
                </a:ext>
              </a:extLst>
            </p:cNvPr>
            <p:cNvSpPr>
              <a:spLocks noChangeAspect="1" noEditPoints="1"/>
            </p:cNvSpPr>
            <p:nvPr/>
          </p:nvSpPr>
          <p:spPr bwMode="auto">
            <a:xfrm>
              <a:off x="1219008" y="2484255"/>
              <a:ext cx="195968" cy="326561"/>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29" name="Laptop_E770" title="Icon of a laptop">
              <a:extLst>
                <a:ext uri="{FF2B5EF4-FFF2-40B4-BE49-F238E27FC236}">
                  <a16:creationId xmlns:a16="http://schemas.microsoft.com/office/drawing/2014/main" id="{19170A66-1B3E-42CD-A76B-3D7C44FC5A7C}"/>
                </a:ext>
              </a:extLst>
            </p:cNvPr>
            <p:cNvSpPr>
              <a:spLocks noChangeAspect="1" noEditPoints="1"/>
            </p:cNvSpPr>
            <p:nvPr/>
          </p:nvSpPr>
          <p:spPr bwMode="auto">
            <a:xfrm>
              <a:off x="1037087" y="4533985"/>
              <a:ext cx="559811" cy="373549"/>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32" name="Tablet_E70A" title="Icon of a tablet">
              <a:extLst>
                <a:ext uri="{FF2B5EF4-FFF2-40B4-BE49-F238E27FC236}">
                  <a16:creationId xmlns:a16="http://schemas.microsoft.com/office/drawing/2014/main" id="{D82CFC9F-D5A4-4A6A-9127-06AC3FC2262E}"/>
                </a:ext>
              </a:extLst>
            </p:cNvPr>
            <p:cNvSpPr>
              <a:spLocks noChangeAspect="1" noEditPoints="1"/>
            </p:cNvSpPr>
            <p:nvPr/>
          </p:nvSpPr>
          <p:spPr bwMode="auto">
            <a:xfrm>
              <a:off x="1079292" y="3509652"/>
              <a:ext cx="475400" cy="348990"/>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243" name="Rectangle: Rounded Corners 242">
            <a:extLst>
              <a:ext uri="{FF2B5EF4-FFF2-40B4-BE49-F238E27FC236}">
                <a16:creationId xmlns:a16="http://schemas.microsoft.com/office/drawing/2014/main" id="{A543B1A7-F934-4C7C-AE0D-179AFDFE7CE9}"/>
              </a:ext>
            </a:extLst>
          </p:cNvPr>
          <p:cNvSpPr/>
          <p:nvPr/>
        </p:nvSpPr>
        <p:spPr bwMode="auto">
          <a:xfrm>
            <a:off x="5092826" y="5662618"/>
            <a:ext cx="1631150" cy="498768"/>
          </a:xfrm>
          <a:prstGeom prst="roundRect">
            <a:avLst/>
          </a:prstGeom>
          <a:noFill/>
          <a:ln w="10795" cap="flat" cmpd="sng" algn="ctr">
            <a:noFill/>
            <a:prstDash val="solid"/>
          </a:ln>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Semibold"/>
                <a:ea typeface="+mn-ea"/>
                <a:cs typeface="+mn-cs"/>
              </a:rPr>
              <a:t>Azure SQL DB</a:t>
            </a:r>
          </a:p>
        </p:txBody>
      </p:sp>
      <p:sp>
        <p:nvSpPr>
          <p:cNvPr id="244" name="Rectangle 243">
            <a:extLst>
              <a:ext uri="{FF2B5EF4-FFF2-40B4-BE49-F238E27FC236}">
                <a16:creationId xmlns:a16="http://schemas.microsoft.com/office/drawing/2014/main" id="{513B3EE8-3EFA-4941-BFF2-67D2A3D10FF3}"/>
              </a:ext>
            </a:extLst>
          </p:cNvPr>
          <p:cNvSpPr/>
          <p:nvPr/>
        </p:nvSpPr>
        <p:spPr>
          <a:xfrm>
            <a:off x="10858778" y="3485639"/>
            <a:ext cx="867837" cy="307777"/>
          </a:xfrm>
          <a:prstGeom prst="rect">
            <a:avLst/>
          </a:prstGeom>
        </p:spPr>
        <p:txBody>
          <a:bodyPr wrap="square" anchor="ctr">
            <a:spAutoFit/>
          </a:bodyPr>
          <a:lstStyle/>
          <a:p>
            <a:pPr marL="0" marR="0" lvl="0" indent="0" algn="l" defTabSz="861087" rtl="0" eaLnBrk="1" fontAlgn="auto" latinLnBrk="0" hangingPunct="1">
              <a:lnSpc>
                <a:spcPct val="100000"/>
              </a:lnSpc>
              <a:spcBef>
                <a:spcPts val="0"/>
              </a:spcBef>
              <a:spcAft>
                <a:spcPts val="0"/>
              </a:spcAft>
              <a:buClrTx/>
              <a:buSzTx/>
              <a:buFontTx/>
              <a:buNone/>
              <a:tabLst/>
              <a:defRPr/>
            </a:pPr>
            <a:r>
              <a:rPr kumimoji="0" lang="en-US" sz="1371" b="0" i="0" u="none" strike="noStrike" kern="1200" cap="all" spc="0" normalizeH="0" baseline="0" noProof="0" dirty="0">
                <a:ln>
                  <a:noFill/>
                </a:ln>
                <a:solidFill>
                  <a:srgbClr val="FFFFFF"/>
                </a:solidFill>
                <a:effectLst/>
                <a:uLnTx/>
                <a:uFillTx/>
                <a:latin typeface="Segoe Pro Semibold" panose="020B0702040504020203" pitchFamily="34" charset="0"/>
                <a:ea typeface="+mn-ea"/>
                <a:cs typeface="Segoe UI Light"/>
              </a:rPr>
              <a:t> </a:t>
            </a:r>
            <a:r>
              <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VMs</a:t>
            </a:r>
          </a:p>
        </p:txBody>
      </p:sp>
      <p:sp>
        <p:nvSpPr>
          <p:cNvPr id="245" name="Right Bracket 244">
            <a:extLst>
              <a:ext uri="{FF2B5EF4-FFF2-40B4-BE49-F238E27FC236}">
                <a16:creationId xmlns:a16="http://schemas.microsoft.com/office/drawing/2014/main" id="{DB83E192-FA02-4363-AEB6-B98CB0AA2926}"/>
              </a:ext>
            </a:extLst>
          </p:cNvPr>
          <p:cNvSpPr/>
          <p:nvPr/>
        </p:nvSpPr>
        <p:spPr>
          <a:xfrm>
            <a:off x="2521216" y="3611005"/>
            <a:ext cx="126507" cy="2407739"/>
          </a:xfrm>
          <a:prstGeom prst="rightBracket">
            <a:avLst>
              <a:gd name="adj" fmla="val 0"/>
            </a:avLst>
          </a:prstGeom>
          <a:ln w="12700" cap="rnd">
            <a:solidFill>
              <a:schemeClr val="tx1">
                <a:lumMod val="50000"/>
                <a:lumOff val="5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89630" tIns="44814" rIns="89630" bIns="44814" numCol="1" spcCol="0" rtlCol="0" fromWordArt="0" anchor="ctr" anchorCtr="0" forceAA="0" compatLnSpc="1">
            <a:prstTxWarp prst="textNoShape">
              <a:avLst/>
            </a:prstTxWarp>
            <a:no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3525" b="0" i="0" u="none" strike="noStrike" kern="1200" cap="none" spc="0" normalizeH="0" baseline="0" noProof="0">
              <a:ln>
                <a:noFill/>
              </a:ln>
              <a:solidFill>
                <a:srgbClr val="505050"/>
              </a:solidFill>
              <a:effectLst/>
              <a:uLnTx/>
              <a:uFillTx/>
              <a:latin typeface="Segoe UI"/>
              <a:ea typeface="+mn-ea"/>
              <a:cs typeface="+mn-cs"/>
            </a:endParaRPr>
          </a:p>
        </p:txBody>
      </p:sp>
      <p:grpSp>
        <p:nvGrpSpPr>
          <p:cNvPr id="246" name="Group 245">
            <a:extLst>
              <a:ext uri="{FF2B5EF4-FFF2-40B4-BE49-F238E27FC236}">
                <a16:creationId xmlns:a16="http://schemas.microsoft.com/office/drawing/2014/main" id="{6426C18F-1B54-4181-9833-3C03ABCB65ED}"/>
              </a:ext>
            </a:extLst>
          </p:cNvPr>
          <p:cNvGrpSpPr/>
          <p:nvPr/>
        </p:nvGrpSpPr>
        <p:grpSpPr>
          <a:xfrm>
            <a:off x="3291107" y="4699961"/>
            <a:ext cx="1703068" cy="587682"/>
            <a:chOff x="3204969" y="4699961"/>
            <a:chExt cx="1703068" cy="587682"/>
          </a:xfrm>
        </p:grpSpPr>
        <p:sp>
          <p:nvSpPr>
            <p:cNvPr id="247" name="Rectangle: Rounded Corners 246">
              <a:extLst>
                <a:ext uri="{FF2B5EF4-FFF2-40B4-BE49-F238E27FC236}">
                  <a16:creationId xmlns:a16="http://schemas.microsoft.com/office/drawing/2014/main" id="{1E37562F-2A62-427D-897B-CFA7CA8260A6}"/>
                </a:ext>
              </a:extLst>
            </p:cNvPr>
            <p:cNvSpPr/>
            <p:nvPr/>
          </p:nvSpPr>
          <p:spPr bwMode="auto">
            <a:xfrm>
              <a:off x="3204969" y="4699961"/>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248" name="Rectangle: Rounded Corners 247">
              <a:extLst>
                <a:ext uri="{FF2B5EF4-FFF2-40B4-BE49-F238E27FC236}">
                  <a16:creationId xmlns:a16="http://schemas.microsoft.com/office/drawing/2014/main" id="{E0583FBE-9009-46A5-85C8-15CDAACD2DDB}"/>
                </a:ext>
              </a:extLst>
            </p:cNvPr>
            <p:cNvSpPr/>
            <p:nvPr/>
          </p:nvSpPr>
          <p:spPr bwMode="auto">
            <a:xfrm>
              <a:off x="3240928" y="47444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249" name="Rectangle: Rounded Corners 248">
              <a:extLst>
                <a:ext uri="{FF2B5EF4-FFF2-40B4-BE49-F238E27FC236}">
                  <a16:creationId xmlns:a16="http://schemas.microsoft.com/office/drawing/2014/main" id="{FE79CB60-9C98-4EB0-AF45-D3B7E364FAFC}"/>
                </a:ext>
              </a:extLst>
            </p:cNvPr>
            <p:cNvSpPr/>
            <p:nvPr/>
          </p:nvSpPr>
          <p:spPr bwMode="auto">
            <a:xfrm>
              <a:off x="3276887"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Gateway</a:t>
              </a:r>
            </a:p>
          </p:txBody>
        </p:sp>
        <p:sp>
          <p:nvSpPr>
            <p:cNvPr id="250" name="Move_E7C2" title="Icon of four arrows pointing away from eachother">
              <a:extLst>
                <a:ext uri="{FF2B5EF4-FFF2-40B4-BE49-F238E27FC236}">
                  <a16:creationId xmlns:a16="http://schemas.microsoft.com/office/drawing/2014/main" id="{E1795E0A-00D5-4D79-9E37-61C0B7D737F6}"/>
                </a:ext>
              </a:extLst>
            </p:cNvPr>
            <p:cNvSpPr>
              <a:spLocks noChangeAspect="1" noEditPoints="1"/>
            </p:cNvSpPr>
            <p:nvPr/>
          </p:nvSpPr>
          <p:spPr bwMode="auto">
            <a:xfrm>
              <a:off x="4431005" y="4891891"/>
              <a:ext cx="273646" cy="273715"/>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5875" cap="sq">
              <a:solidFill>
                <a:schemeClr val="bg1"/>
              </a:solidFill>
              <a:prstDash val="solid"/>
              <a:miter lim="800000"/>
              <a:headEnd/>
              <a:tailEnd/>
            </a:ln>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251" name="Group 250">
            <a:extLst>
              <a:ext uri="{FF2B5EF4-FFF2-40B4-BE49-F238E27FC236}">
                <a16:creationId xmlns:a16="http://schemas.microsoft.com/office/drawing/2014/main" id="{BF09CA86-BA19-4BCB-8065-5FBBDAE84675}"/>
              </a:ext>
            </a:extLst>
          </p:cNvPr>
          <p:cNvGrpSpPr/>
          <p:nvPr/>
        </p:nvGrpSpPr>
        <p:grpSpPr>
          <a:xfrm>
            <a:off x="3291107" y="3834996"/>
            <a:ext cx="1703068" cy="587682"/>
            <a:chOff x="3204969" y="3834996"/>
            <a:chExt cx="1703068" cy="587682"/>
          </a:xfrm>
        </p:grpSpPr>
        <p:sp>
          <p:nvSpPr>
            <p:cNvPr id="252" name="Rectangle: Rounded Corners 251">
              <a:extLst>
                <a:ext uri="{FF2B5EF4-FFF2-40B4-BE49-F238E27FC236}">
                  <a16:creationId xmlns:a16="http://schemas.microsoft.com/office/drawing/2014/main" id="{66203210-79E5-415B-B7BA-E83B478335E8}"/>
                </a:ext>
              </a:extLst>
            </p:cNvPr>
            <p:cNvSpPr/>
            <p:nvPr/>
          </p:nvSpPr>
          <p:spPr bwMode="auto">
            <a:xfrm>
              <a:off x="3204969" y="3834996"/>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253" name="Rectangle: Rounded Corners 252">
              <a:extLst>
                <a:ext uri="{FF2B5EF4-FFF2-40B4-BE49-F238E27FC236}">
                  <a16:creationId xmlns:a16="http://schemas.microsoft.com/office/drawing/2014/main" id="{88E7C291-BA18-43CE-8294-EC0406F7FD52}"/>
                </a:ext>
              </a:extLst>
            </p:cNvPr>
            <p:cNvSpPr/>
            <p:nvPr/>
          </p:nvSpPr>
          <p:spPr bwMode="auto">
            <a:xfrm>
              <a:off x="3240928" y="3879453"/>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254" name="Rectangle: Rounded Corners 253">
              <a:extLst>
                <a:ext uri="{FF2B5EF4-FFF2-40B4-BE49-F238E27FC236}">
                  <a16:creationId xmlns:a16="http://schemas.microsoft.com/office/drawing/2014/main" id="{A9E69C13-830D-4427-AB81-F4890751CB73}"/>
                </a:ext>
              </a:extLst>
            </p:cNvPr>
            <p:cNvSpPr/>
            <p:nvPr/>
          </p:nvSpPr>
          <p:spPr bwMode="auto">
            <a:xfrm>
              <a:off x="3276887"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Web Access</a:t>
              </a:r>
            </a:p>
          </p:txBody>
        </p:sp>
        <p:sp>
          <p:nvSpPr>
            <p:cNvPr id="255" name="globe_2" title="Icon of a sphere made of lines">
              <a:extLst>
                <a:ext uri="{FF2B5EF4-FFF2-40B4-BE49-F238E27FC236}">
                  <a16:creationId xmlns:a16="http://schemas.microsoft.com/office/drawing/2014/main" id="{B57A49BB-12B5-4AE3-958C-57A38074E392}"/>
                </a:ext>
              </a:extLst>
            </p:cNvPr>
            <p:cNvSpPr>
              <a:spLocks noChangeAspect="1" noEditPoints="1"/>
            </p:cNvSpPr>
            <p:nvPr/>
          </p:nvSpPr>
          <p:spPr bwMode="auto">
            <a:xfrm>
              <a:off x="4419468" y="4027324"/>
              <a:ext cx="296721" cy="296721"/>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sp>
        <p:nvSpPr>
          <p:cNvPr id="256" name="TextBox 255">
            <a:extLst>
              <a:ext uri="{FF2B5EF4-FFF2-40B4-BE49-F238E27FC236}">
                <a16:creationId xmlns:a16="http://schemas.microsoft.com/office/drawing/2014/main" id="{6B33D216-BB4B-417A-B63B-A85E5CADFB62}"/>
              </a:ext>
            </a:extLst>
          </p:cNvPr>
          <p:cNvSpPr txBox="1"/>
          <p:nvPr/>
        </p:nvSpPr>
        <p:spPr>
          <a:xfrm>
            <a:off x="7601977" y="3546839"/>
            <a:ext cx="1219200" cy="215444"/>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Azure AD</a:t>
            </a:r>
          </a:p>
        </p:txBody>
      </p:sp>
      <p:pic>
        <p:nvPicPr>
          <p:cNvPr id="257" name="Picture 2">
            <a:extLst>
              <a:ext uri="{FF2B5EF4-FFF2-40B4-BE49-F238E27FC236}">
                <a16:creationId xmlns:a16="http://schemas.microsoft.com/office/drawing/2014/main" id="{BF192124-6F28-4354-A42E-04D10EBD86E3}"/>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6124148" y="5670402"/>
            <a:ext cx="399616" cy="422236"/>
          </a:xfrm>
          <a:prstGeom prst="rect">
            <a:avLst/>
          </a:prstGeom>
          <a:noFill/>
        </p:spPr>
      </p:pic>
      <p:grpSp>
        <p:nvGrpSpPr>
          <p:cNvPr id="258" name="Group 257">
            <a:extLst>
              <a:ext uri="{FF2B5EF4-FFF2-40B4-BE49-F238E27FC236}">
                <a16:creationId xmlns:a16="http://schemas.microsoft.com/office/drawing/2014/main" id="{1B169338-6D36-47BF-9718-6FF9C9569E2E}"/>
              </a:ext>
            </a:extLst>
          </p:cNvPr>
          <p:cNvGrpSpPr/>
          <p:nvPr/>
        </p:nvGrpSpPr>
        <p:grpSpPr>
          <a:xfrm>
            <a:off x="2650409" y="3307647"/>
            <a:ext cx="4684297" cy="520099"/>
            <a:chOff x="2625569" y="3359354"/>
            <a:chExt cx="4684297" cy="520099"/>
          </a:xfrm>
        </p:grpSpPr>
        <p:cxnSp>
          <p:nvCxnSpPr>
            <p:cNvPr id="259" name="Straight Arrow Connector 258">
              <a:extLst>
                <a:ext uri="{FF2B5EF4-FFF2-40B4-BE49-F238E27FC236}">
                  <a16:creationId xmlns:a16="http://schemas.microsoft.com/office/drawing/2014/main" id="{FD6D413F-45A4-4E49-8C08-30963DB576FC}"/>
                </a:ext>
              </a:extLst>
            </p:cNvPr>
            <p:cNvCxnSpPr>
              <a:cxnSpLocks/>
              <a:stCxn id="261" idx="6"/>
            </p:cNvCxnSpPr>
            <p:nvPr/>
          </p:nvCxnSpPr>
          <p:spPr>
            <a:xfrm flipV="1">
              <a:off x="3134200" y="3476527"/>
              <a:ext cx="4175666" cy="11020"/>
            </a:xfrm>
            <a:prstGeom prst="straightConnector1">
              <a:avLst/>
            </a:prstGeom>
            <a:ln w="38100">
              <a:solidFill>
                <a:schemeClr val="accent2"/>
              </a:solidFill>
              <a:headEnd type="none"/>
              <a:tailEnd type="arrow" w="sm" len="sm"/>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60" name="Straight Arrow Connector 259">
              <a:extLst>
                <a:ext uri="{FF2B5EF4-FFF2-40B4-BE49-F238E27FC236}">
                  <a16:creationId xmlns:a16="http://schemas.microsoft.com/office/drawing/2014/main" id="{BDCFD711-9D95-4367-942B-C2F921F552E1}"/>
                </a:ext>
              </a:extLst>
            </p:cNvPr>
            <p:cNvCxnSpPr>
              <a:cxnSpLocks/>
            </p:cNvCxnSpPr>
            <p:nvPr/>
          </p:nvCxnSpPr>
          <p:spPr>
            <a:xfrm flipH="1">
              <a:off x="2625569" y="3505156"/>
              <a:ext cx="337831" cy="374297"/>
            </a:xfrm>
            <a:prstGeom prst="straightConnector1">
              <a:avLst/>
            </a:prstGeom>
            <a:ln w="38100">
              <a:solidFill>
                <a:schemeClr val="accent2"/>
              </a:solidFill>
              <a:headEnd type="none"/>
              <a:tailEnd type="none" w="sm" len="sm"/>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261" name="Oval 260">
              <a:extLst>
                <a:ext uri="{FF2B5EF4-FFF2-40B4-BE49-F238E27FC236}">
                  <a16:creationId xmlns:a16="http://schemas.microsoft.com/office/drawing/2014/main" id="{60EB6890-6D63-4ADE-A990-D8562F69346B}"/>
                </a:ext>
              </a:extLst>
            </p:cNvPr>
            <p:cNvSpPr/>
            <p:nvPr/>
          </p:nvSpPr>
          <p:spPr bwMode="auto">
            <a:xfrm>
              <a:off x="2877815" y="3359354"/>
              <a:ext cx="256385" cy="256385"/>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144" rIns="0" bIns="0"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Segoe UI Light"/>
                </a:rPr>
                <a:t>1</a:t>
              </a:r>
            </a:p>
          </p:txBody>
        </p:sp>
      </p:grpSp>
      <p:sp>
        <p:nvSpPr>
          <p:cNvPr id="2" name="Title 1">
            <a:extLst>
              <a:ext uri="{FF2B5EF4-FFF2-40B4-BE49-F238E27FC236}">
                <a16:creationId xmlns:a16="http://schemas.microsoft.com/office/drawing/2014/main" id="{C4CFC2CD-C910-4E1C-92BA-C9DA8349D955}"/>
              </a:ext>
            </a:extLst>
          </p:cNvPr>
          <p:cNvSpPr>
            <a:spLocks noGrp="1"/>
          </p:cNvSpPr>
          <p:nvPr>
            <p:ph type="title"/>
          </p:nvPr>
        </p:nvSpPr>
        <p:spPr>
          <a:xfrm>
            <a:off x="586740" y="238670"/>
            <a:ext cx="11018520" cy="492443"/>
          </a:xfrm>
        </p:spPr>
        <p:txBody>
          <a:bodyPr/>
          <a:lstStyle/>
          <a:p>
            <a:r>
              <a:rPr lang="en-US" sz="3200" dirty="0"/>
              <a:t>Windows Virtual Desktop – Broker Interactions w/Host Pools</a:t>
            </a:r>
          </a:p>
        </p:txBody>
      </p:sp>
      <p:sp>
        <p:nvSpPr>
          <p:cNvPr id="217" name="TextBox 216">
            <a:extLst>
              <a:ext uri="{FF2B5EF4-FFF2-40B4-BE49-F238E27FC236}">
                <a16:creationId xmlns:a16="http://schemas.microsoft.com/office/drawing/2014/main" id="{A852D315-07A1-43B9-BFC6-74F3D9EE62F5}"/>
              </a:ext>
            </a:extLst>
          </p:cNvPr>
          <p:cNvSpPr txBox="1"/>
          <p:nvPr/>
        </p:nvSpPr>
        <p:spPr>
          <a:xfrm>
            <a:off x="427791" y="867902"/>
            <a:ext cx="11178592" cy="1840851"/>
          </a:xfrm>
          <a:prstGeom prst="rect">
            <a:avLst/>
          </a:prstGeom>
          <a:noFill/>
        </p:spPr>
        <p:txBody>
          <a:bodyPr wrap="square" lIns="179285" tIns="143428" rIns="179285" bIns="143428" rtlCol="0">
            <a:spAutoFit/>
          </a:bodyPr>
          <a:lstStyle/>
          <a:p>
            <a:pPr>
              <a:lnSpc>
                <a:spcPct val="90000"/>
              </a:lnSpc>
              <a:defRPr/>
            </a:pPr>
            <a:r>
              <a:rPr lang="en-US" sz="1600" dirty="0">
                <a:gradFill>
                  <a:gsLst>
                    <a:gs pos="2917">
                      <a:srgbClr val="353535"/>
                    </a:gs>
                    <a:gs pos="30000">
                      <a:srgbClr val="353535"/>
                    </a:gs>
                  </a:gsLst>
                  <a:lin ang="5400000" scaled="0"/>
                </a:gradFill>
              </a:rPr>
              <a:t>0. WVD Agent on </a:t>
            </a:r>
            <a:r>
              <a:rPr lang="en-US" sz="1600" b="1" dirty="0">
                <a:gradFill>
                  <a:gsLst>
                    <a:gs pos="2917">
                      <a:srgbClr val="353535"/>
                    </a:gs>
                    <a:gs pos="30000">
                      <a:srgbClr val="353535"/>
                    </a:gs>
                  </a:gsLst>
                  <a:lin ang="5400000" scaled="0"/>
                </a:gradFill>
              </a:rPr>
              <a:t>Domain-Joined</a:t>
            </a:r>
            <a:r>
              <a:rPr lang="en-US" sz="1600" dirty="0">
                <a:gradFill>
                  <a:gsLst>
                    <a:gs pos="2917">
                      <a:srgbClr val="353535"/>
                    </a:gs>
                    <a:gs pos="30000">
                      <a:srgbClr val="353535"/>
                    </a:gs>
                  </a:gsLst>
                  <a:lin ang="5400000" scaled="0"/>
                </a:gradFill>
              </a:rPr>
              <a:t> Host VMs connects to Broker</a:t>
            </a:r>
          </a:p>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a:ea typeface="+mn-ea"/>
                <a:cs typeface="+mn-cs"/>
              </a:rPr>
              <a:t>1. User launches browser, connects to Azure AD, user signs in, and Azure AD returns token</a:t>
            </a:r>
          </a:p>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a:ea typeface="+mn-ea"/>
                <a:cs typeface="+mn-cs"/>
              </a:rPr>
              <a:t>2. Client presents token to Web Access, Broker queries DB to determine resources authorized for user</a:t>
            </a:r>
          </a:p>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a:ea typeface="+mn-ea"/>
                <a:cs typeface="+mn-cs"/>
              </a:rPr>
              <a:t>3. User selects resource, is connected to Gateway by the Azure service</a:t>
            </a:r>
          </a:p>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a:ea typeface="+mn-ea"/>
                <a:cs typeface="+mn-cs"/>
              </a:rPr>
              <a:t>4. Broker orchestrates connection from Host Agent to Gateway</a:t>
            </a:r>
          </a:p>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a:ea typeface="+mn-ea"/>
                <a:cs typeface="+mn-cs"/>
              </a:rPr>
              <a:t> </a:t>
            </a:r>
          </a:p>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a:ea typeface="+mn-ea"/>
                <a:cs typeface="+mn-cs"/>
              </a:rPr>
              <a:t>&gt;&gt;&gt; RDP traffic now flowing between RD client and session host VM between 3 and 4</a:t>
            </a:r>
          </a:p>
        </p:txBody>
      </p:sp>
      <p:grpSp>
        <p:nvGrpSpPr>
          <p:cNvPr id="22" name="Group 21">
            <a:extLst>
              <a:ext uri="{FF2B5EF4-FFF2-40B4-BE49-F238E27FC236}">
                <a16:creationId xmlns:a16="http://schemas.microsoft.com/office/drawing/2014/main" id="{27999B9E-ECDC-47A7-8E8C-E7526CC3915F}"/>
              </a:ext>
            </a:extLst>
          </p:cNvPr>
          <p:cNvGrpSpPr/>
          <p:nvPr/>
        </p:nvGrpSpPr>
        <p:grpSpPr>
          <a:xfrm>
            <a:off x="6523764" y="4464786"/>
            <a:ext cx="1464273" cy="550619"/>
            <a:chOff x="6523764" y="4464786"/>
            <a:chExt cx="1464273" cy="550619"/>
          </a:xfrm>
        </p:grpSpPr>
        <p:cxnSp>
          <p:nvCxnSpPr>
            <p:cNvPr id="170" name="Straight Arrow Connector 169">
              <a:extLst>
                <a:ext uri="{FF2B5EF4-FFF2-40B4-BE49-F238E27FC236}">
                  <a16:creationId xmlns:a16="http://schemas.microsoft.com/office/drawing/2014/main" id="{5F38DC1B-93EB-47E6-AC99-F0B0C553A2D0}"/>
                </a:ext>
              </a:extLst>
            </p:cNvPr>
            <p:cNvCxnSpPr>
              <a:cxnSpLocks/>
            </p:cNvCxnSpPr>
            <p:nvPr/>
          </p:nvCxnSpPr>
          <p:spPr>
            <a:xfrm flipH="1">
              <a:off x="6523764" y="4464786"/>
              <a:ext cx="1464273" cy="550619"/>
            </a:xfrm>
            <a:prstGeom prst="straightConnector1">
              <a:avLst/>
            </a:prstGeom>
            <a:ln w="38100">
              <a:solidFill>
                <a:schemeClr val="accent2"/>
              </a:solidFill>
              <a:headEnd type="none"/>
              <a:tailEnd type="arrow" w="sm" len="sm"/>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88" name="Oval 187">
              <a:extLst>
                <a:ext uri="{FF2B5EF4-FFF2-40B4-BE49-F238E27FC236}">
                  <a16:creationId xmlns:a16="http://schemas.microsoft.com/office/drawing/2014/main" id="{428298DD-1105-4448-8702-D8500756364F}"/>
                </a:ext>
              </a:extLst>
            </p:cNvPr>
            <p:cNvSpPr/>
            <p:nvPr/>
          </p:nvSpPr>
          <p:spPr bwMode="auto">
            <a:xfrm>
              <a:off x="7255316" y="4580064"/>
              <a:ext cx="256385" cy="256385"/>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144" rIns="0" bIns="0"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Segoe UI Light"/>
                </a:rPr>
                <a:t>0</a:t>
              </a:r>
            </a:p>
          </p:txBody>
        </p:sp>
      </p:grpSp>
      <p:grpSp>
        <p:nvGrpSpPr>
          <p:cNvPr id="24" name="Group 23">
            <a:extLst>
              <a:ext uri="{FF2B5EF4-FFF2-40B4-BE49-F238E27FC236}">
                <a16:creationId xmlns:a16="http://schemas.microsoft.com/office/drawing/2014/main" id="{B1DECBCC-BEF2-4C4D-8F98-600A1649CD89}"/>
              </a:ext>
            </a:extLst>
          </p:cNvPr>
          <p:cNvGrpSpPr/>
          <p:nvPr/>
        </p:nvGrpSpPr>
        <p:grpSpPr>
          <a:xfrm>
            <a:off x="4790789" y="4046929"/>
            <a:ext cx="3032676" cy="981888"/>
            <a:chOff x="4790789" y="4046929"/>
            <a:chExt cx="3032676" cy="981888"/>
          </a:xfrm>
        </p:grpSpPr>
        <p:cxnSp>
          <p:nvCxnSpPr>
            <p:cNvPr id="186" name="Straight Arrow Connector 185">
              <a:extLst>
                <a:ext uri="{FF2B5EF4-FFF2-40B4-BE49-F238E27FC236}">
                  <a16:creationId xmlns:a16="http://schemas.microsoft.com/office/drawing/2014/main" id="{08D3E384-5AA7-4D1A-9CEF-E2690D0A38D6}"/>
                </a:ext>
              </a:extLst>
            </p:cNvPr>
            <p:cNvCxnSpPr>
              <a:cxnSpLocks/>
              <a:endCxn id="250" idx="11"/>
            </p:cNvCxnSpPr>
            <p:nvPr/>
          </p:nvCxnSpPr>
          <p:spPr>
            <a:xfrm flipH="1">
              <a:off x="4790789" y="4046929"/>
              <a:ext cx="3032676" cy="981888"/>
            </a:xfrm>
            <a:prstGeom prst="straightConnector1">
              <a:avLst/>
            </a:prstGeom>
            <a:ln w="38100">
              <a:solidFill>
                <a:schemeClr val="accent2"/>
              </a:solidFill>
              <a:headEnd type="none"/>
              <a:tailEnd type="arrow" w="sm" len="sm"/>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92" name="Oval 191">
              <a:extLst>
                <a:ext uri="{FF2B5EF4-FFF2-40B4-BE49-F238E27FC236}">
                  <a16:creationId xmlns:a16="http://schemas.microsoft.com/office/drawing/2014/main" id="{76C82DED-B30E-4CF0-B7BB-87312A239D70}"/>
                </a:ext>
              </a:extLst>
            </p:cNvPr>
            <p:cNvSpPr/>
            <p:nvPr/>
          </p:nvSpPr>
          <p:spPr bwMode="auto">
            <a:xfrm>
              <a:off x="7277770" y="4048241"/>
              <a:ext cx="256385" cy="256385"/>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144" rIns="0" bIns="0"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Segoe UI Light"/>
                </a:rPr>
                <a:t>4</a:t>
              </a:r>
            </a:p>
          </p:txBody>
        </p:sp>
      </p:grpSp>
      <p:grpSp>
        <p:nvGrpSpPr>
          <p:cNvPr id="230" name="Group 229">
            <a:extLst>
              <a:ext uri="{FF2B5EF4-FFF2-40B4-BE49-F238E27FC236}">
                <a16:creationId xmlns:a16="http://schemas.microsoft.com/office/drawing/2014/main" id="{BA9AEB8B-8665-49F7-A3EA-8D7CFB576F10}"/>
              </a:ext>
            </a:extLst>
          </p:cNvPr>
          <p:cNvGrpSpPr/>
          <p:nvPr/>
        </p:nvGrpSpPr>
        <p:grpSpPr>
          <a:xfrm>
            <a:off x="2712756" y="3990529"/>
            <a:ext cx="492213" cy="256385"/>
            <a:chOff x="2712756" y="3990529"/>
            <a:chExt cx="492213" cy="256385"/>
          </a:xfrm>
        </p:grpSpPr>
        <p:cxnSp>
          <p:nvCxnSpPr>
            <p:cNvPr id="135" name="Straight Arrow Connector 134">
              <a:extLst>
                <a:ext uri="{FF2B5EF4-FFF2-40B4-BE49-F238E27FC236}">
                  <a16:creationId xmlns:a16="http://schemas.microsoft.com/office/drawing/2014/main" id="{14FF8311-B1E8-472A-BE83-5FDE37DD489C}"/>
                </a:ext>
              </a:extLst>
            </p:cNvPr>
            <p:cNvCxnSpPr>
              <a:cxnSpLocks/>
            </p:cNvCxnSpPr>
            <p:nvPr/>
          </p:nvCxnSpPr>
          <p:spPr>
            <a:xfrm>
              <a:off x="2737386" y="4130168"/>
              <a:ext cx="467583" cy="0"/>
            </a:xfrm>
            <a:prstGeom prst="straightConnector1">
              <a:avLst/>
            </a:prstGeom>
            <a:ln w="38100">
              <a:solidFill>
                <a:schemeClr val="accent2"/>
              </a:solidFill>
              <a:headEnd type="none"/>
              <a:tailEnd type="arrow" w="sm" len="sm"/>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37" name="Oval 136">
              <a:extLst>
                <a:ext uri="{FF2B5EF4-FFF2-40B4-BE49-F238E27FC236}">
                  <a16:creationId xmlns:a16="http://schemas.microsoft.com/office/drawing/2014/main" id="{D355B9FC-0B11-411D-9C5F-BAAF4833DC96}"/>
                </a:ext>
              </a:extLst>
            </p:cNvPr>
            <p:cNvSpPr/>
            <p:nvPr/>
          </p:nvSpPr>
          <p:spPr bwMode="auto">
            <a:xfrm>
              <a:off x="2712756" y="3990529"/>
              <a:ext cx="256385" cy="256385"/>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144" rIns="0" bIns="0"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Segoe UI Light"/>
                </a:rPr>
                <a:t>2</a:t>
              </a:r>
            </a:p>
          </p:txBody>
        </p:sp>
      </p:grpSp>
      <p:grpSp>
        <p:nvGrpSpPr>
          <p:cNvPr id="141" name="Group 140">
            <a:extLst>
              <a:ext uri="{FF2B5EF4-FFF2-40B4-BE49-F238E27FC236}">
                <a16:creationId xmlns:a16="http://schemas.microsoft.com/office/drawing/2014/main" id="{7AE17D67-7516-4876-B02D-79B2CA8AA1C3}"/>
              </a:ext>
            </a:extLst>
          </p:cNvPr>
          <p:cNvGrpSpPr/>
          <p:nvPr/>
        </p:nvGrpSpPr>
        <p:grpSpPr>
          <a:xfrm>
            <a:off x="2712756" y="4890252"/>
            <a:ext cx="492213" cy="256385"/>
            <a:chOff x="2712756" y="3990529"/>
            <a:chExt cx="492213" cy="256385"/>
          </a:xfrm>
        </p:grpSpPr>
        <p:cxnSp>
          <p:nvCxnSpPr>
            <p:cNvPr id="142" name="Straight Arrow Connector 141">
              <a:extLst>
                <a:ext uri="{FF2B5EF4-FFF2-40B4-BE49-F238E27FC236}">
                  <a16:creationId xmlns:a16="http://schemas.microsoft.com/office/drawing/2014/main" id="{85348F15-953D-4450-8009-43F16D0873DE}"/>
                </a:ext>
              </a:extLst>
            </p:cNvPr>
            <p:cNvCxnSpPr>
              <a:cxnSpLocks/>
            </p:cNvCxnSpPr>
            <p:nvPr/>
          </p:nvCxnSpPr>
          <p:spPr>
            <a:xfrm>
              <a:off x="2737386" y="4130168"/>
              <a:ext cx="467583" cy="0"/>
            </a:xfrm>
            <a:prstGeom prst="straightConnector1">
              <a:avLst/>
            </a:prstGeom>
            <a:ln w="38100">
              <a:solidFill>
                <a:schemeClr val="accent2"/>
              </a:solidFill>
              <a:headEnd type="none"/>
              <a:tailEnd type="arrow" w="sm" len="sm"/>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43" name="Oval 142">
              <a:extLst>
                <a:ext uri="{FF2B5EF4-FFF2-40B4-BE49-F238E27FC236}">
                  <a16:creationId xmlns:a16="http://schemas.microsoft.com/office/drawing/2014/main" id="{5A940F49-0580-46C5-8500-196DB865E827}"/>
                </a:ext>
              </a:extLst>
            </p:cNvPr>
            <p:cNvSpPr/>
            <p:nvPr/>
          </p:nvSpPr>
          <p:spPr bwMode="auto">
            <a:xfrm>
              <a:off x="2712756" y="3990529"/>
              <a:ext cx="256385" cy="256385"/>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144" rIns="0" bIns="0"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Segoe UI Light"/>
                </a:rPr>
                <a:t>3</a:t>
              </a:r>
            </a:p>
          </p:txBody>
        </p:sp>
      </p:grpSp>
      <p:grpSp>
        <p:nvGrpSpPr>
          <p:cNvPr id="103" name="Group 102">
            <a:extLst>
              <a:ext uri="{FF2B5EF4-FFF2-40B4-BE49-F238E27FC236}">
                <a16:creationId xmlns:a16="http://schemas.microsoft.com/office/drawing/2014/main" id="{EAC43220-F22E-4400-B955-7A1C030EE1EF}"/>
              </a:ext>
            </a:extLst>
          </p:cNvPr>
          <p:cNvGrpSpPr/>
          <p:nvPr/>
        </p:nvGrpSpPr>
        <p:grpSpPr>
          <a:xfrm>
            <a:off x="7787505" y="4694971"/>
            <a:ext cx="3406136" cy="587682"/>
            <a:chOff x="7787505" y="5258366"/>
            <a:chExt cx="3406136" cy="587682"/>
          </a:xfrm>
        </p:grpSpPr>
        <p:grpSp>
          <p:nvGrpSpPr>
            <p:cNvPr id="104" name="Group 103">
              <a:extLst>
                <a:ext uri="{FF2B5EF4-FFF2-40B4-BE49-F238E27FC236}">
                  <a16:creationId xmlns:a16="http://schemas.microsoft.com/office/drawing/2014/main" id="{F72DF7FE-F662-4D1E-8564-A33D191D3A41}"/>
                </a:ext>
              </a:extLst>
            </p:cNvPr>
            <p:cNvGrpSpPr/>
            <p:nvPr/>
          </p:nvGrpSpPr>
          <p:grpSpPr>
            <a:xfrm>
              <a:off x="7787505" y="5258366"/>
              <a:ext cx="3406136" cy="587682"/>
              <a:chOff x="3519131" y="2542018"/>
              <a:chExt cx="3406136" cy="587682"/>
            </a:xfrm>
          </p:grpSpPr>
          <p:grpSp>
            <p:nvGrpSpPr>
              <p:cNvPr id="111" name="Group 110">
                <a:extLst>
                  <a:ext uri="{FF2B5EF4-FFF2-40B4-BE49-F238E27FC236}">
                    <a16:creationId xmlns:a16="http://schemas.microsoft.com/office/drawing/2014/main" id="{B20C8C8F-97D9-4343-A2B2-FE74B630537B}"/>
                  </a:ext>
                </a:extLst>
              </p:cNvPr>
              <p:cNvGrpSpPr/>
              <p:nvPr/>
            </p:nvGrpSpPr>
            <p:grpSpPr>
              <a:xfrm>
                <a:off x="3519131" y="2542018"/>
                <a:ext cx="3334218" cy="498768"/>
                <a:chOff x="7837970" y="2542018"/>
                <a:chExt cx="3334218" cy="498768"/>
              </a:xfrm>
            </p:grpSpPr>
            <p:sp>
              <p:nvSpPr>
                <p:cNvPr id="122" name="Rectangle: Rounded Corners 121">
                  <a:extLst>
                    <a:ext uri="{FF2B5EF4-FFF2-40B4-BE49-F238E27FC236}">
                      <a16:creationId xmlns:a16="http://schemas.microsoft.com/office/drawing/2014/main" id="{2382D668-E37E-459E-A99F-B6B5E18EAAF9}"/>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23" name="Rectangle: Rounded Corners 122">
                  <a:extLst>
                    <a:ext uri="{FF2B5EF4-FFF2-40B4-BE49-F238E27FC236}">
                      <a16:creationId xmlns:a16="http://schemas.microsoft.com/office/drawing/2014/main" id="{ECB2A85E-46D6-4D0B-9F79-D40766074199}"/>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112" name="Group 111">
                <a:extLst>
                  <a:ext uri="{FF2B5EF4-FFF2-40B4-BE49-F238E27FC236}">
                    <a16:creationId xmlns:a16="http://schemas.microsoft.com/office/drawing/2014/main" id="{68D9565D-C85C-466F-B528-22F6DC895213}"/>
                  </a:ext>
                </a:extLst>
              </p:cNvPr>
              <p:cNvGrpSpPr/>
              <p:nvPr/>
            </p:nvGrpSpPr>
            <p:grpSpPr>
              <a:xfrm>
                <a:off x="3555090" y="2586475"/>
                <a:ext cx="3334218" cy="498768"/>
                <a:chOff x="7837970" y="2542018"/>
                <a:chExt cx="3334218" cy="498768"/>
              </a:xfrm>
            </p:grpSpPr>
            <p:sp>
              <p:nvSpPr>
                <p:cNvPr id="117" name="Rectangle: Rounded Corners 116">
                  <a:extLst>
                    <a:ext uri="{FF2B5EF4-FFF2-40B4-BE49-F238E27FC236}">
                      <a16:creationId xmlns:a16="http://schemas.microsoft.com/office/drawing/2014/main" id="{4B5991B7-A3DA-436C-8817-A7078F4D01FE}"/>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21" name="Rectangle: Rounded Corners 120">
                  <a:extLst>
                    <a:ext uri="{FF2B5EF4-FFF2-40B4-BE49-F238E27FC236}">
                      <a16:creationId xmlns:a16="http://schemas.microsoft.com/office/drawing/2014/main" id="{A813B356-564F-4C4D-B643-2F91C5F27C01}"/>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113" name="Group 112">
                <a:extLst>
                  <a:ext uri="{FF2B5EF4-FFF2-40B4-BE49-F238E27FC236}">
                    <a16:creationId xmlns:a16="http://schemas.microsoft.com/office/drawing/2014/main" id="{19E6FCB9-8BFD-4555-9F28-78DFF85ADF87}"/>
                  </a:ext>
                </a:extLst>
              </p:cNvPr>
              <p:cNvGrpSpPr/>
              <p:nvPr/>
            </p:nvGrpSpPr>
            <p:grpSpPr>
              <a:xfrm>
                <a:off x="3591049" y="2630932"/>
                <a:ext cx="3334218" cy="498768"/>
                <a:chOff x="7837970" y="2542018"/>
                <a:chExt cx="3334218" cy="498768"/>
              </a:xfrm>
            </p:grpSpPr>
            <p:sp>
              <p:nvSpPr>
                <p:cNvPr id="115" name="Rectangle: Rounded Corners 114">
                  <a:extLst>
                    <a:ext uri="{FF2B5EF4-FFF2-40B4-BE49-F238E27FC236}">
                      <a16:creationId xmlns:a16="http://schemas.microsoft.com/office/drawing/2014/main" id="{C1ED80EA-A180-4D31-B0D7-BE283BE14EFF}"/>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Active </a:t>
                  </a:r>
                </a:p>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Directory</a:t>
                  </a:r>
                </a:p>
              </p:txBody>
            </p:sp>
            <p:sp>
              <p:nvSpPr>
                <p:cNvPr id="116" name="Rectangle: Rounded Corners 115">
                  <a:extLst>
                    <a:ext uri="{FF2B5EF4-FFF2-40B4-BE49-F238E27FC236}">
                      <a16:creationId xmlns:a16="http://schemas.microsoft.com/office/drawing/2014/main" id="{14F4B8F8-8492-43D7-A39C-EEC5B7BE04C0}"/>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User Profile</a:t>
                  </a:r>
                </a:p>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File Server</a:t>
                  </a:r>
                </a:p>
              </p:txBody>
            </p:sp>
          </p:grpSp>
        </p:grpSp>
        <p:grpSp>
          <p:nvGrpSpPr>
            <p:cNvPr id="105" name="Group 104">
              <a:extLst>
                <a:ext uri="{FF2B5EF4-FFF2-40B4-BE49-F238E27FC236}">
                  <a16:creationId xmlns:a16="http://schemas.microsoft.com/office/drawing/2014/main" id="{C904CA10-6BDE-4706-AABA-7CF306722CDA}"/>
                </a:ext>
              </a:extLst>
            </p:cNvPr>
            <p:cNvGrpSpPr/>
            <p:nvPr/>
          </p:nvGrpSpPr>
          <p:grpSpPr>
            <a:xfrm>
              <a:off x="8883843" y="5370593"/>
              <a:ext cx="378819" cy="378819"/>
              <a:chOff x="5564119" y="2081144"/>
              <a:chExt cx="501718" cy="501718"/>
            </a:xfrm>
          </p:grpSpPr>
          <p:sp>
            <p:nvSpPr>
              <p:cNvPr id="109" name="Diamond 108">
                <a:extLst>
                  <a:ext uri="{FF2B5EF4-FFF2-40B4-BE49-F238E27FC236}">
                    <a16:creationId xmlns:a16="http://schemas.microsoft.com/office/drawing/2014/main" id="{3DCBEBC8-D2A5-4B17-B1D8-BC3E5A912313}"/>
                  </a:ext>
                </a:extLst>
              </p:cNvPr>
              <p:cNvSpPr/>
              <p:nvPr/>
            </p:nvSpPr>
            <p:spPr bwMode="auto">
              <a:xfrm>
                <a:off x="5614884" y="2160973"/>
                <a:ext cx="418054" cy="39572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110" name="Graphic 109">
                <a:extLst>
                  <a:ext uri="{FF2B5EF4-FFF2-40B4-BE49-F238E27FC236}">
                    <a16:creationId xmlns:a16="http://schemas.microsoft.com/office/drawing/2014/main" id="{0C33FDEE-9D87-45B9-BAA4-3C7CF1CCFBC2}"/>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564119" y="2081144"/>
                <a:ext cx="501718" cy="501718"/>
              </a:xfrm>
              <a:prstGeom prst="rect">
                <a:avLst/>
              </a:prstGeom>
            </p:spPr>
          </p:pic>
        </p:grpSp>
        <p:grpSp>
          <p:nvGrpSpPr>
            <p:cNvPr id="106" name="Group 105">
              <a:extLst>
                <a:ext uri="{FF2B5EF4-FFF2-40B4-BE49-F238E27FC236}">
                  <a16:creationId xmlns:a16="http://schemas.microsoft.com/office/drawing/2014/main" id="{EDA8033D-7D42-4400-A14F-DF706EEF0357}"/>
                </a:ext>
              </a:extLst>
            </p:cNvPr>
            <p:cNvGrpSpPr/>
            <p:nvPr/>
          </p:nvGrpSpPr>
          <p:grpSpPr>
            <a:xfrm>
              <a:off x="10569241" y="5402721"/>
              <a:ext cx="396950" cy="355079"/>
              <a:chOff x="10633596" y="3514287"/>
              <a:chExt cx="396950" cy="355079"/>
            </a:xfrm>
          </p:grpSpPr>
          <p:sp>
            <p:nvSpPr>
              <p:cNvPr id="107" name="Hexagon 106">
                <a:extLst>
                  <a:ext uri="{FF2B5EF4-FFF2-40B4-BE49-F238E27FC236}">
                    <a16:creationId xmlns:a16="http://schemas.microsoft.com/office/drawing/2014/main" id="{FF7B6191-A888-4DD3-AD1A-540EED9139D1}"/>
                  </a:ext>
                </a:extLst>
              </p:cNvPr>
              <p:cNvSpPr/>
              <p:nvPr/>
            </p:nvSpPr>
            <p:spPr>
              <a:xfrm>
                <a:off x="10633596" y="3514287"/>
                <a:ext cx="396950" cy="355079"/>
              </a:xfrm>
              <a:prstGeom prst="hexagon">
                <a:avLst>
                  <a:gd name="adj" fmla="val 30307"/>
                  <a:gd name="vf" fmla="val 11547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3525" b="0" i="0" u="none" strike="noStrike" kern="1200" cap="none" spc="0" normalizeH="0" baseline="0" noProof="0">
                  <a:ln>
                    <a:noFill/>
                  </a:ln>
                  <a:solidFill>
                    <a:srgbClr val="FFFFFF"/>
                  </a:solidFill>
                  <a:effectLst/>
                  <a:uLnTx/>
                  <a:uFillTx/>
                  <a:latin typeface="Segoe UI"/>
                  <a:ea typeface="+mn-ea"/>
                  <a:cs typeface="+mn-cs"/>
                </a:endParaRPr>
              </a:p>
            </p:txBody>
          </p:sp>
          <p:pic>
            <p:nvPicPr>
              <p:cNvPr id="108" name="Picture 107">
                <a:extLst>
                  <a:ext uri="{FF2B5EF4-FFF2-40B4-BE49-F238E27FC236}">
                    <a16:creationId xmlns:a16="http://schemas.microsoft.com/office/drawing/2014/main" id="{A029A765-3C9F-4A52-9B0C-A882CE1EB0F9}"/>
                  </a:ext>
                </a:extLst>
              </p:cNvPr>
              <p:cNvPicPr>
                <a:picLocks noChangeAspect="1"/>
              </p:cNvPicPr>
              <p:nvPr/>
            </p:nvPicPr>
            <p:blipFill>
              <a:blip r:embed="rId9" cstate="email">
                <a:clrChange>
                  <a:clrFrom>
                    <a:srgbClr val="000000"/>
                  </a:clrFrom>
                  <a:clrTo>
                    <a:srgbClr val="000000">
                      <a:alpha val="0"/>
                    </a:srgbClr>
                  </a:clrTo>
                </a:clrChange>
                <a:biLevel thresh="25000"/>
                <a:extLst>
                  <a:ext uri="{28A0092B-C50C-407E-A947-70E740481C1C}">
                    <a14:useLocalDpi xmlns:a14="http://schemas.microsoft.com/office/drawing/2010/main"/>
                  </a:ext>
                </a:extLst>
              </a:blip>
              <a:stretch>
                <a:fillRect/>
              </a:stretch>
            </p:blipFill>
            <p:spPr>
              <a:xfrm>
                <a:off x="10734260" y="3588834"/>
                <a:ext cx="195622" cy="205984"/>
              </a:xfrm>
              <a:prstGeom prst="rect">
                <a:avLst/>
              </a:prstGeom>
            </p:spPr>
          </p:pic>
        </p:grpSp>
      </p:grpSp>
    </p:spTree>
    <p:extLst>
      <p:ext uri="{BB962C8B-B14F-4D97-AF65-F5344CB8AC3E}">
        <p14:creationId xmlns:p14="http://schemas.microsoft.com/office/powerpoint/2010/main" val="52545911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21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58"/>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17">
                                            <p:txEl>
                                              <p:pRg st="1" end="1"/>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nodeType="clickEffect">
                                  <p:stCondLst>
                                    <p:cond delay="0"/>
                                  </p:stCondLst>
                                  <p:childTnLst>
                                    <p:set>
                                      <p:cBhvr>
                                        <p:cTn id="16" dur="1" fill="hold">
                                          <p:stCondLst>
                                            <p:cond delay="0"/>
                                          </p:stCondLst>
                                        </p:cTn>
                                        <p:tgtEl>
                                          <p:spTgt spid="258"/>
                                        </p:tgtEl>
                                        <p:attrNameLst>
                                          <p:attrName>style.visibility</p:attrName>
                                        </p:attrNameLst>
                                      </p:cBhvr>
                                      <p:to>
                                        <p:strVal val="hidden"/>
                                      </p:to>
                                    </p:set>
                                  </p:childTnLst>
                                </p:cTn>
                              </p:par>
                              <p:par>
                                <p:cTn id="17" presetID="10" presetClass="entr" presetSubtype="0" fill="hold" nodeType="withEffect">
                                  <p:stCondLst>
                                    <p:cond delay="0"/>
                                  </p:stCondLst>
                                  <p:childTnLst>
                                    <p:set>
                                      <p:cBhvr>
                                        <p:cTn id="18" dur="1" fill="hold">
                                          <p:stCondLst>
                                            <p:cond delay="0"/>
                                          </p:stCondLst>
                                        </p:cTn>
                                        <p:tgtEl>
                                          <p:spTgt spid="230"/>
                                        </p:tgtEl>
                                        <p:attrNameLst>
                                          <p:attrName>style.visibility</p:attrName>
                                        </p:attrNameLst>
                                      </p:cBhvr>
                                      <p:to>
                                        <p:strVal val="visible"/>
                                      </p:to>
                                    </p:set>
                                    <p:animEffect transition="in" filter="fade">
                                      <p:cBhvr>
                                        <p:cTn id="19" dur="500"/>
                                        <p:tgtEl>
                                          <p:spTgt spid="230"/>
                                        </p:tgtEl>
                                      </p:cBhvr>
                                    </p:animEffect>
                                  </p:childTnLst>
                                </p:cTn>
                              </p:par>
                              <p:par>
                                <p:cTn id="20" presetID="1" presetClass="entr" presetSubtype="0" fill="hold" nodeType="withEffect">
                                  <p:stCondLst>
                                    <p:cond delay="0"/>
                                  </p:stCondLst>
                                  <p:childTnLst>
                                    <p:set>
                                      <p:cBhvr>
                                        <p:cTn id="21" dur="1" fill="hold">
                                          <p:stCondLst>
                                            <p:cond delay="0"/>
                                          </p:stCondLst>
                                        </p:cTn>
                                        <p:tgtEl>
                                          <p:spTgt spid="217">
                                            <p:txEl>
                                              <p:pRg st="2" end="2"/>
                                            </p:txEl>
                                          </p:spTgt>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1" presetClass="exit" presetSubtype="0" fill="hold" nodeType="clickEffect">
                                  <p:stCondLst>
                                    <p:cond delay="0"/>
                                  </p:stCondLst>
                                  <p:childTnLst>
                                    <p:set>
                                      <p:cBhvr>
                                        <p:cTn id="25" dur="1" fill="hold">
                                          <p:stCondLst>
                                            <p:cond delay="0"/>
                                          </p:stCondLst>
                                        </p:cTn>
                                        <p:tgtEl>
                                          <p:spTgt spid="230"/>
                                        </p:tgtEl>
                                        <p:attrNameLst>
                                          <p:attrName>style.visibility</p:attrName>
                                        </p:attrNameLst>
                                      </p:cBhvr>
                                      <p:to>
                                        <p:strVal val="hidden"/>
                                      </p:to>
                                    </p:set>
                                  </p:childTnLst>
                                </p:cTn>
                              </p:par>
                              <p:par>
                                <p:cTn id="26" presetID="10" presetClass="entr" presetSubtype="0" fill="hold" nodeType="withEffect">
                                  <p:stCondLst>
                                    <p:cond delay="0"/>
                                  </p:stCondLst>
                                  <p:childTnLst>
                                    <p:set>
                                      <p:cBhvr>
                                        <p:cTn id="27" dur="1" fill="hold">
                                          <p:stCondLst>
                                            <p:cond delay="0"/>
                                          </p:stCondLst>
                                        </p:cTn>
                                        <p:tgtEl>
                                          <p:spTgt spid="141"/>
                                        </p:tgtEl>
                                        <p:attrNameLst>
                                          <p:attrName>style.visibility</p:attrName>
                                        </p:attrNameLst>
                                      </p:cBhvr>
                                      <p:to>
                                        <p:strVal val="visible"/>
                                      </p:to>
                                    </p:set>
                                    <p:animEffect transition="in" filter="fade">
                                      <p:cBhvr>
                                        <p:cTn id="28" dur="500"/>
                                        <p:tgtEl>
                                          <p:spTgt spid="141"/>
                                        </p:tgtEl>
                                      </p:cBhvr>
                                    </p:animEffect>
                                  </p:childTnLst>
                                </p:cTn>
                              </p:par>
                              <p:par>
                                <p:cTn id="29" presetID="1" presetClass="entr" presetSubtype="0" fill="hold" nodeType="withEffect">
                                  <p:stCondLst>
                                    <p:cond delay="0"/>
                                  </p:stCondLst>
                                  <p:childTnLst>
                                    <p:set>
                                      <p:cBhvr>
                                        <p:cTn id="30" dur="1" fill="hold">
                                          <p:stCondLst>
                                            <p:cond delay="0"/>
                                          </p:stCondLst>
                                        </p:cTn>
                                        <p:tgtEl>
                                          <p:spTgt spid="217">
                                            <p:txEl>
                                              <p:pRg st="3" end="3"/>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24"/>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217">
                                            <p:txEl>
                                              <p:pRg st="4" end="4"/>
                                            </p:tx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217">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4E36D8-10CD-4854-9EB9-B7D0BA00B114}"/>
              </a:ext>
            </a:extLst>
          </p:cNvPr>
          <p:cNvSpPr>
            <a:spLocks noGrp="1"/>
          </p:cNvSpPr>
          <p:nvPr>
            <p:ph type="title"/>
          </p:nvPr>
        </p:nvSpPr>
        <p:spPr>
          <a:xfrm>
            <a:off x="588263" y="457200"/>
            <a:ext cx="11018520" cy="553998"/>
          </a:xfrm>
        </p:spPr>
        <p:txBody>
          <a:bodyPr/>
          <a:lstStyle/>
          <a:p>
            <a:r>
              <a:rPr lang="en-US" dirty="0"/>
              <a:t>All VMs in WVD </a:t>
            </a:r>
            <a:r>
              <a:rPr lang="en-US"/>
              <a:t>must access </a:t>
            </a:r>
            <a:r>
              <a:rPr lang="en-US" dirty="0"/>
              <a:t>Management Plane</a:t>
            </a:r>
          </a:p>
        </p:txBody>
      </p:sp>
      <p:sp>
        <p:nvSpPr>
          <p:cNvPr id="3" name="Text Placeholder 2">
            <a:extLst>
              <a:ext uri="{FF2B5EF4-FFF2-40B4-BE49-F238E27FC236}">
                <a16:creationId xmlns:a16="http://schemas.microsoft.com/office/drawing/2014/main" id="{C36F8861-CB9D-49E5-8E06-3A3028CF22D6}"/>
              </a:ext>
            </a:extLst>
          </p:cNvPr>
          <p:cNvSpPr>
            <a:spLocks noGrp="1"/>
          </p:cNvSpPr>
          <p:nvPr>
            <p:ph type="body" sz="quarter" idx="10"/>
          </p:nvPr>
        </p:nvSpPr>
        <p:spPr>
          <a:xfrm>
            <a:off x="584200" y="1435497"/>
            <a:ext cx="11018520" cy="1501950"/>
          </a:xfrm>
        </p:spPr>
        <p:txBody>
          <a:bodyPr/>
          <a:lstStyle/>
          <a:p>
            <a:r>
              <a:rPr lang="en-US" sz="2000" dirty="0"/>
              <a:t>Ports Reference: </a:t>
            </a:r>
            <a:r>
              <a:rPr lang="en-US" sz="2000" u="sng" dirty="0">
                <a:hlinkClick r:id="rId2"/>
              </a:rPr>
              <a:t>https://docs.microsoft.com/en-us/azure/virtual-desktop/overview</a:t>
            </a:r>
            <a:r>
              <a:rPr lang="en-US" sz="2000" dirty="0"/>
              <a:t> </a:t>
            </a:r>
          </a:p>
          <a:p>
            <a:r>
              <a:rPr lang="en-US" sz="2000" dirty="0"/>
              <a:t>Forced Routing Reference for KMS traffic: </a:t>
            </a:r>
            <a:r>
              <a:rPr lang="en-US" sz="2000" dirty="0">
                <a:hlinkClick r:id="rId3"/>
              </a:rPr>
              <a:t>https://docs.microsoft.com/en-us/azure/virtual-machines/troubleshooting/custom-routes-enable-kms-activation</a:t>
            </a:r>
            <a:endParaRPr lang="en-US" sz="2000" dirty="0"/>
          </a:p>
          <a:p>
            <a:endParaRPr lang="en-US" dirty="0"/>
          </a:p>
        </p:txBody>
      </p:sp>
      <p:graphicFrame>
        <p:nvGraphicFramePr>
          <p:cNvPr id="4" name="Table 3">
            <a:extLst>
              <a:ext uri="{FF2B5EF4-FFF2-40B4-BE49-F238E27FC236}">
                <a16:creationId xmlns:a16="http://schemas.microsoft.com/office/drawing/2014/main" id="{1B6D6ABE-D8E3-40B2-A212-F056F1C71341}"/>
              </a:ext>
            </a:extLst>
          </p:cNvPr>
          <p:cNvGraphicFramePr>
            <a:graphicFrameLocks noGrp="1"/>
          </p:cNvGraphicFramePr>
          <p:nvPr>
            <p:extLst>
              <p:ext uri="{D42A27DB-BD31-4B8C-83A1-F6EECF244321}">
                <p14:modId xmlns:p14="http://schemas.microsoft.com/office/powerpoint/2010/main" val="2553257470"/>
              </p:ext>
            </p:extLst>
          </p:nvPr>
        </p:nvGraphicFramePr>
        <p:xfrm>
          <a:off x="584200" y="2751540"/>
          <a:ext cx="11429298" cy="3580484"/>
        </p:xfrm>
        <a:graphic>
          <a:graphicData uri="http://schemas.openxmlformats.org/drawingml/2006/table">
            <a:tbl>
              <a:tblPr/>
              <a:tblGrid>
                <a:gridCol w="3809766">
                  <a:extLst>
                    <a:ext uri="{9D8B030D-6E8A-4147-A177-3AD203B41FA5}">
                      <a16:colId xmlns:a16="http://schemas.microsoft.com/office/drawing/2014/main" val="2971866764"/>
                    </a:ext>
                  </a:extLst>
                </a:gridCol>
                <a:gridCol w="2585077">
                  <a:extLst>
                    <a:ext uri="{9D8B030D-6E8A-4147-A177-3AD203B41FA5}">
                      <a16:colId xmlns:a16="http://schemas.microsoft.com/office/drawing/2014/main" val="3021391188"/>
                    </a:ext>
                  </a:extLst>
                </a:gridCol>
                <a:gridCol w="5034455">
                  <a:extLst>
                    <a:ext uri="{9D8B030D-6E8A-4147-A177-3AD203B41FA5}">
                      <a16:colId xmlns:a16="http://schemas.microsoft.com/office/drawing/2014/main" val="2649388875"/>
                    </a:ext>
                  </a:extLst>
                </a:gridCol>
              </a:tblGrid>
              <a:tr h="243503">
                <a:tc>
                  <a:txBody>
                    <a:bodyPr/>
                    <a:lstStyle/>
                    <a:p>
                      <a:pPr algn="l" fontAlgn="b"/>
                      <a:r>
                        <a:rPr lang="en-US" sz="2400" b="1" dirty="0">
                          <a:effectLst/>
                        </a:rPr>
                        <a:t>Address</a:t>
                      </a:r>
                    </a:p>
                  </a:txBody>
                  <a:tcPr marL="28802" marR="28802" marT="14401" marB="14401" anchor="b">
                    <a:lnL w="12700" cap="flat" cmpd="sng" algn="ctr">
                      <a:solidFill>
                        <a:srgbClr val="007EEE"/>
                      </a:solidFill>
                      <a:prstDash val="solid"/>
                      <a:round/>
                      <a:headEnd type="none" w="med" len="med"/>
                      <a:tailEnd type="none" w="med" len="med"/>
                    </a:lnL>
                    <a:lnR w="12700" cap="flat" cmpd="sng" algn="ctr">
                      <a:solidFill>
                        <a:srgbClr val="007EEE"/>
                      </a:solidFill>
                      <a:prstDash val="solid"/>
                      <a:round/>
                      <a:headEnd type="none" w="med" len="med"/>
                      <a:tailEnd type="none" w="med" len="med"/>
                    </a:lnR>
                    <a:lnT>
                      <a:noFill/>
                    </a:lnT>
                    <a:lnB w="9525" cap="flat" cmpd="sng" algn="ctr">
                      <a:solidFill>
                        <a:schemeClr val="bg1"/>
                      </a:solidFill>
                      <a:prstDash val="solid"/>
                      <a:round/>
                      <a:headEnd type="none" w="med" len="med"/>
                      <a:tailEnd type="none" w="med" len="med"/>
                    </a:lnB>
                    <a:solidFill>
                      <a:schemeClr val="tx2">
                        <a:lumMod val="25000"/>
                        <a:lumOff val="75000"/>
                      </a:schemeClr>
                    </a:solidFill>
                  </a:tcPr>
                </a:tc>
                <a:tc>
                  <a:txBody>
                    <a:bodyPr/>
                    <a:lstStyle/>
                    <a:p>
                      <a:pPr algn="l" fontAlgn="b"/>
                      <a:r>
                        <a:rPr lang="en-US" sz="2400" b="1" dirty="0">
                          <a:effectLst/>
                        </a:rPr>
                        <a:t>Outbound port</a:t>
                      </a:r>
                    </a:p>
                  </a:txBody>
                  <a:tcPr marL="28802" marR="28802" marT="14401" marB="14401" anchor="b">
                    <a:lnL w="12700" cap="flat" cmpd="sng" algn="ctr">
                      <a:solidFill>
                        <a:srgbClr val="007EEE"/>
                      </a:solidFill>
                      <a:prstDash val="solid"/>
                      <a:round/>
                      <a:headEnd type="none" w="med" len="med"/>
                      <a:tailEnd type="none" w="med" len="med"/>
                    </a:lnL>
                    <a:lnR w="12700" cap="flat" cmpd="sng" algn="ctr">
                      <a:solidFill>
                        <a:srgbClr val="6080EE"/>
                      </a:solidFill>
                      <a:prstDash val="solid"/>
                      <a:round/>
                      <a:headEnd type="none" w="med" len="med"/>
                      <a:tailEnd type="none" w="med" len="med"/>
                    </a:lnR>
                    <a:lnT>
                      <a:noFill/>
                    </a:lnT>
                    <a:lnB w="9525" cap="flat" cmpd="sng" algn="ctr">
                      <a:solidFill>
                        <a:schemeClr val="bg1"/>
                      </a:solidFill>
                      <a:prstDash val="solid"/>
                      <a:round/>
                      <a:headEnd type="none" w="med" len="med"/>
                      <a:tailEnd type="none" w="med" len="med"/>
                    </a:lnB>
                    <a:solidFill>
                      <a:schemeClr val="tx2">
                        <a:lumMod val="25000"/>
                        <a:lumOff val="75000"/>
                      </a:schemeClr>
                    </a:solidFill>
                  </a:tcPr>
                </a:tc>
                <a:tc>
                  <a:txBody>
                    <a:bodyPr/>
                    <a:lstStyle/>
                    <a:p>
                      <a:pPr algn="l" fontAlgn="b"/>
                      <a:r>
                        <a:rPr lang="en-US" sz="2400" b="1" dirty="0">
                          <a:effectLst/>
                        </a:rPr>
                        <a:t>Purpose</a:t>
                      </a:r>
                    </a:p>
                  </a:txBody>
                  <a:tcPr marL="28802" marR="28802" marT="14401" marB="14401" anchor="b">
                    <a:lnL w="12700" cap="flat" cmpd="sng" algn="ctr">
                      <a:solidFill>
                        <a:srgbClr val="6080EE"/>
                      </a:solidFill>
                      <a:prstDash val="solid"/>
                      <a:round/>
                      <a:headEnd type="none" w="med" len="med"/>
                      <a:tailEnd type="none" w="med" len="med"/>
                    </a:lnL>
                    <a:lnR w="12700" cap="flat" cmpd="sng" algn="ctr">
                      <a:solidFill>
                        <a:srgbClr val="6080EE"/>
                      </a:solidFill>
                      <a:prstDash val="solid"/>
                      <a:round/>
                      <a:headEnd type="none" w="med" len="med"/>
                      <a:tailEnd type="none" w="med" len="med"/>
                    </a:lnR>
                    <a:lnT>
                      <a:noFill/>
                    </a:lnT>
                    <a:lnB w="9525" cap="flat" cmpd="sng" algn="ctr">
                      <a:solidFill>
                        <a:schemeClr val="bg1"/>
                      </a:solidFill>
                      <a:prstDash val="solid"/>
                      <a:round/>
                      <a:headEnd type="none" w="med" len="med"/>
                      <a:tailEnd type="none" w="med" len="med"/>
                    </a:lnB>
                    <a:solidFill>
                      <a:schemeClr val="tx2">
                        <a:lumMod val="25000"/>
                        <a:lumOff val="75000"/>
                      </a:schemeClr>
                    </a:solidFill>
                  </a:tcPr>
                </a:tc>
                <a:extLst>
                  <a:ext uri="{0D108BD9-81ED-4DB2-BD59-A6C34878D82A}">
                    <a16:rowId xmlns:a16="http://schemas.microsoft.com/office/drawing/2014/main" val="4121692674"/>
                  </a:ext>
                </a:extLst>
              </a:tr>
              <a:tr h="428678">
                <a:tc>
                  <a:txBody>
                    <a:bodyPr/>
                    <a:lstStyle/>
                    <a:p>
                      <a:pPr algn="l" fontAlgn="t"/>
                      <a:r>
                        <a:rPr lang="en-US" sz="2000" dirty="0">
                          <a:effectLst/>
                        </a:rPr>
                        <a:t>*.wvd.microsoft.com</a:t>
                      </a:r>
                    </a:p>
                  </a:txBody>
                  <a:tcPr marL="28802" marR="28802" marT="14401" marB="14401">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FFFF"/>
                    </a:solidFill>
                  </a:tcPr>
                </a:tc>
                <a:tc>
                  <a:txBody>
                    <a:bodyPr/>
                    <a:lstStyle/>
                    <a:p>
                      <a:pPr algn="l" fontAlgn="t"/>
                      <a:r>
                        <a:rPr lang="en-US" sz="2000" dirty="0">
                          <a:effectLst/>
                        </a:rPr>
                        <a:t>TCP port 443</a:t>
                      </a:r>
                    </a:p>
                  </a:txBody>
                  <a:tcPr marL="28802" marR="28802" marT="14401" marB="14401">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FFFF"/>
                    </a:solidFill>
                  </a:tcPr>
                </a:tc>
                <a:tc>
                  <a:txBody>
                    <a:bodyPr/>
                    <a:lstStyle/>
                    <a:p>
                      <a:pPr algn="l" fontAlgn="t"/>
                      <a:r>
                        <a:rPr lang="en-US" sz="2000">
                          <a:effectLst/>
                        </a:rPr>
                        <a:t>Service traffic</a:t>
                      </a:r>
                    </a:p>
                  </a:txBody>
                  <a:tcPr marL="28802" marR="28802" marT="14401" marB="14401">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FFFF"/>
                    </a:solidFill>
                  </a:tcPr>
                </a:tc>
                <a:extLst>
                  <a:ext uri="{0D108BD9-81ED-4DB2-BD59-A6C34878D82A}">
                    <a16:rowId xmlns:a16="http://schemas.microsoft.com/office/drawing/2014/main" val="2575882917"/>
                  </a:ext>
                </a:extLst>
              </a:tr>
              <a:tr h="613854">
                <a:tc>
                  <a:txBody>
                    <a:bodyPr/>
                    <a:lstStyle/>
                    <a:p>
                      <a:pPr algn="l" fontAlgn="t"/>
                      <a:r>
                        <a:rPr lang="en-US" sz="2000" dirty="0">
                          <a:effectLst/>
                        </a:rPr>
                        <a:t>*.blob.core.windows.net</a:t>
                      </a:r>
                    </a:p>
                  </a:txBody>
                  <a:tcPr marL="28802" marR="28802" marT="14401" marB="14401">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FFFF"/>
                    </a:solidFill>
                  </a:tcPr>
                </a:tc>
                <a:tc>
                  <a:txBody>
                    <a:bodyPr/>
                    <a:lstStyle/>
                    <a:p>
                      <a:pPr algn="l" fontAlgn="t"/>
                      <a:r>
                        <a:rPr lang="en-US" sz="2000" dirty="0">
                          <a:effectLst/>
                        </a:rPr>
                        <a:t>TCP port 443</a:t>
                      </a:r>
                    </a:p>
                  </a:txBody>
                  <a:tcPr marL="28802" marR="28802" marT="14401" marB="14401">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FFFF"/>
                    </a:solidFill>
                  </a:tcPr>
                </a:tc>
                <a:tc>
                  <a:txBody>
                    <a:bodyPr/>
                    <a:lstStyle/>
                    <a:p>
                      <a:pPr algn="l" fontAlgn="t"/>
                      <a:r>
                        <a:rPr lang="en-US" sz="2000">
                          <a:effectLst/>
                        </a:rPr>
                        <a:t>Agent, SXS stack updates, and Agent traffic</a:t>
                      </a:r>
                    </a:p>
                  </a:txBody>
                  <a:tcPr marL="28802" marR="28802" marT="14401" marB="14401">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FFFF"/>
                    </a:solidFill>
                  </a:tcPr>
                </a:tc>
                <a:extLst>
                  <a:ext uri="{0D108BD9-81ED-4DB2-BD59-A6C34878D82A}">
                    <a16:rowId xmlns:a16="http://schemas.microsoft.com/office/drawing/2014/main" val="3441128922"/>
                  </a:ext>
                </a:extLst>
              </a:tr>
              <a:tr h="428678">
                <a:tc>
                  <a:txBody>
                    <a:bodyPr/>
                    <a:lstStyle/>
                    <a:p>
                      <a:pPr algn="l" fontAlgn="t"/>
                      <a:r>
                        <a:rPr lang="en-US" sz="2000" dirty="0">
                          <a:effectLst/>
                        </a:rPr>
                        <a:t>*.core.windows.net</a:t>
                      </a:r>
                    </a:p>
                  </a:txBody>
                  <a:tcPr marL="28802" marR="28802" marT="14401" marB="14401">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FFFF"/>
                    </a:solidFill>
                  </a:tcPr>
                </a:tc>
                <a:tc>
                  <a:txBody>
                    <a:bodyPr/>
                    <a:lstStyle/>
                    <a:p>
                      <a:pPr algn="l" fontAlgn="t"/>
                      <a:r>
                        <a:rPr lang="en-US" sz="2000" dirty="0">
                          <a:effectLst/>
                        </a:rPr>
                        <a:t>TCP port 443</a:t>
                      </a:r>
                    </a:p>
                  </a:txBody>
                  <a:tcPr marL="28802" marR="28802" marT="14401" marB="14401">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FFFF"/>
                    </a:solidFill>
                  </a:tcPr>
                </a:tc>
                <a:tc>
                  <a:txBody>
                    <a:bodyPr/>
                    <a:lstStyle/>
                    <a:p>
                      <a:pPr algn="l" fontAlgn="t"/>
                      <a:r>
                        <a:rPr lang="en-US" sz="2000">
                          <a:effectLst/>
                        </a:rPr>
                        <a:t>Agent traffic</a:t>
                      </a:r>
                    </a:p>
                  </a:txBody>
                  <a:tcPr marL="28802" marR="28802" marT="14401" marB="14401">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FFFF"/>
                    </a:solidFill>
                  </a:tcPr>
                </a:tc>
                <a:extLst>
                  <a:ext uri="{0D108BD9-81ED-4DB2-BD59-A6C34878D82A}">
                    <a16:rowId xmlns:a16="http://schemas.microsoft.com/office/drawing/2014/main" val="2819384546"/>
                  </a:ext>
                </a:extLst>
              </a:tr>
              <a:tr h="428678">
                <a:tc>
                  <a:txBody>
                    <a:bodyPr/>
                    <a:lstStyle/>
                    <a:p>
                      <a:pPr algn="l" fontAlgn="t"/>
                      <a:r>
                        <a:rPr lang="en-US" sz="2000">
                          <a:effectLst/>
                        </a:rPr>
                        <a:t>*.servicebus.windows.net</a:t>
                      </a:r>
                    </a:p>
                  </a:txBody>
                  <a:tcPr marL="28802" marR="28802" marT="14401" marB="14401">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FFFF"/>
                    </a:solidFill>
                  </a:tcPr>
                </a:tc>
                <a:tc>
                  <a:txBody>
                    <a:bodyPr/>
                    <a:lstStyle/>
                    <a:p>
                      <a:pPr algn="l" fontAlgn="t"/>
                      <a:r>
                        <a:rPr lang="en-US" sz="2000" dirty="0">
                          <a:effectLst/>
                        </a:rPr>
                        <a:t>TCP port 443</a:t>
                      </a:r>
                    </a:p>
                  </a:txBody>
                  <a:tcPr marL="28802" marR="28802" marT="14401" marB="14401">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FFFF"/>
                    </a:solidFill>
                  </a:tcPr>
                </a:tc>
                <a:tc>
                  <a:txBody>
                    <a:bodyPr/>
                    <a:lstStyle/>
                    <a:p>
                      <a:pPr algn="l" fontAlgn="t"/>
                      <a:r>
                        <a:rPr lang="en-US" sz="2000">
                          <a:effectLst/>
                        </a:rPr>
                        <a:t>Agent traffic</a:t>
                      </a:r>
                    </a:p>
                  </a:txBody>
                  <a:tcPr marL="28802" marR="28802" marT="14401" marB="14401">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FFFF"/>
                    </a:solidFill>
                  </a:tcPr>
                </a:tc>
                <a:extLst>
                  <a:ext uri="{0D108BD9-81ED-4DB2-BD59-A6C34878D82A}">
                    <a16:rowId xmlns:a16="http://schemas.microsoft.com/office/drawing/2014/main" val="3525292377"/>
                  </a:ext>
                </a:extLst>
              </a:tr>
              <a:tr h="428678">
                <a:tc>
                  <a:txBody>
                    <a:bodyPr/>
                    <a:lstStyle/>
                    <a:p>
                      <a:pPr algn="l" fontAlgn="t"/>
                      <a:r>
                        <a:rPr lang="en-US" sz="2000">
                          <a:effectLst/>
                        </a:rPr>
                        <a:t>prod.warmpath.msftcloudes.com</a:t>
                      </a:r>
                    </a:p>
                  </a:txBody>
                  <a:tcPr marL="28802" marR="28802" marT="14401" marB="14401">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FFFF"/>
                    </a:solidFill>
                  </a:tcPr>
                </a:tc>
                <a:tc>
                  <a:txBody>
                    <a:bodyPr/>
                    <a:lstStyle/>
                    <a:p>
                      <a:pPr algn="l" fontAlgn="t"/>
                      <a:r>
                        <a:rPr lang="en-US" sz="2000" dirty="0">
                          <a:effectLst/>
                        </a:rPr>
                        <a:t>TCP port 443</a:t>
                      </a:r>
                    </a:p>
                  </a:txBody>
                  <a:tcPr marL="28802" marR="28802" marT="14401" marB="14401">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FFFF"/>
                    </a:solidFill>
                  </a:tcPr>
                </a:tc>
                <a:tc>
                  <a:txBody>
                    <a:bodyPr/>
                    <a:lstStyle/>
                    <a:p>
                      <a:pPr algn="l" fontAlgn="t"/>
                      <a:r>
                        <a:rPr lang="en-US" sz="2000">
                          <a:effectLst/>
                        </a:rPr>
                        <a:t>Agent traffic</a:t>
                      </a:r>
                    </a:p>
                  </a:txBody>
                  <a:tcPr marL="28802" marR="28802" marT="14401" marB="14401">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FFFF"/>
                    </a:solidFill>
                  </a:tcPr>
                </a:tc>
                <a:extLst>
                  <a:ext uri="{0D108BD9-81ED-4DB2-BD59-A6C34878D82A}">
                    <a16:rowId xmlns:a16="http://schemas.microsoft.com/office/drawing/2014/main" val="887993397"/>
                  </a:ext>
                </a:extLst>
              </a:tr>
              <a:tr h="428678">
                <a:tc>
                  <a:txBody>
                    <a:bodyPr/>
                    <a:lstStyle/>
                    <a:p>
                      <a:pPr algn="l" fontAlgn="t"/>
                      <a:r>
                        <a:rPr lang="en-US" sz="2000">
                          <a:effectLst/>
                        </a:rPr>
                        <a:t>catalogartifact.azureedge.net</a:t>
                      </a:r>
                    </a:p>
                  </a:txBody>
                  <a:tcPr marL="28802" marR="28802" marT="14401" marB="14401">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FFFF"/>
                    </a:solidFill>
                  </a:tcPr>
                </a:tc>
                <a:tc>
                  <a:txBody>
                    <a:bodyPr/>
                    <a:lstStyle/>
                    <a:p>
                      <a:pPr algn="l" fontAlgn="t"/>
                      <a:r>
                        <a:rPr lang="en-US" sz="2000" dirty="0">
                          <a:effectLst/>
                        </a:rPr>
                        <a:t>TCP port 443</a:t>
                      </a:r>
                    </a:p>
                  </a:txBody>
                  <a:tcPr marL="28802" marR="28802" marT="14401" marB="14401">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FFFF"/>
                    </a:solidFill>
                  </a:tcPr>
                </a:tc>
                <a:tc>
                  <a:txBody>
                    <a:bodyPr/>
                    <a:lstStyle/>
                    <a:p>
                      <a:pPr algn="l" fontAlgn="t"/>
                      <a:r>
                        <a:rPr lang="en-US" sz="2000">
                          <a:effectLst/>
                        </a:rPr>
                        <a:t>Azure Marketplace</a:t>
                      </a:r>
                    </a:p>
                  </a:txBody>
                  <a:tcPr marL="28802" marR="28802" marT="14401" marB="14401">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FFFF"/>
                    </a:solidFill>
                  </a:tcPr>
                </a:tc>
                <a:extLst>
                  <a:ext uri="{0D108BD9-81ED-4DB2-BD59-A6C34878D82A}">
                    <a16:rowId xmlns:a16="http://schemas.microsoft.com/office/drawing/2014/main" val="1975720433"/>
                  </a:ext>
                </a:extLst>
              </a:tr>
              <a:tr h="428678">
                <a:tc>
                  <a:txBody>
                    <a:bodyPr/>
                    <a:lstStyle/>
                    <a:p>
                      <a:pPr algn="l" fontAlgn="t"/>
                      <a:r>
                        <a:rPr lang="en-US" sz="2000" dirty="0">
                          <a:effectLst/>
                        </a:rPr>
                        <a:t>kms.core.windows.net</a:t>
                      </a:r>
                    </a:p>
                  </a:txBody>
                  <a:tcPr marL="28802" marR="28802" marT="14401" marB="14401">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FFFF"/>
                    </a:solidFill>
                  </a:tcPr>
                </a:tc>
                <a:tc>
                  <a:txBody>
                    <a:bodyPr/>
                    <a:lstStyle/>
                    <a:p>
                      <a:pPr algn="l" fontAlgn="t"/>
                      <a:r>
                        <a:rPr lang="en-US" sz="2000" dirty="0">
                          <a:effectLst/>
                        </a:rPr>
                        <a:t>TCP port 1688</a:t>
                      </a:r>
                    </a:p>
                  </a:txBody>
                  <a:tcPr marL="28802" marR="28802" marT="14401" marB="14401">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FFFF"/>
                    </a:solidFill>
                  </a:tcPr>
                </a:tc>
                <a:tc>
                  <a:txBody>
                    <a:bodyPr/>
                    <a:lstStyle/>
                    <a:p>
                      <a:pPr algn="l" fontAlgn="t"/>
                      <a:r>
                        <a:rPr lang="en-US" sz="2000" dirty="0">
                          <a:effectLst/>
                        </a:rPr>
                        <a:t>Windows 10 activation</a:t>
                      </a:r>
                    </a:p>
                  </a:txBody>
                  <a:tcPr marL="28802" marR="28802" marT="14401" marB="14401">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FFFF"/>
                    </a:solidFill>
                  </a:tcPr>
                </a:tc>
                <a:extLst>
                  <a:ext uri="{0D108BD9-81ED-4DB2-BD59-A6C34878D82A}">
                    <a16:rowId xmlns:a16="http://schemas.microsoft.com/office/drawing/2014/main" val="160667545"/>
                  </a:ext>
                </a:extLst>
              </a:tr>
            </a:tbl>
          </a:graphicData>
        </a:graphic>
      </p:graphicFrame>
    </p:spTree>
    <p:extLst>
      <p:ext uri="{BB962C8B-B14F-4D97-AF65-F5344CB8AC3E}">
        <p14:creationId xmlns:p14="http://schemas.microsoft.com/office/powerpoint/2010/main" val="122560735"/>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92CFAD-07BF-4084-AE4A-134A87B892C4}"/>
              </a:ext>
            </a:extLst>
          </p:cNvPr>
          <p:cNvSpPr>
            <a:spLocks noGrp="1"/>
          </p:cNvSpPr>
          <p:nvPr>
            <p:ph type="title"/>
          </p:nvPr>
        </p:nvSpPr>
        <p:spPr>
          <a:xfrm>
            <a:off x="724210" y="1169772"/>
            <a:ext cx="8772170" cy="3117200"/>
          </a:xfrm>
        </p:spPr>
        <p:txBody>
          <a:bodyPr/>
          <a:lstStyle/>
          <a:p>
            <a:r>
              <a:rPr lang="en-US" dirty="0"/>
              <a:t>Planning FSLogix, OU’s, and GPO’s for Each Host Pool</a:t>
            </a:r>
          </a:p>
        </p:txBody>
      </p:sp>
    </p:spTree>
    <p:extLst>
      <p:ext uri="{BB962C8B-B14F-4D97-AF65-F5344CB8AC3E}">
        <p14:creationId xmlns:p14="http://schemas.microsoft.com/office/powerpoint/2010/main" val="3473223582"/>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94ED07-CE13-44E3-891F-49CDDEC7FFE6}"/>
              </a:ext>
            </a:extLst>
          </p:cNvPr>
          <p:cNvSpPr>
            <a:spLocks noGrp="1"/>
          </p:cNvSpPr>
          <p:nvPr>
            <p:ph type="title"/>
          </p:nvPr>
        </p:nvSpPr>
        <p:spPr/>
        <p:txBody>
          <a:bodyPr/>
          <a:lstStyle/>
          <a:p>
            <a:r>
              <a:rPr lang="en-US" dirty="0"/>
              <a:t>Why Roaming Profiles Are Cool</a:t>
            </a:r>
          </a:p>
        </p:txBody>
      </p:sp>
      <p:pic>
        <p:nvPicPr>
          <p:cNvPr id="3" name="Picture 2">
            <a:extLst>
              <a:ext uri="{FF2B5EF4-FFF2-40B4-BE49-F238E27FC236}">
                <a16:creationId xmlns:a16="http://schemas.microsoft.com/office/drawing/2014/main" id="{86D8A4A3-3164-40E2-9DE0-CF780D3DE7D7}"/>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65807" y="1295151"/>
            <a:ext cx="4969088" cy="3107875"/>
          </a:xfrm>
          <a:prstGeom prst="rect">
            <a:avLst/>
          </a:prstGeom>
        </p:spPr>
      </p:pic>
      <p:grpSp>
        <p:nvGrpSpPr>
          <p:cNvPr id="4" name="HQ Server">
            <a:extLst>
              <a:ext uri="{FF2B5EF4-FFF2-40B4-BE49-F238E27FC236}">
                <a16:creationId xmlns:a16="http://schemas.microsoft.com/office/drawing/2014/main" id="{5E2A229F-6965-4A2C-B4BE-D2695ABBF883}"/>
              </a:ext>
            </a:extLst>
          </p:cNvPr>
          <p:cNvGrpSpPr/>
          <p:nvPr/>
        </p:nvGrpSpPr>
        <p:grpSpPr>
          <a:xfrm>
            <a:off x="9900658" y="563980"/>
            <a:ext cx="1788759" cy="1691361"/>
            <a:chOff x="2664310" y="4249398"/>
            <a:chExt cx="1789265" cy="1691840"/>
          </a:xfrm>
        </p:grpSpPr>
        <p:pic>
          <p:nvPicPr>
            <p:cNvPr id="5" name="Picture 2" descr="\\MAGNUM\Projects\Microsoft\Cloud Power FY12\Design\Icons\PNGs\Server_2.png">
              <a:extLst>
                <a:ext uri="{FF2B5EF4-FFF2-40B4-BE49-F238E27FC236}">
                  <a16:creationId xmlns:a16="http://schemas.microsoft.com/office/drawing/2014/main" id="{A6CABA41-13C9-4322-86F1-20EFC053BE1C}"/>
                </a:ext>
              </a:extLst>
            </p:cNvPr>
            <p:cNvPicPr>
              <a:picLocks noChangeAspect="1" noChangeArrowheads="1"/>
            </p:cNvPicPr>
            <p:nvPr/>
          </p:nvPicPr>
          <p:blipFill>
            <a:blip r:embed="rId3" cstate="email">
              <a:duotone>
                <a:prstClr val="black"/>
                <a:schemeClr val="tx2">
                  <a:tint val="45000"/>
                  <a:satMod val="400000"/>
                </a:schemeClr>
              </a:duotone>
              <a:extLst>
                <a:ext uri="{28A0092B-C50C-407E-A947-70E740481C1C}">
                  <a14:useLocalDpi xmlns:a14="http://schemas.microsoft.com/office/drawing/2010/main"/>
                </a:ext>
              </a:extLst>
            </a:blip>
            <a:srcRect/>
            <a:stretch>
              <a:fillRect/>
            </a:stretch>
          </p:blipFill>
          <p:spPr bwMode="auto">
            <a:xfrm>
              <a:off x="2827548" y="4249398"/>
              <a:ext cx="1462757" cy="1462757"/>
            </a:xfrm>
            <a:prstGeom prst="rect">
              <a:avLst/>
            </a:prstGeom>
            <a:noFill/>
            <a:effectLst/>
          </p:spPr>
        </p:pic>
        <p:sp>
          <p:nvSpPr>
            <p:cNvPr id="6" name="TextBox 5">
              <a:extLst>
                <a:ext uri="{FF2B5EF4-FFF2-40B4-BE49-F238E27FC236}">
                  <a16:creationId xmlns:a16="http://schemas.microsoft.com/office/drawing/2014/main" id="{A92B6E9F-1712-4ECD-BCFC-D6E652D1A9D9}"/>
                </a:ext>
              </a:extLst>
            </p:cNvPr>
            <p:cNvSpPr txBox="1"/>
            <p:nvPr/>
          </p:nvSpPr>
          <p:spPr>
            <a:xfrm>
              <a:off x="2664310" y="5577189"/>
              <a:ext cx="1789265" cy="364049"/>
            </a:xfrm>
            <a:prstGeom prst="rect">
              <a:avLst/>
            </a:prstGeom>
            <a:noFill/>
          </p:spPr>
          <p:txBody>
            <a:bodyPr wrap="none" rtlCol="0">
              <a:spAutoFit/>
            </a:bodyPr>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1A1A1A"/>
                  </a:solidFill>
                  <a:effectLst/>
                  <a:uLnTx/>
                  <a:uFillTx/>
                  <a:latin typeface="Calibri" panose="020F0502020204030204"/>
                  <a:ea typeface="+mn-ea"/>
                  <a:cs typeface="+mn-cs"/>
                </a:rPr>
                <a:t>Profile File Server</a:t>
              </a:r>
            </a:p>
          </p:txBody>
        </p:sp>
      </p:grpSp>
      <p:sp>
        <p:nvSpPr>
          <p:cNvPr id="7" name="Rectangle 6">
            <a:extLst>
              <a:ext uri="{FF2B5EF4-FFF2-40B4-BE49-F238E27FC236}">
                <a16:creationId xmlns:a16="http://schemas.microsoft.com/office/drawing/2014/main" id="{532C70CE-992B-4625-8B21-9E416E252E46}"/>
              </a:ext>
            </a:extLst>
          </p:cNvPr>
          <p:cNvSpPr/>
          <p:nvPr/>
        </p:nvSpPr>
        <p:spPr>
          <a:xfrm>
            <a:off x="582215" y="4415867"/>
            <a:ext cx="5661568" cy="2308324"/>
          </a:xfrm>
          <a:prstGeom prst="rect">
            <a:avLst/>
          </a:prstGeom>
        </p:spPr>
        <p:txBody>
          <a:bodyPr wrap="square">
            <a:spAutoFit/>
          </a:bodyPr>
          <a:lstStyle/>
          <a:p>
            <a:pPr marL="285750"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1A1A1A"/>
                </a:solidFill>
                <a:effectLst/>
                <a:uLnTx/>
                <a:uFillTx/>
                <a:latin typeface="Segoe UI"/>
              </a:rPr>
              <a:t>My Settings Follow Me</a:t>
            </a:r>
          </a:p>
          <a:p>
            <a:pPr marL="285750"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dirty="0">
                <a:solidFill>
                  <a:srgbClr val="1A1A1A"/>
                </a:solidFill>
                <a:latin typeface="Segoe UI"/>
              </a:rPr>
              <a:t>I can login to any VM and my look &amp; feel is the same</a:t>
            </a:r>
          </a:p>
          <a:p>
            <a:pPr marL="285750"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dirty="0">
                <a:solidFill>
                  <a:srgbClr val="1A1A1A"/>
                </a:solidFill>
                <a:latin typeface="Segoe UI"/>
              </a:rPr>
              <a:t>Easy to set up and administratively configure</a:t>
            </a:r>
          </a:p>
          <a:p>
            <a:pPr marL="285750"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1A1A1A"/>
                </a:solidFill>
                <a:effectLst/>
                <a:uLnTx/>
                <a:uFillTx/>
                <a:latin typeface="Segoe UI"/>
              </a:rPr>
              <a:t>Files </a:t>
            </a:r>
            <a:r>
              <a:rPr lang="en-US" sz="2400" dirty="0">
                <a:solidFill>
                  <a:srgbClr val="1A1A1A"/>
                </a:solidFill>
                <a:latin typeface="Segoe UI"/>
              </a:rPr>
              <a:t>and cached data retained</a:t>
            </a:r>
            <a:endParaRPr kumimoji="0" lang="en-US" sz="2400" b="0" i="0" u="none" strike="noStrike" kern="1200" cap="none" spc="0" normalizeH="0" baseline="0" noProof="0" dirty="0">
              <a:ln>
                <a:noFill/>
              </a:ln>
              <a:solidFill>
                <a:srgbClr val="1A1A1A"/>
              </a:solidFill>
              <a:effectLst/>
              <a:uLnTx/>
              <a:uFillTx/>
              <a:latin typeface="Segoe UI"/>
            </a:endParaRPr>
          </a:p>
        </p:txBody>
      </p:sp>
      <p:cxnSp>
        <p:nvCxnSpPr>
          <p:cNvPr id="9" name="Straight Arrow Connector 8">
            <a:extLst>
              <a:ext uri="{FF2B5EF4-FFF2-40B4-BE49-F238E27FC236}">
                <a16:creationId xmlns:a16="http://schemas.microsoft.com/office/drawing/2014/main" id="{F5C67AF4-DAB9-445E-B94D-842DD4C74C05}"/>
              </a:ext>
            </a:extLst>
          </p:cNvPr>
          <p:cNvCxnSpPr>
            <a:cxnSpLocks/>
          </p:cNvCxnSpPr>
          <p:nvPr/>
        </p:nvCxnSpPr>
        <p:spPr>
          <a:xfrm flipV="1">
            <a:off x="5716491" y="1385456"/>
            <a:ext cx="4600527" cy="1293089"/>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25F9EC9C-746B-4ED1-8840-1D6C585CBE6F}"/>
              </a:ext>
            </a:extLst>
          </p:cNvPr>
          <p:cNvSpPr txBox="1"/>
          <p:nvPr/>
        </p:nvSpPr>
        <p:spPr>
          <a:xfrm rot="20715663">
            <a:off x="6182142" y="1374101"/>
            <a:ext cx="3626105" cy="553998"/>
          </a:xfrm>
          <a:prstGeom prst="rect">
            <a:avLst/>
          </a:prstGeom>
          <a:noFill/>
        </p:spPr>
        <p:txBody>
          <a:bodyPr wrap="square" lIns="0" tIns="0" rIns="0" bIns="0" rtlCol="0">
            <a:spAutoFit/>
          </a:bodyPr>
          <a:lstStyle/>
          <a:p>
            <a:pPr algn="ctr"/>
            <a:r>
              <a:rPr lang="en-US" sz="1800" dirty="0">
                <a:gradFill>
                  <a:gsLst>
                    <a:gs pos="2917">
                      <a:schemeClr val="tx1"/>
                    </a:gs>
                    <a:gs pos="30000">
                      <a:schemeClr val="tx1"/>
                    </a:gs>
                  </a:gsLst>
                  <a:lin ang="5400000" scaled="0"/>
                </a:gradFill>
              </a:rPr>
              <a:t>Profile Loads from Server at Logon, Profile Writes to Server at Logoff</a:t>
            </a:r>
          </a:p>
        </p:txBody>
      </p:sp>
      <p:sp>
        <p:nvSpPr>
          <p:cNvPr id="12" name="TextBox 11">
            <a:extLst>
              <a:ext uri="{FF2B5EF4-FFF2-40B4-BE49-F238E27FC236}">
                <a16:creationId xmlns:a16="http://schemas.microsoft.com/office/drawing/2014/main" id="{BFE23D5D-FE68-4FC1-8534-35D551EB090E}"/>
              </a:ext>
            </a:extLst>
          </p:cNvPr>
          <p:cNvSpPr txBox="1"/>
          <p:nvPr/>
        </p:nvSpPr>
        <p:spPr>
          <a:xfrm>
            <a:off x="83916" y="2608214"/>
            <a:ext cx="581891" cy="307777"/>
          </a:xfrm>
          <a:prstGeom prst="rect">
            <a:avLst/>
          </a:prstGeom>
          <a:noFill/>
        </p:spPr>
        <p:txBody>
          <a:bodyPr wrap="square" lIns="0" tIns="0" rIns="0" bIns="0" rtlCol="0">
            <a:spAutoFit/>
          </a:bodyPr>
          <a:lstStyle/>
          <a:p>
            <a:pPr algn="l"/>
            <a:r>
              <a:rPr lang="en-US" sz="2000" dirty="0">
                <a:gradFill>
                  <a:gsLst>
                    <a:gs pos="2917">
                      <a:schemeClr val="tx1"/>
                    </a:gs>
                    <a:gs pos="30000">
                      <a:schemeClr val="tx1"/>
                    </a:gs>
                  </a:gsLst>
                  <a:lin ang="5400000" scaled="0"/>
                </a:gradFill>
              </a:rPr>
              <a:t>VM1</a:t>
            </a:r>
          </a:p>
        </p:txBody>
      </p:sp>
      <p:sp>
        <p:nvSpPr>
          <p:cNvPr id="13" name="TextBox 12">
            <a:extLst>
              <a:ext uri="{FF2B5EF4-FFF2-40B4-BE49-F238E27FC236}">
                <a16:creationId xmlns:a16="http://schemas.microsoft.com/office/drawing/2014/main" id="{CBD81F2B-6CEA-4BA3-9948-12A729EA5AD3}"/>
              </a:ext>
            </a:extLst>
          </p:cNvPr>
          <p:cNvSpPr txBox="1"/>
          <p:nvPr/>
        </p:nvSpPr>
        <p:spPr>
          <a:xfrm>
            <a:off x="6868025" y="4603314"/>
            <a:ext cx="581891" cy="307777"/>
          </a:xfrm>
          <a:prstGeom prst="rect">
            <a:avLst/>
          </a:prstGeom>
          <a:noFill/>
        </p:spPr>
        <p:txBody>
          <a:bodyPr wrap="square" lIns="0" tIns="0" rIns="0" bIns="0" rtlCol="0">
            <a:spAutoFit/>
          </a:bodyPr>
          <a:lstStyle/>
          <a:p>
            <a:pPr algn="l"/>
            <a:r>
              <a:rPr lang="en-US" sz="2000" dirty="0">
                <a:gradFill>
                  <a:gsLst>
                    <a:gs pos="2917">
                      <a:schemeClr val="tx1"/>
                    </a:gs>
                    <a:gs pos="30000">
                      <a:schemeClr val="tx1"/>
                    </a:gs>
                  </a:gsLst>
                  <a:lin ang="5400000" scaled="0"/>
                </a:gradFill>
              </a:rPr>
              <a:t>VM2</a:t>
            </a:r>
          </a:p>
        </p:txBody>
      </p:sp>
      <p:pic>
        <p:nvPicPr>
          <p:cNvPr id="14" name="Picture 13">
            <a:extLst>
              <a:ext uri="{FF2B5EF4-FFF2-40B4-BE49-F238E27FC236}">
                <a16:creationId xmlns:a16="http://schemas.microsoft.com/office/drawing/2014/main" id="{3558BA45-8EFC-47A5-84B5-3A96EFA9643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455171" y="3292925"/>
            <a:ext cx="4969088" cy="3107875"/>
          </a:xfrm>
          <a:prstGeom prst="rect">
            <a:avLst/>
          </a:prstGeom>
        </p:spPr>
      </p:pic>
      <p:cxnSp>
        <p:nvCxnSpPr>
          <p:cNvPr id="16" name="Straight Arrow Connector 15">
            <a:extLst>
              <a:ext uri="{FF2B5EF4-FFF2-40B4-BE49-F238E27FC236}">
                <a16:creationId xmlns:a16="http://schemas.microsoft.com/office/drawing/2014/main" id="{6876FDA5-0C6B-464B-856A-CE09A01964BE}"/>
              </a:ext>
            </a:extLst>
          </p:cNvPr>
          <p:cNvCxnSpPr/>
          <p:nvPr/>
        </p:nvCxnSpPr>
        <p:spPr>
          <a:xfrm flipH="1">
            <a:off x="10317018" y="2380253"/>
            <a:ext cx="120073" cy="78782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57E36DDE-AE39-4254-963D-D17125B247CA}"/>
              </a:ext>
            </a:extLst>
          </p:cNvPr>
          <p:cNvSpPr txBox="1"/>
          <p:nvPr/>
        </p:nvSpPr>
        <p:spPr>
          <a:xfrm>
            <a:off x="6567834" y="2497165"/>
            <a:ext cx="3626105" cy="553998"/>
          </a:xfrm>
          <a:prstGeom prst="rect">
            <a:avLst/>
          </a:prstGeom>
          <a:noFill/>
        </p:spPr>
        <p:txBody>
          <a:bodyPr wrap="square" lIns="0" tIns="0" rIns="0" bIns="0" rtlCol="0">
            <a:spAutoFit/>
          </a:bodyPr>
          <a:lstStyle/>
          <a:p>
            <a:pPr algn="ctr"/>
            <a:r>
              <a:rPr lang="en-US" sz="1800" dirty="0">
                <a:gradFill>
                  <a:gsLst>
                    <a:gs pos="2917">
                      <a:schemeClr val="tx1"/>
                    </a:gs>
                    <a:gs pos="30000">
                      <a:schemeClr val="tx1"/>
                    </a:gs>
                  </a:gsLst>
                  <a:lin ang="5400000" scaled="0"/>
                </a:gradFill>
              </a:rPr>
              <a:t>Profile Loads from Server at Logon, Profile Writes to Server at Logoff</a:t>
            </a:r>
          </a:p>
        </p:txBody>
      </p:sp>
    </p:spTree>
    <p:extLst>
      <p:ext uri="{BB962C8B-B14F-4D97-AF65-F5344CB8AC3E}">
        <p14:creationId xmlns:p14="http://schemas.microsoft.com/office/powerpoint/2010/main" val="28226630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xit" presetSubtype="8" fill="hold" grpId="0" nodeType="clickEffect">
                                  <p:stCondLst>
                                    <p:cond delay="0"/>
                                  </p:stCondLst>
                                  <p:childTnLst>
                                    <p:animEffect transition="out" filter="wipe(left)">
                                      <p:cBhvr>
                                        <p:cTn id="6" dur="500"/>
                                        <p:tgtEl>
                                          <p:spTgt spid="12"/>
                                        </p:tgtEl>
                                      </p:cBhvr>
                                    </p:animEffect>
                                    <p:set>
                                      <p:cBhvr>
                                        <p:cTn id="7" dur="1" fill="hold">
                                          <p:stCondLst>
                                            <p:cond delay="499"/>
                                          </p:stCondLst>
                                        </p:cTn>
                                        <p:tgtEl>
                                          <p:spTgt spid="12"/>
                                        </p:tgtEl>
                                        <p:attrNameLst>
                                          <p:attrName>style.visibility</p:attrName>
                                        </p:attrNameLst>
                                      </p:cBhvr>
                                      <p:to>
                                        <p:strVal val="hidden"/>
                                      </p:to>
                                    </p:set>
                                  </p:childTnLst>
                                </p:cTn>
                              </p:par>
                              <p:par>
                                <p:cTn id="8" presetID="22" presetClass="exit" presetSubtype="8" fill="hold" nodeType="withEffect">
                                  <p:stCondLst>
                                    <p:cond delay="0"/>
                                  </p:stCondLst>
                                  <p:childTnLst>
                                    <p:animEffect transition="out" filter="wipe(left)">
                                      <p:cBhvr>
                                        <p:cTn id="9" dur="500"/>
                                        <p:tgtEl>
                                          <p:spTgt spid="3"/>
                                        </p:tgtEl>
                                      </p:cBhvr>
                                    </p:animEffect>
                                    <p:set>
                                      <p:cBhvr>
                                        <p:cTn id="10" dur="1" fill="hold">
                                          <p:stCondLst>
                                            <p:cond delay="499"/>
                                          </p:stCondLst>
                                        </p:cTn>
                                        <p:tgtEl>
                                          <p:spTgt spid="3"/>
                                        </p:tgtEl>
                                        <p:attrNameLst>
                                          <p:attrName>style.visibility</p:attrName>
                                        </p:attrNameLst>
                                      </p:cBhvr>
                                      <p:to>
                                        <p:strVal val="hidden"/>
                                      </p:to>
                                    </p:set>
                                  </p:childTnLst>
                                </p:cTn>
                              </p:par>
                              <p:par>
                                <p:cTn id="11" presetID="22" presetClass="exit" presetSubtype="8" fill="hold" nodeType="withEffect">
                                  <p:stCondLst>
                                    <p:cond delay="0"/>
                                  </p:stCondLst>
                                  <p:childTnLst>
                                    <p:animEffect transition="out" filter="wipe(left)">
                                      <p:cBhvr>
                                        <p:cTn id="12" dur="500"/>
                                        <p:tgtEl>
                                          <p:spTgt spid="9"/>
                                        </p:tgtEl>
                                      </p:cBhvr>
                                    </p:animEffect>
                                    <p:set>
                                      <p:cBhvr>
                                        <p:cTn id="13" dur="1" fill="hold">
                                          <p:stCondLst>
                                            <p:cond delay="499"/>
                                          </p:stCondLst>
                                        </p:cTn>
                                        <p:tgtEl>
                                          <p:spTgt spid="9"/>
                                        </p:tgtEl>
                                        <p:attrNameLst>
                                          <p:attrName>style.visibility</p:attrName>
                                        </p:attrNameLst>
                                      </p:cBhvr>
                                      <p:to>
                                        <p:strVal val="hidden"/>
                                      </p:to>
                                    </p:set>
                                  </p:childTnLst>
                                </p:cTn>
                              </p:par>
                              <p:par>
                                <p:cTn id="14" presetID="22" presetClass="exit" presetSubtype="8" fill="hold" grpId="0" nodeType="withEffect">
                                  <p:stCondLst>
                                    <p:cond delay="0"/>
                                  </p:stCondLst>
                                  <p:childTnLst>
                                    <p:animEffect transition="out" filter="wipe(left)">
                                      <p:cBhvr>
                                        <p:cTn id="15" dur="500"/>
                                        <p:tgtEl>
                                          <p:spTgt spid="10"/>
                                        </p:tgtEl>
                                      </p:cBhvr>
                                    </p:animEffect>
                                    <p:set>
                                      <p:cBhvr>
                                        <p:cTn id="16" dur="1" fill="hold">
                                          <p:stCondLst>
                                            <p:cond delay="499"/>
                                          </p:stCondLst>
                                        </p:cTn>
                                        <p:tgtEl>
                                          <p:spTgt spid="10"/>
                                        </p:tgtEl>
                                        <p:attrNameLst>
                                          <p:attrName>style.visibility</p:attrName>
                                        </p:attrNameLst>
                                      </p:cBhvr>
                                      <p:to>
                                        <p:strVal val="hidden"/>
                                      </p:to>
                                    </p:set>
                                  </p:childTnLst>
                                </p:cTn>
                              </p:par>
                            </p:childTnLst>
                          </p:cTn>
                        </p:par>
                      </p:childTnLst>
                    </p:cTn>
                  </p:par>
                  <p:par>
                    <p:cTn id="17" fill="hold">
                      <p:stCondLst>
                        <p:cond delay="indefinite"/>
                      </p:stCondLst>
                      <p:childTnLst>
                        <p:par>
                          <p:cTn id="18" fill="hold">
                            <p:stCondLst>
                              <p:cond delay="0"/>
                            </p:stCondLst>
                            <p:childTnLst>
                              <p:par>
                                <p:cTn id="19" presetID="22" presetClass="entr" presetSubtype="1" fill="hold" grpId="0" nodeType="clickEffect">
                                  <p:stCondLst>
                                    <p:cond delay="0"/>
                                  </p:stCondLst>
                                  <p:childTnLst>
                                    <p:set>
                                      <p:cBhvr>
                                        <p:cTn id="20" dur="1" fill="hold">
                                          <p:stCondLst>
                                            <p:cond delay="0"/>
                                          </p:stCondLst>
                                        </p:cTn>
                                        <p:tgtEl>
                                          <p:spTgt spid="17"/>
                                        </p:tgtEl>
                                        <p:attrNameLst>
                                          <p:attrName>style.visibility</p:attrName>
                                        </p:attrNameLst>
                                      </p:cBhvr>
                                      <p:to>
                                        <p:strVal val="visible"/>
                                      </p:to>
                                    </p:set>
                                    <p:animEffect transition="in" filter="wipe(up)">
                                      <p:cBhvr>
                                        <p:cTn id="21" dur="500"/>
                                        <p:tgtEl>
                                          <p:spTgt spid="17"/>
                                        </p:tgtEl>
                                      </p:cBhvr>
                                    </p:animEffect>
                                  </p:childTnLst>
                                </p:cTn>
                              </p:par>
                              <p:par>
                                <p:cTn id="22" presetID="22" presetClass="entr" presetSubtype="1" fill="hold" nodeType="withEffect">
                                  <p:stCondLst>
                                    <p:cond delay="0"/>
                                  </p:stCondLst>
                                  <p:childTnLst>
                                    <p:set>
                                      <p:cBhvr>
                                        <p:cTn id="23" dur="1" fill="hold">
                                          <p:stCondLst>
                                            <p:cond delay="0"/>
                                          </p:stCondLst>
                                        </p:cTn>
                                        <p:tgtEl>
                                          <p:spTgt spid="16"/>
                                        </p:tgtEl>
                                        <p:attrNameLst>
                                          <p:attrName>style.visibility</p:attrName>
                                        </p:attrNameLst>
                                      </p:cBhvr>
                                      <p:to>
                                        <p:strVal val="visible"/>
                                      </p:to>
                                    </p:set>
                                    <p:animEffect transition="in" filter="wipe(up)">
                                      <p:cBhvr>
                                        <p:cTn id="24" dur="500"/>
                                        <p:tgtEl>
                                          <p:spTgt spid="16"/>
                                        </p:tgtEl>
                                      </p:cBhvr>
                                    </p:animEffect>
                                  </p:childTnLst>
                                </p:cTn>
                              </p:par>
                              <p:par>
                                <p:cTn id="25" presetID="22" presetClass="entr" presetSubtype="1" fill="hold" nodeType="withEffect">
                                  <p:stCondLst>
                                    <p:cond delay="0"/>
                                  </p:stCondLst>
                                  <p:childTnLst>
                                    <p:set>
                                      <p:cBhvr>
                                        <p:cTn id="26" dur="1" fill="hold">
                                          <p:stCondLst>
                                            <p:cond delay="0"/>
                                          </p:stCondLst>
                                        </p:cTn>
                                        <p:tgtEl>
                                          <p:spTgt spid="14"/>
                                        </p:tgtEl>
                                        <p:attrNameLst>
                                          <p:attrName>style.visibility</p:attrName>
                                        </p:attrNameLst>
                                      </p:cBhvr>
                                      <p:to>
                                        <p:strVal val="visible"/>
                                      </p:to>
                                    </p:set>
                                    <p:animEffect transition="in" filter="wipe(up)">
                                      <p:cBhvr>
                                        <p:cTn id="27" dur="500"/>
                                        <p:tgtEl>
                                          <p:spTgt spid="14"/>
                                        </p:tgtEl>
                                      </p:cBhvr>
                                    </p:animEffect>
                                  </p:childTnLst>
                                </p:cTn>
                              </p:par>
                              <p:par>
                                <p:cTn id="28" presetID="22" presetClass="entr" presetSubtype="1" fill="hold" grpId="0" nodeType="withEffect">
                                  <p:stCondLst>
                                    <p:cond delay="0"/>
                                  </p:stCondLst>
                                  <p:childTnLst>
                                    <p:set>
                                      <p:cBhvr>
                                        <p:cTn id="29" dur="1" fill="hold">
                                          <p:stCondLst>
                                            <p:cond delay="0"/>
                                          </p:stCondLst>
                                        </p:cTn>
                                        <p:tgtEl>
                                          <p:spTgt spid="13"/>
                                        </p:tgtEl>
                                        <p:attrNameLst>
                                          <p:attrName>style.visibility</p:attrName>
                                        </p:attrNameLst>
                                      </p:cBhvr>
                                      <p:to>
                                        <p:strVal val="visible"/>
                                      </p:to>
                                    </p:set>
                                    <p:animEffect transition="in" filter="wipe(up)">
                                      <p:cBhvr>
                                        <p:cTn id="30"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2" grpId="0"/>
      <p:bldP spid="13" grpId="0"/>
      <p:bldP spid="17"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92CFAD-07BF-4084-AE4A-134A87B892C4}"/>
              </a:ext>
            </a:extLst>
          </p:cNvPr>
          <p:cNvSpPr>
            <a:spLocks noGrp="1"/>
          </p:cNvSpPr>
          <p:nvPr>
            <p:ph type="title"/>
          </p:nvPr>
        </p:nvSpPr>
        <p:spPr/>
        <p:txBody>
          <a:bodyPr/>
          <a:lstStyle/>
          <a:p>
            <a:r>
              <a:rPr lang="en-US" dirty="0"/>
              <a:t>The Case Study</a:t>
            </a:r>
          </a:p>
        </p:txBody>
      </p:sp>
    </p:spTree>
    <p:extLst>
      <p:ext uri="{BB962C8B-B14F-4D97-AF65-F5344CB8AC3E}">
        <p14:creationId xmlns:p14="http://schemas.microsoft.com/office/powerpoint/2010/main" val="1588952107"/>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94ED07-CE13-44E3-891F-49CDDEC7FFE6}"/>
              </a:ext>
            </a:extLst>
          </p:cNvPr>
          <p:cNvSpPr>
            <a:spLocks noGrp="1"/>
          </p:cNvSpPr>
          <p:nvPr>
            <p:ph type="title"/>
          </p:nvPr>
        </p:nvSpPr>
        <p:spPr/>
        <p:txBody>
          <a:bodyPr/>
          <a:lstStyle/>
          <a:p>
            <a:r>
              <a:rPr lang="en-US" dirty="0"/>
              <a:t>Why Roaming Profiles Have Issues</a:t>
            </a:r>
          </a:p>
        </p:txBody>
      </p:sp>
      <p:pic>
        <p:nvPicPr>
          <p:cNvPr id="3" name="Picture 2">
            <a:extLst>
              <a:ext uri="{FF2B5EF4-FFF2-40B4-BE49-F238E27FC236}">
                <a16:creationId xmlns:a16="http://schemas.microsoft.com/office/drawing/2014/main" id="{86D8A4A3-3164-40E2-9DE0-CF780D3DE7D7}"/>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65807" y="1182335"/>
            <a:ext cx="4969088" cy="3107875"/>
          </a:xfrm>
          <a:prstGeom prst="rect">
            <a:avLst/>
          </a:prstGeom>
        </p:spPr>
      </p:pic>
      <p:grpSp>
        <p:nvGrpSpPr>
          <p:cNvPr id="4" name="HQ Server">
            <a:extLst>
              <a:ext uri="{FF2B5EF4-FFF2-40B4-BE49-F238E27FC236}">
                <a16:creationId xmlns:a16="http://schemas.microsoft.com/office/drawing/2014/main" id="{5E2A229F-6965-4A2C-B4BE-D2695ABBF883}"/>
              </a:ext>
            </a:extLst>
          </p:cNvPr>
          <p:cNvGrpSpPr/>
          <p:nvPr/>
        </p:nvGrpSpPr>
        <p:grpSpPr>
          <a:xfrm>
            <a:off x="9900658" y="563980"/>
            <a:ext cx="1788759" cy="1691361"/>
            <a:chOff x="2664310" y="4249398"/>
            <a:chExt cx="1789265" cy="1691840"/>
          </a:xfrm>
        </p:grpSpPr>
        <p:pic>
          <p:nvPicPr>
            <p:cNvPr id="5" name="Picture 2" descr="\\MAGNUM\Projects\Microsoft\Cloud Power FY12\Design\Icons\PNGs\Server_2.png">
              <a:extLst>
                <a:ext uri="{FF2B5EF4-FFF2-40B4-BE49-F238E27FC236}">
                  <a16:creationId xmlns:a16="http://schemas.microsoft.com/office/drawing/2014/main" id="{A6CABA41-13C9-4322-86F1-20EFC053BE1C}"/>
                </a:ext>
              </a:extLst>
            </p:cNvPr>
            <p:cNvPicPr>
              <a:picLocks noChangeAspect="1" noChangeArrowheads="1"/>
            </p:cNvPicPr>
            <p:nvPr/>
          </p:nvPicPr>
          <p:blipFill>
            <a:blip r:embed="rId3" cstate="email">
              <a:duotone>
                <a:prstClr val="black"/>
                <a:schemeClr val="tx2">
                  <a:tint val="45000"/>
                  <a:satMod val="400000"/>
                </a:schemeClr>
              </a:duotone>
              <a:extLst>
                <a:ext uri="{28A0092B-C50C-407E-A947-70E740481C1C}">
                  <a14:useLocalDpi xmlns:a14="http://schemas.microsoft.com/office/drawing/2010/main"/>
                </a:ext>
              </a:extLst>
            </a:blip>
            <a:srcRect/>
            <a:stretch>
              <a:fillRect/>
            </a:stretch>
          </p:blipFill>
          <p:spPr bwMode="auto">
            <a:xfrm>
              <a:off x="2827548" y="4249398"/>
              <a:ext cx="1462757" cy="1462757"/>
            </a:xfrm>
            <a:prstGeom prst="rect">
              <a:avLst/>
            </a:prstGeom>
            <a:noFill/>
            <a:effectLst/>
          </p:spPr>
        </p:pic>
        <p:sp>
          <p:nvSpPr>
            <p:cNvPr id="6" name="TextBox 5">
              <a:extLst>
                <a:ext uri="{FF2B5EF4-FFF2-40B4-BE49-F238E27FC236}">
                  <a16:creationId xmlns:a16="http://schemas.microsoft.com/office/drawing/2014/main" id="{A92B6E9F-1712-4ECD-BCFC-D6E652D1A9D9}"/>
                </a:ext>
              </a:extLst>
            </p:cNvPr>
            <p:cNvSpPr txBox="1"/>
            <p:nvPr/>
          </p:nvSpPr>
          <p:spPr>
            <a:xfrm>
              <a:off x="2664310" y="5577189"/>
              <a:ext cx="1789265" cy="364049"/>
            </a:xfrm>
            <a:prstGeom prst="rect">
              <a:avLst/>
            </a:prstGeom>
            <a:noFill/>
          </p:spPr>
          <p:txBody>
            <a:bodyPr wrap="none" rtlCol="0">
              <a:spAutoFit/>
            </a:bodyPr>
            <a:lstStyle/>
            <a:p>
              <a:pPr algn="ctr" defTabSz="914049">
                <a:defRPr/>
              </a:pPr>
              <a:r>
                <a:rPr lang="en-US" dirty="0">
                  <a:latin typeface="Calibri" panose="020F0502020204030204"/>
                </a:rPr>
                <a:t>Profile File Server</a:t>
              </a:r>
            </a:p>
          </p:txBody>
        </p:sp>
      </p:grpSp>
      <p:sp>
        <p:nvSpPr>
          <p:cNvPr id="7" name="Rectangle 6">
            <a:extLst>
              <a:ext uri="{FF2B5EF4-FFF2-40B4-BE49-F238E27FC236}">
                <a16:creationId xmlns:a16="http://schemas.microsoft.com/office/drawing/2014/main" id="{532C70CE-992B-4625-8B21-9E416E252E46}"/>
              </a:ext>
            </a:extLst>
          </p:cNvPr>
          <p:cNvSpPr/>
          <p:nvPr/>
        </p:nvSpPr>
        <p:spPr>
          <a:xfrm>
            <a:off x="588263" y="4522902"/>
            <a:ext cx="11553903" cy="2062103"/>
          </a:xfrm>
          <a:prstGeom prst="rect">
            <a:avLst/>
          </a:prstGeom>
        </p:spPr>
        <p:txBody>
          <a:bodyPr wrap="square">
            <a:spAutoFit/>
          </a:bodyPr>
          <a:lstStyle/>
          <a:p>
            <a:pPr marL="285750" indent="-285750">
              <a:buFont typeface="Arial" panose="020B0604020202020204" pitchFamily="34" charset="0"/>
              <a:buChar char="•"/>
            </a:pPr>
            <a:r>
              <a:rPr lang="en-US" sz="1800" dirty="0"/>
              <a:t>Large roaming profiles take a long time to download &amp; upload, extending logon &amp; logoff times </a:t>
            </a:r>
          </a:p>
          <a:p>
            <a:pPr marL="742933" lvl="1" indent="-285750">
              <a:buFont typeface="Arial" panose="020B0604020202020204" pitchFamily="34" charset="0"/>
              <a:buChar char="•"/>
            </a:pPr>
            <a:r>
              <a:rPr lang="en-US" sz="1400" dirty="0">
                <a:hlinkClick r:id="rId4"/>
              </a:rPr>
              <a:t>5% of customers surveyed by </a:t>
            </a:r>
            <a:r>
              <a:rPr lang="en-US" sz="1400" dirty="0" err="1">
                <a:hlinkClick r:id="rId4"/>
              </a:rPr>
              <a:t>ControlUp</a:t>
            </a:r>
            <a:r>
              <a:rPr lang="en-US" sz="1400" dirty="0">
                <a:hlinkClick r:id="rId4"/>
              </a:rPr>
              <a:t> in 2017 </a:t>
            </a:r>
            <a:r>
              <a:rPr lang="en-US" sz="1400" dirty="0"/>
              <a:t>recorded logon times of &gt;1 minute</a:t>
            </a:r>
          </a:p>
          <a:p>
            <a:pPr marL="742933" lvl="1" indent="-285750">
              <a:buFont typeface="Arial" panose="020B0604020202020204" pitchFamily="34" charset="0"/>
              <a:buChar char="•"/>
            </a:pPr>
            <a:r>
              <a:rPr lang="en-US" sz="1400" dirty="0"/>
              <a:t>Majority of respondents (57%) indicated &lt;25 second logon times / Logon times of over 10 minutes are not unheard of</a:t>
            </a:r>
          </a:p>
          <a:p>
            <a:pPr marL="742933" lvl="1" indent="-285750">
              <a:buFont typeface="Arial" panose="020B0604020202020204" pitchFamily="34" charset="0"/>
              <a:buChar char="•"/>
            </a:pPr>
            <a:r>
              <a:rPr lang="en-US" sz="1400" dirty="0"/>
              <a:t>Users can force this problem inadvertently (e.g., copying a large ISO file to their desktop and then logging off)</a:t>
            </a:r>
          </a:p>
          <a:p>
            <a:pPr marL="285750" indent="-285750">
              <a:buFont typeface="Arial" panose="020B0604020202020204" pitchFamily="34" charset="0"/>
              <a:buChar char="•"/>
            </a:pPr>
            <a:r>
              <a:rPr lang="en-US" sz="1800" dirty="0"/>
              <a:t>Roaming profiles need to be uploaded at logoff</a:t>
            </a:r>
          </a:p>
          <a:p>
            <a:pPr marL="742933" lvl="1" indent="-285750">
              <a:buFont typeface="Arial" panose="020B0604020202020204" pitchFamily="34" charset="0"/>
              <a:buChar char="•"/>
            </a:pPr>
            <a:r>
              <a:rPr lang="en-US" sz="1400" dirty="0"/>
              <a:t>If interrupted the profile is often left in a corrupt state (impatient user hard powers off laptop)</a:t>
            </a:r>
          </a:p>
          <a:p>
            <a:pPr marL="742933" lvl="1" indent="-285750">
              <a:buFont typeface="Arial" panose="020B0604020202020204" pitchFamily="34" charset="0"/>
              <a:buChar char="•"/>
            </a:pPr>
            <a:r>
              <a:rPr lang="en-US" sz="1400" dirty="0"/>
              <a:t>When this happens, empty temporary profile is created; IT intervention needed to resolve </a:t>
            </a:r>
          </a:p>
          <a:p>
            <a:pPr marL="285750" indent="-285750">
              <a:buFont typeface="Arial" panose="020B0604020202020204" pitchFamily="34" charset="0"/>
              <a:buChar char="•"/>
            </a:pPr>
            <a:r>
              <a:rPr lang="en-US" sz="1800" dirty="0"/>
              <a:t>Entire Desktop is locked until entire Profile is done loading/unloading</a:t>
            </a:r>
          </a:p>
        </p:txBody>
      </p:sp>
      <p:cxnSp>
        <p:nvCxnSpPr>
          <p:cNvPr id="8" name="Straight Arrow Connector 7">
            <a:extLst>
              <a:ext uri="{FF2B5EF4-FFF2-40B4-BE49-F238E27FC236}">
                <a16:creationId xmlns:a16="http://schemas.microsoft.com/office/drawing/2014/main" id="{10DA0409-7328-4089-A978-8F3F0C5C79AA}"/>
              </a:ext>
            </a:extLst>
          </p:cNvPr>
          <p:cNvCxnSpPr>
            <a:cxnSpLocks/>
          </p:cNvCxnSpPr>
          <p:nvPr/>
        </p:nvCxnSpPr>
        <p:spPr>
          <a:xfrm flipV="1">
            <a:off x="5716491" y="1385456"/>
            <a:ext cx="4600527" cy="1293089"/>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4B4E1B62-CFDE-420D-8E8C-2099702D6DE2}"/>
              </a:ext>
            </a:extLst>
          </p:cNvPr>
          <p:cNvSpPr txBox="1"/>
          <p:nvPr/>
        </p:nvSpPr>
        <p:spPr>
          <a:xfrm rot="20715663">
            <a:off x="6182142" y="1374101"/>
            <a:ext cx="3626105" cy="553998"/>
          </a:xfrm>
          <a:prstGeom prst="rect">
            <a:avLst/>
          </a:prstGeom>
          <a:noFill/>
        </p:spPr>
        <p:txBody>
          <a:bodyPr wrap="square" lIns="0" tIns="0" rIns="0" bIns="0" rtlCol="0">
            <a:spAutoFit/>
          </a:bodyPr>
          <a:lstStyle/>
          <a:p>
            <a:pPr algn="ctr"/>
            <a:r>
              <a:rPr lang="en-US" sz="1800" dirty="0">
                <a:gradFill>
                  <a:gsLst>
                    <a:gs pos="2917">
                      <a:schemeClr val="tx1"/>
                    </a:gs>
                    <a:gs pos="30000">
                      <a:schemeClr val="tx1"/>
                    </a:gs>
                  </a:gsLst>
                  <a:lin ang="5400000" scaled="0"/>
                </a:gradFill>
              </a:rPr>
              <a:t>The more I have in my profile, the longer logon/logoff takes</a:t>
            </a:r>
          </a:p>
        </p:txBody>
      </p:sp>
    </p:spTree>
    <p:extLst>
      <p:ext uri="{BB962C8B-B14F-4D97-AF65-F5344CB8AC3E}">
        <p14:creationId xmlns:p14="http://schemas.microsoft.com/office/powerpoint/2010/main" val="7287525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0"/>
                                        <p:tgtEl>
                                          <p:spTgt spid="9"/>
                                        </p:tgtEl>
                                      </p:cBhvr>
                                    </p:animEffect>
                                  </p:childTnLst>
                                </p:cTn>
                              </p:par>
                              <p:par>
                                <p:cTn id="8" presetID="10"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10000"/>
                                        <p:tgtEl>
                                          <p:spTgt spid="8"/>
                                        </p:tgtEl>
                                      </p:cBhvr>
                                    </p:animEffect>
                                  </p:childTnLst>
                                </p:cTn>
                              </p:par>
                              <p:par>
                                <p:cTn id="11" presetID="27" presetClass="emph" presetSubtype="0" repeatCount="indefinite" fill="remove" nodeType="withEffect">
                                  <p:stCondLst>
                                    <p:cond delay="0"/>
                                  </p:stCondLst>
                                  <p:endCondLst>
                                    <p:cond evt="onNext" delay="0">
                                      <p:tgtEl>
                                        <p:sldTgt/>
                                      </p:tgtEl>
                                    </p:cond>
                                  </p:endCondLst>
                                  <p:childTnLst>
                                    <p:animClr clrSpc="rgb" dir="cw">
                                      <p:cBhvr override="childStyle">
                                        <p:cTn id="12" dur="250" autoRev="1" fill="remove"/>
                                        <p:tgtEl>
                                          <p:spTgt spid="7">
                                            <p:txEl>
                                              <p:pRg st="5" end="5"/>
                                            </p:txEl>
                                          </p:spTgt>
                                        </p:tgtEl>
                                        <p:attrNameLst>
                                          <p:attrName>style.color</p:attrName>
                                        </p:attrNameLst>
                                      </p:cBhvr>
                                      <p:to>
                                        <a:srgbClr val="FF0000"/>
                                      </p:to>
                                    </p:animClr>
                                    <p:animClr clrSpc="rgb" dir="cw">
                                      <p:cBhvr>
                                        <p:cTn id="13" dur="250" autoRev="1" fill="remove"/>
                                        <p:tgtEl>
                                          <p:spTgt spid="7">
                                            <p:txEl>
                                              <p:pRg st="5" end="5"/>
                                            </p:txEl>
                                          </p:spTgt>
                                        </p:tgtEl>
                                        <p:attrNameLst>
                                          <p:attrName>fillcolor</p:attrName>
                                        </p:attrNameLst>
                                      </p:cBhvr>
                                      <p:to>
                                        <a:srgbClr val="FF0000"/>
                                      </p:to>
                                    </p:animClr>
                                    <p:set>
                                      <p:cBhvr>
                                        <p:cTn id="14" dur="250" autoRev="1" fill="remove"/>
                                        <p:tgtEl>
                                          <p:spTgt spid="7">
                                            <p:txEl>
                                              <p:pRg st="5" end="5"/>
                                            </p:txEl>
                                          </p:spTgt>
                                        </p:tgtEl>
                                        <p:attrNameLst>
                                          <p:attrName>fill.type</p:attrName>
                                        </p:attrNameLst>
                                      </p:cBhvr>
                                      <p:to>
                                        <p:strVal val="solid"/>
                                      </p:to>
                                    </p:set>
                                    <p:set>
                                      <p:cBhvr>
                                        <p:cTn id="15" dur="250" autoRev="1" fill="remove"/>
                                        <p:tgtEl>
                                          <p:spTgt spid="7">
                                            <p:txEl>
                                              <p:pRg st="5" end="5"/>
                                            </p:txEl>
                                          </p:spTgt>
                                        </p:tgtEl>
                                        <p:attrNameLst>
                                          <p:attrName>fill.on</p:attrName>
                                        </p:attrNameLst>
                                      </p:cBhvr>
                                      <p:to>
                                        <p:strVal val="true"/>
                                      </p:to>
                                    </p:set>
                                  </p:childTnLst>
                                </p:cTn>
                              </p:par>
                              <p:par>
                                <p:cTn id="16" presetID="27" presetClass="emph" presetSubtype="0" repeatCount="indefinite" fill="remove" nodeType="withEffect">
                                  <p:stCondLst>
                                    <p:cond delay="0"/>
                                  </p:stCondLst>
                                  <p:endCondLst>
                                    <p:cond evt="onNext" delay="0">
                                      <p:tgtEl>
                                        <p:sldTgt/>
                                      </p:tgtEl>
                                    </p:cond>
                                  </p:endCondLst>
                                  <p:childTnLst>
                                    <p:animClr clrSpc="rgb" dir="cw">
                                      <p:cBhvr override="childStyle">
                                        <p:cTn id="17" dur="250" autoRev="1" fill="remove"/>
                                        <p:tgtEl>
                                          <p:spTgt spid="7">
                                            <p:txEl>
                                              <p:pRg st="6" end="6"/>
                                            </p:txEl>
                                          </p:spTgt>
                                        </p:tgtEl>
                                        <p:attrNameLst>
                                          <p:attrName>style.color</p:attrName>
                                        </p:attrNameLst>
                                      </p:cBhvr>
                                      <p:to>
                                        <a:srgbClr val="FF0000"/>
                                      </p:to>
                                    </p:animClr>
                                    <p:animClr clrSpc="rgb" dir="cw">
                                      <p:cBhvr>
                                        <p:cTn id="18" dur="250" autoRev="1" fill="remove"/>
                                        <p:tgtEl>
                                          <p:spTgt spid="7">
                                            <p:txEl>
                                              <p:pRg st="6" end="6"/>
                                            </p:txEl>
                                          </p:spTgt>
                                        </p:tgtEl>
                                        <p:attrNameLst>
                                          <p:attrName>fillcolor</p:attrName>
                                        </p:attrNameLst>
                                      </p:cBhvr>
                                      <p:to>
                                        <a:srgbClr val="FF0000"/>
                                      </p:to>
                                    </p:animClr>
                                    <p:set>
                                      <p:cBhvr>
                                        <p:cTn id="19" dur="250" autoRev="1" fill="remove"/>
                                        <p:tgtEl>
                                          <p:spTgt spid="7">
                                            <p:txEl>
                                              <p:pRg st="6" end="6"/>
                                            </p:txEl>
                                          </p:spTgt>
                                        </p:tgtEl>
                                        <p:attrNameLst>
                                          <p:attrName>fill.type</p:attrName>
                                        </p:attrNameLst>
                                      </p:cBhvr>
                                      <p:to>
                                        <p:strVal val="solid"/>
                                      </p:to>
                                    </p:set>
                                    <p:set>
                                      <p:cBhvr>
                                        <p:cTn id="20" dur="250" autoRev="1" fill="remove"/>
                                        <p:tgtEl>
                                          <p:spTgt spid="7">
                                            <p:txEl>
                                              <p:pRg st="6" end="6"/>
                                            </p:txEl>
                                          </p:spTgt>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94ED07-CE13-44E3-891F-49CDDEC7FFE6}"/>
              </a:ext>
            </a:extLst>
          </p:cNvPr>
          <p:cNvSpPr>
            <a:spLocks noGrp="1"/>
          </p:cNvSpPr>
          <p:nvPr>
            <p:ph type="title"/>
          </p:nvPr>
        </p:nvSpPr>
        <p:spPr/>
        <p:txBody>
          <a:bodyPr/>
          <a:lstStyle/>
          <a:p>
            <a:r>
              <a:rPr lang="en-US" dirty="0"/>
              <a:t>Why FSLogix is better</a:t>
            </a:r>
          </a:p>
        </p:txBody>
      </p:sp>
      <p:pic>
        <p:nvPicPr>
          <p:cNvPr id="3" name="Picture 2">
            <a:extLst>
              <a:ext uri="{FF2B5EF4-FFF2-40B4-BE49-F238E27FC236}">
                <a16:creationId xmlns:a16="http://schemas.microsoft.com/office/drawing/2014/main" id="{86D8A4A3-3164-40E2-9DE0-CF780D3DE7D7}"/>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65807" y="1182335"/>
            <a:ext cx="4969088" cy="3107875"/>
          </a:xfrm>
          <a:prstGeom prst="rect">
            <a:avLst/>
          </a:prstGeom>
        </p:spPr>
      </p:pic>
      <p:grpSp>
        <p:nvGrpSpPr>
          <p:cNvPr id="4" name="HQ Server">
            <a:extLst>
              <a:ext uri="{FF2B5EF4-FFF2-40B4-BE49-F238E27FC236}">
                <a16:creationId xmlns:a16="http://schemas.microsoft.com/office/drawing/2014/main" id="{5E2A229F-6965-4A2C-B4BE-D2695ABBF883}"/>
              </a:ext>
            </a:extLst>
          </p:cNvPr>
          <p:cNvGrpSpPr/>
          <p:nvPr/>
        </p:nvGrpSpPr>
        <p:grpSpPr>
          <a:xfrm>
            <a:off x="9900658" y="563980"/>
            <a:ext cx="1788759" cy="1691361"/>
            <a:chOff x="2664310" y="4249398"/>
            <a:chExt cx="1789265" cy="1691840"/>
          </a:xfrm>
        </p:grpSpPr>
        <p:pic>
          <p:nvPicPr>
            <p:cNvPr id="5" name="Picture 2" descr="\\MAGNUM\Projects\Microsoft\Cloud Power FY12\Design\Icons\PNGs\Server_2.png">
              <a:extLst>
                <a:ext uri="{FF2B5EF4-FFF2-40B4-BE49-F238E27FC236}">
                  <a16:creationId xmlns:a16="http://schemas.microsoft.com/office/drawing/2014/main" id="{A6CABA41-13C9-4322-86F1-20EFC053BE1C}"/>
                </a:ext>
              </a:extLst>
            </p:cNvPr>
            <p:cNvPicPr>
              <a:picLocks noChangeAspect="1" noChangeArrowheads="1"/>
            </p:cNvPicPr>
            <p:nvPr/>
          </p:nvPicPr>
          <p:blipFill>
            <a:blip r:embed="rId3" cstate="email">
              <a:duotone>
                <a:prstClr val="black"/>
                <a:schemeClr val="tx2">
                  <a:tint val="45000"/>
                  <a:satMod val="400000"/>
                </a:schemeClr>
              </a:duotone>
              <a:extLst>
                <a:ext uri="{28A0092B-C50C-407E-A947-70E740481C1C}">
                  <a14:useLocalDpi xmlns:a14="http://schemas.microsoft.com/office/drawing/2010/main"/>
                </a:ext>
              </a:extLst>
            </a:blip>
            <a:srcRect/>
            <a:stretch>
              <a:fillRect/>
            </a:stretch>
          </p:blipFill>
          <p:spPr bwMode="auto">
            <a:xfrm>
              <a:off x="2827548" y="4249398"/>
              <a:ext cx="1462757" cy="1462757"/>
            </a:xfrm>
            <a:prstGeom prst="rect">
              <a:avLst/>
            </a:prstGeom>
            <a:noFill/>
            <a:effectLst/>
          </p:spPr>
        </p:pic>
        <p:sp>
          <p:nvSpPr>
            <p:cNvPr id="6" name="TextBox 5">
              <a:extLst>
                <a:ext uri="{FF2B5EF4-FFF2-40B4-BE49-F238E27FC236}">
                  <a16:creationId xmlns:a16="http://schemas.microsoft.com/office/drawing/2014/main" id="{A92B6E9F-1712-4ECD-BCFC-D6E652D1A9D9}"/>
                </a:ext>
              </a:extLst>
            </p:cNvPr>
            <p:cNvSpPr txBox="1"/>
            <p:nvPr/>
          </p:nvSpPr>
          <p:spPr>
            <a:xfrm>
              <a:off x="2664310" y="5577189"/>
              <a:ext cx="1789265" cy="364049"/>
            </a:xfrm>
            <a:prstGeom prst="rect">
              <a:avLst/>
            </a:prstGeom>
            <a:noFill/>
          </p:spPr>
          <p:txBody>
            <a:bodyPr wrap="none" rtlCol="0">
              <a:spAutoFit/>
            </a:bodyPr>
            <a:lstStyle/>
            <a:p>
              <a:pPr algn="ctr" defTabSz="914049">
                <a:defRPr/>
              </a:pPr>
              <a:r>
                <a:rPr lang="en-US" dirty="0">
                  <a:latin typeface="Calibri" panose="020F0502020204030204"/>
                </a:rPr>
                <a:t>Profile File Server</a:t>
              </a:r>
            </a:p>
          </p:txBody>
        </p:sp>
      </p:grpSp>
      <p:sp>
        <p:nvSpPr>
          <p:cNvPr id="7" name="Rectangle 6">
            <a:extLst>
              <a:ext uri="{FF2B5EF4-FFF2-40B4-BE49-F238E27FC236}">
                <a16:creationId xmlns:a16="http://schemas.microsoft.com/office/drawing/2014/main" id="{532C70CE-992B-4625-8B21-9E416E252E46}"/>
              </a:ext>
            </a:extLst>
          </p:cNvPr>
          <p:cNvSpPr/>
          <p:nvPr/>
        </p:nvSpPr>
        <p:spPr>
          <a:xfrm>
            <a:off x="588263" y="4764658"/>
            <a:ext cx="5664755" cy="1969770"/>
          </a:xfrm>
          <a:prstGeom prst="rect">
            <a:avLst/>
          </a:prstGeom>
        </p:spPr>
        <p:txBody>
          <a:bodyPr wrap="square">
            <a:spAutoFit/>
          </a:bodyPr>
          <a:lstStyle/>
          <a:p>
            <a:pPr marL="285750" indent="-285750">
              <a:buFont typeface="Arial" panose="020B0604020202020204" pitchFamily="34" charset="0"/>
              <a:buChar char="•"/>
            </a:pPr>
            <a:r>
              <a:rPr lang="en-US" sz="1800" dirty="0"/>
              <a:t>Large roaming profiles are not downloaded or uploaded, instead are network-attached</a:t>
            </a:r>
          </a:p>
          <a:p>
            <a:pPr marL="742933" lvl="1" indent="-285750">
              <a:buFont typeface="Arial" panose="020B0604020202020204" pitchFamily="34" charset="0"/>
              <a:buChar char="•"/>
            </a:pPr>
            <a:r>
              <a:rPr lang="en-US" sz="1400" dirty="0"/>
              <a:t>User sees a single C drive / seamless integration</a:t>
            </a:r>
          </a:p>
          <a:p>
            <a:pPr marL="285750" indent="-285750">
              <a:buFont typeface="Arial" panose="020B0604020202020204" pitchFamily="34" charset="0"/>
              <a:buChar char="•"/>
            </a:pPr>
            <a:r>
              <a:rPr lang="en-US" sz="1800" dirty="0"/>
              <a:t>No waiting period; roaming profiles components are not copied at logoff/logon</a:t>
            </a:r>
          </a:p>
          <a:p>
            <a:pPr marL="285750" indent="-285750">
              <a:buFont typeface="Arial" panose="020B0604020202020204" pitchFamily="34" charset="0"/>
              <a:buChar char="•"/>
            </a:pPr>
            <a:r>
              <a:rPr lang="en-US" sz="1800" dirty="0"/>
              <a:t>Office cache (Outlook, OneDrive, etc.) is centralized; FSLogix agent on host links as-needed</a:t>
            </a:r>
          </a:p>
        </p:txBody>
      </p:sp>
      <p:sp>
        <p:nvSpPr>
          <p:cNvPr id="8" name="TextBox 7">
            <a:extLst>
              <a:ext uri="{FF2B5EF4-FFF2-40B4-BE49-F238E27FC236}">
                <a16:creationId xmlns:a16="http://schemas.microsoft.com/office/drawing/2014/main" id="{F8F2FE1F-8C52-4BEE-BF59-3E166B2DEB07}"/>
              </a:ext>
            </a:extLst>
          </p:cNvPr>
          <p:cNvSpPr txBox="1"/>
          <p:nvPr/>
        </p:nvSpPr>
        <p:spPr>
          <a:xfrm>
            <a:off x="83916" y="2608214"/>
            <a:ext cx="581891" cy="307777"/>
          </a:xfrm>
          <a:prstGeom prst="rect">
            <a:avLst/>
          </a:prstGeom>
          <a:noFill/>
        </p:spPr>
        <p:txBody>
          <a:bodyPr wrap="square" lIns="0" tIns="0" rIns="0" bIns="0" rtlCol="0">
            <a:spAutoFit/>
          </a:bodyPr>
          <a:lstStyle/>
          <a:p>
            <a:pPr algn="l"/>
            <a:r>
              <a:rPr lang="en-US" sz="2000" dirty="0">
                <a:gradFill>
                  <a:gsLst>
                    <a:gs pos="2917">
                      <a:schemeClr val="tx1"/>
                    </a:gs>
                    <a:gs pos="30000">
                      <a:schemeClr val="tx1"/>
                    </a:gs>
                  </a:gsLst>
                  <a:lin ang="5400000" scaled="0"/>
                </a:gradFill>
              </a:rPr>
              <a:t>VM1</a:t>
            </a:r>
          </a:p>
        </p:txBody>
      </p:sp>
      <p:sp>
        <p:nvSpPr>
          <p:cNvPr id="9" name="TextBox 8">
            <a:extLst>
              <a:ext uri="{FF2B5EF4-FFF2-40B4-BE49-F238E27FC236}">
                <a16:creationId xmlns:a16="http://schemas.microsoft.com/office/drawing/2014/main" id="{89BA1F83-02BA-4D0C-B70C-543626D96FA1}"/>
              </a:ext>
            </a:extLst>
          </p:cNvPr>
          <p:cNvSpPr txBox="1"/>
          <p:nvPr/>
        </p:nvSpPr>
        <p:spPr>
          <a:xfrm>
            <a:off x="6868025" y="4603314"/>
            <a:ext cx="581891" cy="307777"/>
          </a:xfrm>
          <a:prstGeom prst="rect">
            <a:avLst/>
          </a:prstGeom>
          <a:noFill/>
        </p:spPr>
        <p:txBody>
          <a:bodyPr wrap="square" lIns="0" tIns="0" rIns="0" bIns="0" rtlCol="0">
            <a:spAutoFit/>
          </a:bodyPr>
          <a:lstStyle/>
          <a:p>
            <a:pPr algn="l"/>
            <a:r>
              <a:rPr lang="en-US" sz="2000" dirty="0">
                <a:gradFill>
                  <a:gsLst>
                    <a:gs pos="2917">
                      <a:schemeClr val="tx1"/>
                    </a:gs>
                    <a:gs pos="30000">
                      <a:schemeClr val="tx1"/>
                    </a:gs>
                  </a:gsLst>
                  <a:lin ang="5400000" scaled="0"/>
                </a:gradFill>
              </a:rPr>
              <a:t>VM2</a:t>
            </a:r>
          </a:p>
        </p:txBody>
      </p:sp>
      <p:pic>
        <p:nvPicPr>
          <p:cNvPr id="10" name="Picture 9">
            <a:extLst>
              <a:ext uri="{FF2B5EF4-FFF2-40B4-BE49-F238E27FC236}">
                <a16:creationId xmlns:a16="http://schemas.microsoft.com/office/drawing/2014/main" id="{DE24AD68-6697-4A80-93A1-188B998FDEA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455171" y="3292925"/>
            <a:ext cx="4969088" cy="3107875"/>
          </a:xfrm>
          <a:prstGeom prst="rect">
            <a:avLst/>
          </a:prstGeom>
        </p:spPr>
      </p:pic>
      <p:cxnSp>
        <p:nvCxnSpPr>
          <p:cNvPr id="11" name="Straight Arrow Connector 10">
            <a:extLst>
              <a:ext uri="{FF2B5EF4-FFF2-40B4-BE49-F238E27FC236}">
                <a16:creationId xmlns:a16="http://schemas.microsoft.com/office/drawing/2014/main" id="{6502AAF3-C1F9-400A-B4D2-4D27F6166508}"/>
              </a:ext>
            </a:extLst>
          </p:cNvPr>
          <p:cNvCxnSpPr>
            <a:cxnSpLocks/>
          </p:cNvCxnSpPr>
          <p:nvPr/>
        </p:nvCxnSpPr>
        <p:spPr>
          <a:xfrm flipV="1">
            <a:off x="5716491" y="1385456"/>
            <a:ext cx="4600527" cy="1293089"/>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EABFC404-0B8E-40FA-B135-B75E90712D5C}"/>
              </a:ext>
            </a:extLst>
          </p:cNvPr>
          <p:cNvSpPr txBox="1"/>
          <p:nvPr/>
        </p:nvSpPr>
        <p:spPr>
          <a:xfrm rot="20715663">
            <a:off x="6182142" y="1374101"/>
            <a:ext cx="3626105" cy="553998"/>
          </a:xfrm>
          <a:prstGeom prst="rect">
            <a:avLst/>
          </a:prstGeom>
          <a:noFill/>
        </p:spPr>
        <p:txBody>
          <a:bodyPr wrap="square" lIns="0" tIns="0" rIns="0" bIns="0" rtlCol="0">
            <a:spAutoFit/>
          </a:bodyPr>
          <a:lstStyle/>
          <a:p>
            <a:pPr algn="ctr"/>
            <a:r>
              <a:rPr lang="en-US" sz="1800" dirty="0">
                <a:gradFill>
                  <a:gsLst>
                    <a:gs pos="2917">
                      <a:schemeClr val="tx1"/>
                    </a:gs>
                    <a:gs pos="30000">
                      <a:schemeClr val="tx1"/>
                    </a:gs>
                  </a:gsLst>
                  <a:lin ang="5400000" scaled="0"/>
                </a:gradFill>
              </a:rPr>
              <a:t>Profile network-attached at Logon, Profile detached at Logoff</a:t>
            </a:r>
          </a:p>
        </p:txBody>
      </p:sp>
      <p:sp>
        <p:nvSpPr>
          <p:cNvPr id="13" name="Can 45">
            <a:extLst>
              <a:ext uri="{FF2B5EF4-FFF2-40B4-BE49-F238E27FC236}">
                <a16:creationId xmlns:a16="http://schemas.microsoft.com/office/drawing/2014/main" id="{16966A98-6666-4F47-940F-267BE39EC10E}"/>
              </a:ext>
            </a:extLst>
          </p:cNvPr>
          <p:cNvSpPr>
            <a:spLocks noChangeAspect="1"/>
          </p:cNvSpPr>
          <p:nvPr/>
        </p:nvSpPr>
        <p:spPr>
          <a:xfrm>
            <a:off x="10063850" y="817528"/>
            <a:ext cx="793748" cy="477790"/>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cxnSp>
        <p:nvCxnSpPr>
          <p:cNvPr id="14" name="Straight Arrow Connector 13">
            <a:extLst>
              <a:ext uri="{FF2B5EF4-FFF2-40B4-BE49-F238E27FC236}">
                <a16:creationId xmlns:a16="http://schemas.microsoft.com/office/drawing/2014/main" id="{90C463B0-28A7-409E-AE12-C214053C54BA}"/>
              </a:ext>
            </a:extLst>
          </p:cNvPr>
          <p:cNvCxnSpPr/>
          <p:nvPr/>
        </p:nvCxnSpPr>
        <p:spPr>
          <a:xfrm flipH="1">
            <a:off x="10317018" y="2380253"/>
            <a:ext cx="120073" cy="78782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93F3A89F-9053-4056-BF4B-A2EED071B7F9}"/>
              </a:ext>
            </a:extLst>
          </p:cNvPr>
          <p:cNvSpPr txBox="1"/>
          <p:nvPr/>
        </p:nvSpPr>
        <p:spPr>
          <a:xfrm>
            <a:off x="6750949" y="2526398"/>
            <a:ext cx="3626105" cy="553998"/>
          </a:xfrm>
          <a:prstGeom prst="rect">
            <a:avLst/>
          </a:prstGeom>
          <a:noFill/>
        </p:spPr>
        <p:txBody>
          <a:bodyPr wrap="square" lIns="0" tIns="0" rIns="0" bIns="0" rtlCol="0">
            <a:spAutoFit/>
          </a:bodyPr>
          <a:lstStyle/>
          <a:p>
            <a:pPr algn="ctr"/>
            <a:r>
              <a:rPr lang="en-US" sz="1800" dirty="0">
                <a:gradFill>
                  <a:gsLst>
                    <a:gs pos="2917">
                      <a:schemeClr val="tx1"/>
                    </a:gs>
                    <a:gs pos="30000">
                      <a:schemeClr val="tx1"/>
                    </a:gs>
                  </a:gsLst>
                  <a:lin ang="5400000" scaled="0"/>
                </a:gradFill>
              </a:rPr>
              <a:t>Profile network-attached at Logon, Profile detached at Logoff</a:t>
            </a:r>
          </a:p>
        </p:txBody>
      </p:sp>
    </p:spTree>
    <p:extLst>
      <p:ext uri="{BB962C8B-B14F-4D97-AF65-F5344CB8AC3E}">
        <p14:creationId xmlns:p14="http://schemas.microsoft.com/office/powerpoint/2010/main" val="12867836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ipe(left)">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xit" presetSubtype="8" fill="hold" grpId="0" nodeType="clickEffect">
                                  <p:stCondLst>
                                    <p:cond delay="0"/>
                                  </p:stCondLst>
                                  <p:childTnLst>
                                    <p:animEffect transition="out" filter="wipe(left)">
                                      <p:cBhvr>
                                        <p:cTn id="11" dur="500"/>
                                        <p:tgtEl>
                                          <p:spTgt spid="8"/>
                                        </p:tgtEl>
                                      </p:cBhvr>
                                    </p:animEffect>
                                    <p:set>
                                      <p:cBhvr>
                                        <p:cTn id="12" dur="1" fill="hold">
                                          <p:stCondLst>
                                            <p:cond delay="499"/>
                                          </p:stCondLst>
                                        </p:cTn>
                                        <p:tgtEl>
                                          <p:spTgt spid="8"/>
                                        </p:tgtEl>
                                        <p:attrNameLst>
                                          <p:attrName>style.visibility</p:attrName>
                                        </p:attrNameLst>
                                      </p:cBhvr>
                                      <p:to>
                                        <p:strVal val="hidden"/>
                                      </p:to>
                                    </p:set>
                                  </p:childTnLst>
                                </p:cTn>
                              </p:par>
                              <p:par>
                                <p:cTn id="13" presetID="22" presetClass="exit" presetSubtype="8" fill="hold" nodeType="withEffect">
                                  <p:stCondLst>
                                    <p:cond delay="0"/>
                                  </p:stCondLst>
                                  <p:childTnLst>
                                    <p:animEffect transition="out" filter="wipe(left)">
                                      <p:cBhvr>
                                        <p:cTn id="14" dur="500"/>
                                        <p:tgtEl>
                                          <p:spTgt spid="3"/>
                                        </p:tgtEl>
                                      </p:cBhvr>
                                    </p:animEffect>
                                    <p:set>
                                      <p:cBhvr>
                                        <p:cTn id="15" dur="1" fill="hold">
                                          <p:stCondLst>
                                            <p:cond delay="499"/>
                                          </p:stCondLst>
                                        </p:cTn>
                                        <p:tgtEl>
                                          <p:spTgt spid="3"/>
                                        </p:tgtEl>
                                        <p:attrNameLst>
                                          <p:attrName>style.visibility</p:attrName>
                                        </p:attrNameLst>
                                      </p:cBhvr>
                                      <p:to>
                                        <p:strVal val="hidden"/>
                                      </p:to>
                                    </p:set>
                                  </p:childTnLst>
                                </p:cTn>
                              </p:par>
                              <p:par>
                                <p:cTn id="16" presetID="22" presetClass="exit" presetSubtype="8" fill="hold" nodeType="withEffect">
                                  <p:stCondLst>
                                    <p:cond delay="0"/>
                                  </p:stCondLst>
                                  <p:childTnLst>
                                    <p:animEffect transition="out" filter="wipe(left)">
                                      <p:cBhvr>
                                        <p:cTn id="17" dur="500"/>
                                        <p:tgtEl>
                                          <p:spTgt spid="11"/>
                                        </p:tgtEl>
                                      </p:cBhvr>
                                    </p:animEffect>
                                    <p:set>
                                      <p:cBhvr>
                                        <p:cTn id="18" dur="1" fill="hold">
                                          <p:stCondLst>
                                            <p:cond delay="499"/>
                                          </p:stCondLst>
                                        </p:cTn>
                                        <p:tgtEl>
                                          <p:spTgt spid="11"/>
                                        </p:tgtEl>
                                        <p:attrNameLst>
                                          <p:attrName>style.visibility</p:attrName>
                                        </p:attrNameLst>
                                      </p:cBhvr>
                                      <p:to>
                                        <p:strVal val="hidden"/>
                                      </p:to>
                                    </p:set>
                                  </p:childTnLst>
                                </p:cTn>
                              </p:par>
                              <p:par>
                                <p:cTn id="19" presetID="22" presetClass="exit" presetSubtype="8" fill="hold" grpId="0" nodeType="withEffect">
                                  <p:stCondLst>
                                    <p:cond delay="0"/>
                                  </p:stCondLst>
                                  <p:childTnLst>
                                    <p:animEffect transition="out" filter="wipe(left)">
                                      <p:cBhvr>
                                        <p:cTn id="20" dur="500"/>
                                        <p:tgtEl>
                                          <p:spTgt spid="12"/>
                                        </p:tgtEl>
                                      </p:cBhvr>
                                    </p:animEffect>
                                    <p:set>
                                      <p:cBhvr>
                                        <p:cTn id="21" dur="1" fill="hold">
                                          <p:stCondLst>
                                            <p:cond delay="499"/>
                                          </p:stCondLst>
                                        </p:cTn>
                                        <p:tgtEl>
                                          <p:spTgt spid="12"/>
                                        </p:tgtEl>
                                        <p:attrNameLst>
                                          <p:attrName>style.visibility</p:attrName>
                                        </p:attrNameLst>
                                      </p:cBhvr>
                                      <p:to>
                                        <p:strVal val="hidden"/>
                                      </p:to>
                                    </p:set>
                                  </p:childTnLst>
                                </p:cTn>
                              </p:par>
                            </p:childTnLst>
                          </p:cTn>
                        </p:par>
                      </p:childTnLst>
                    </p:cTn>
                  </p:par>
                  <p:par>
                    <p:cTn id="22" fill="hold">
                      <p:stCondLst>
                        <p:cond delay="indefinite"/>
                      </p:stCondLst>
                      <p:childTnLst>
                        <p:par>
                          <p:cTn id="23" fill="hold">
                            <p:stCondLst>
                              <p:cond delay="0"/>
                            </p:stCondLst>
                            <p:childTnLst>
                              <p:par>
                                <p:cTn id="24" presetID="22" presetClass="entr" presetSubtype="1" fill="hold" nodeType="clickEffect">
                                  <p:stCondLst>
                                    <p:cond delay="0"/>
                                  </p:stCondLst>
                                  <p:childTnLst>
                                    <p:set>
                                      <p:cBhvr>
                                        <p:cTn id="25" dur="1" fill="hold">
                                          <p:stCondLst>
                                            <p:cond delay="0"/>
                                          </p:stCondLst>
                                        </p:cTn>
                                        <p:tgtEl>
                                          <p:spTgt spid="14"/>
                                        </p:tgtEl>
                                        <p:attrNameLst>
                                          <p:attrName>style.visibility</p:attrName>
                                        </p:attrNameLst>
                                      </p:cBhvr>
                                      <p:to>
                                        <p:strVal val="visible"/>
                                      </p:to>
                                    </p:set>
                                    <p:animEffect transition="in" filter="wipe(up)">
                                      <p:cBhvr>
                                        <p:cTn id="26" dur="500"/>
                                        <p:tgtEl>
                                          <p:spTgt spid="14"/>
                                        </p:tgtEl>
                                      </p:cBhvr>
                                    </p:animEffect>
                                  </p:childTnLst>
                                </p:cTn>
                              </p:par>
                              <p:par>
                                <p:cTn id="27" presetID="22" presetClass="entr" presetSubtype="1" fill="hold" grpId="0" nodeType="withEffect">
                                  <p:stCondLst>
                                    <p:cond delay="0"/>
                                  </p:stCondLst>
                                  <p:childTnLst>
                                    <p:set>
                                      <p:cBhvr>
                                        <p:cTn id="28" dur="1" fill="hold">
                                          <p:stCondLst>
                                            <p:cond delay="0"/>
                                          </p:stCondLst>
                                        </p:cTn>
                                        <p:tgtEl>
                                          <p:spTgt spid="15"/>
                                        </p:tgtEl>
                                        <p:attrNameLst>
                                          <p:attrName>style.visibility</p:attrName>
                                        </p:attrNameLst>
                                      </p:cBhvr>
                                      <p:to>
                                        <p:strVal val="visible"/>
                                      </p:to>
                                    </p:set>
                                    <p:animEffect transition="in" filter="wipe(up)">
                                      <p:cBhvr>
                                        <p:cTn id="29" dur="500"/>
                                        <p:tgtEl>
                                          <p:spTgt spid="15"/>
                                        </p:tgtEl>
                                      </p:cBhvr>
                                    </p:animEffect>
                                  </p:childTnLst>
                                </p:cTn>
                              </p:par>
                              <p:par>
                                <p:cTn id="30" presetID="22" presetClass="entr" presetSubtype="1" fill="hold" nodeType="with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wipe(up)">
                                      <p:cBhvr>
                                        <p:cTn id="32" dur="500"/>
                                        <p:tgtEl>
                                          <p:spTgt spid="10"/>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9"/>
                                        </p:tgtEl>
                                        <p:attrNameLst>
                                          <p:attrName>style.visibility</p:attrName>
                                        </p:attrNameLst>
                                      </p:cBhvr>
                                      <p:to>
                                        <p:strVal val="visible"/>
                                      </p:to>
                                    </p:set>
                                    <p:animEffect transition="in" filter="wipe(up)">
                                      <p:cBhvr>
                                        <p:cTn id="35"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12" grpId="0"/>
      <p:bldP spid="13" grpId="0" animBg="1"/>
      <p:bldP spid="15"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806BEE17-F1EC-4E24-89A8-8D6C126671F6}"/>
              </a:ext>
            </a:extLst>
          </p:cNvPr>
          <p:cNvSpPr txBox="1"/>
          <p:nvPr/>
        </p:nvSpPr>
        <p:spPr>
          <a:xfrm>
            <a:off x="2251493" y="1440611"/>
            <a:ext cx="7625751" cy="3051605"/>
          </a:xfrm>
          <a:prstGeom prst="rect">
            <a:avLst/>
          </a:prstGeom>
          <a:noFill/>
        </p:spPr>
        <p:txBody>
          <a:bodyPr wrap="square" lIns="182880" tIns="146304" rIns="182880" bIns="146304" rtlCol="0">
            <a:spAutoFit/>
          </a:bodyPr>
          <a:lstStyle/>
          <a:p>
            <a:pPr>
              <a:lnSpc>
                <a:spcPct val="90000"/>
              </a:lnSpc>
              <a:spcAft>
                <a:spcPts val="600"/>
              </a:spcAft>
            </a:pPr>
            <a:r>
              <a:rPr lang="en-US" sz="19900" dirty="0">
                <a:gradFill>
                  <a:gsLst>
                    <a:gs pos="2917">
                      <a:schemeClr val="tx1"/>
                    </a:gs>
                    <a:gs pos="30000">
                      <a:schemeClr val="tx1"/>
                    </a:gs>
                  </a:gsLst>
                  <a:lin ang="5400000" scaled="0"/>
                </a:gradFill>
              </a:rPr>
              <a:t>BUT….</a:t>
            </a:r>
          </a:p>
        </p:txBody>
      </p:sp>
    </p:spTree>
    <p:extLst>
      <p:ext uri="{BB962C8B-B14F-4D97-AF65-F5344CB8AC3E}">
        <p14:creationId xmlns:p14="http://schemas.microsoft.com/office/powerpoint/2010/main" val="454016919"/>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E2C920-A4E1-487E-985C-D64FB2812AAE}"/>
              </a:ext>
            </a:extLst>
          </p:cNvPr>
          <p:cNvSpPr>
            <a:spLocks noGrp="1"/>
          </p:cNvSpPr>
          <p:nvPr>
            <p:ph type="title"/>
          </p:nvPr>
        </p:nvSpPr>
        <p:spPr/>
        <p:txBody>
          <a:bodyPr/>
          <a:lstStyle/>
          <a:p>
            <a:r>
              <a:rPr lang="en-US" sz="4000" dirty="0"/>
              <a:t>FSLogix Profiles are not Defined The Way You May Think </a:t>
            </a:r>
          </a:p>
        </p:txBody>
      </p:sp>
      <p:sp>
        <p:nvSpPr>
          <p:cNvPr id="3" name="Text Placeholder 2">
            <a:extLst>
              <a:ext uri="{FF2B5EF4-FFF2-40B4-BE49-F238E27FC236}">
                <a16:creationId xmlns:a16="http://schemas.microsoft.com/office/drawing/2014/main" id="{B575D330-0710-4952-87ED-0C7E2B84295E}"/>
              </a:ext>
            </a:extLst>
          </p:cNvPr>
          <p:cNvSpPr>
            <a:spLocks noGrp="1"/>
          </p:cNvSpPr>
          <p:nvPr>
            <p:ph type="body" sz="quarter" idx="10"/>
          </p:nvPr>
        </p:nvSpPr>
        <p:spPr>
          <a:xfrm>
            <a:off x="269303" y="1187644"/>
            <a:ext cx="11655078" cy="4837286"/>
          </a:xfrm>
        </p:spPr>
        <p:txBody>
          <a:bodyPr/>
          <a:lstStyle/>
          <a:p>
            <a:r>
              <a:rPr lang="en-US" dirty="0"/>
              <a:t>A given FSLogix Profile disk is assigned to a given Desktop or App</a:t>
            </a:r>
          </a:p>
          <a:p>
            <a:r>
              <a:rPr lang="en-US" dirty="0"/>
              <a:t>Once a Desktop or App mounts assigned FSLogix Profile Disk, it’s locked </a:t>
            </a:r>
          </a:p>
          <a:p>
            <a:pPr lvl="1"/>
            <a:r>
              <a:rPr lang="en-US" dirty="0"/>
              <a:t>No subsequent mounting to another App or Desktop</a:t>
            </a:r>
          </a:p>
          <a:p>
            <a:r>
              <a:rPr lang="en-US" dirty="0"/>
              <a:t>Best approach is “</a:t>
            </a:r>
            <a:r>
              <a:rPr lang="en-US" dirty="0" err="1"/>
              <a:t>Microprofiles</a:t>
            </a:r>
            <a:r>
              <a:rPr lang="en-US" dirty="0"/>
              <a:t>” </a:t>
            </a:r>
          </a:p>
          <a:p>
            <a:pPr lvl="1"/>
            <a:r>
              <a:rPr lang="en-US" dirty="0"/>
              <a:t>For each App HostPool</a:t>
            </a:r>
          </a:p>
          <a:p>
            <a:pPr lvl="1"/>
            <a:r>
              <a:rPr lang="en-US" dirty="0"/>
              <a:t>For each published Desktop HostPool</a:t>
            </a:r>
          </a:p>
          <a:p>
            <a:endParaRPr lang="en-US" dirty="0"/>
          </a:p>
        </p:txBody>
      </p:sp>
    </p:spTree>
    <p:extLst>
      <p:ext uri="{BB962C8B-B14F-4D97-AF65-F5344CB8AC3E}">
        <p14:creationId xmlns:p14="http://schemas.microsoft.com/office/powerpoint/2010/main" val="3130698456"/>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35A297-9B8A-462E-B053-AADE5FA53905}"/>
              </a:ext>
            </a:extLst>
          </p:cNvPr>
          <p:cNvSpPr>
            <a:spLocks noGrp="1"/>
          </p:cNvSpPr>
          <p:nvPr>
            <p:ph type="title"/>
          </p:nvPr>
        </p:nvSpPr>
        <p:spPr/>
        <p:txBody>
          <a:bodyPr/>
          <a:lstStyle/>
          <a:p>
            <a:r>
              <a:rPr lang="en-US" dirty="0"/>
              <a:t>Consider….</a:t>
            </a:r>
          </a:p>
        </p:txBody>
      </p:sp>
      <p:sp>
        <p:nvSpPr>
          <p:cNvPr id="4" name="Can 45">
            <a:extLst>
              <a:ext uri="{FF2B5EF4-FFF2-40B4-BE49-F238E27FC236}">
                <a16:creationId xmlns:a16="http://schemas.microsoft.com/office/drawing/2014/main" id="{4A53D543-576D-4DE2-A3D4-0257DBA73F41}"/>
              </a:ext>
            </a:extLst>
          </p:cNvPr>
          <p:cNvSpPr>
            <a:spLocks noChangeAspect="1"/>
          </p:cNvSpPr>
          <p:nvPr/>
        </p:nvSpPr>
        <p:spPr>
          <a:xfrm>
            <a:off x="4054433" y="3339004"/>
            <a:ext cx="793748" cy="477790"/>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cxnSp>
        <p:nvCxnSpPr>
          <p:cNvPr id="5" name="Straight Arrow Connector 4">
            <a:extLst>
              <a:ext uri="{FF2B5EF4-FFF2-40B4-BE49-F238E27FC236}">
                <a16:creationId xmlns:a16="http://schemas.microsoft.com/office/drawing/2014/main" id="{A2FED1FD-E5DE-44C2-85E4-919CA44CB684}"/>
              </a:ext>
            </a:extLst>
          </p:cNvPr>
          <p:cNvCxnSpPr>
            <a:cxnSpLocks/>
          </p:cNvCxnSpPr>
          <p:nvPr/>
        </p:nvCxnSpPr>
        <p:spPr>
          <a:xfrm flipH="1">
            <a:off x="2558472" y="3687175"/>
            <a:ext cx="1387593" cy="410372"/>
          </a:xfrm>
          <a:prstGeom prst="straightConnector1">
            <a:avLst/>
          </a:prstGeom>
          <a:ln w="2857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6" name="Virtual machines">
            <a:extLst>
              <a:ext uri="{FF2B5EF4-FFF2-40B4-BE49-F238E27FC236}">
                <a16:creationId xmlns:a16="http://schemas.microsoft.com/office/drawing/2014/main" id="{3A438640-E9B9-4CC7-8506-9D35EDCB1427}"/>
              </a:ext>
            </a:extLst>
          </p:cNvPr>
          <p:cNvPicPr>
            <a:picLocks noChangeAspect="1"/>
          </p:cNvPicPr>
          <p:nvPr/>
        </p:nvPicPr>
        <p:blipFill>
          <a:blip r:embed="rId2" cstate="email">
            <a:duotone>
              <a:prstClr val="black"/>
              <a:srgbClr val="292929">
                <a:lumMod val="50000"/>
                <a:tint val="45000"/>
                <a:satMod val="400000"/>
              </a:srgbClr>
            </a:duotone>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1733909" y="3910705"/>
            <a:ext cx="824563" cy="767676"/>
          </a:xfrm>
          <a:prstGeom prst="rect">
            <a:avLst/>
          </a:prstGeom>
        </p:spPr>
      </p:pic>
      <p:sp>
        <p:nvSpPr>
          <p:cNvPr id="8" name="TextBox 7">
            <a:extLst>
              <a:ext uri="{FF2B5EF4-FFF2-40B4-BE49-F238E27FC236}">
                <a16:creationId xmlns:a16="http://schemas.microsoft.com/office/drawing/2014/main" id="{A50128AD-C5BB-4292-9679-EFD009763280}"/>
              </a:ext>
            </a:extLst>
          </p:cNvPr>
          <p:cNvSpPr txBox="1"/>
          <p:nvPr/>
        </p:nvSpPr>
        <p:spPr>
          <a:xfrm>
            <a:off x="1043906" y="4615130"/>
            <a:ext cx="2208362" cy="1292662"/>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User Logs into WVD VM Full Desktop</a:t>
            </a:r>
          </a:p>
        </p:txBody>
      </p:sp>
      <p:sp>
        <p:nvSpPr>
          <p:cNvPr id="9" name="TextBox 8">
            <a:extLst>
              <a:ext uri="{FF2B5EF4-FFF2-40B4-BE49-F238E27FC236}">
                <a16:creationId xmlns:a16="http://schemas.microsoft.com/office/drawing/2014/main" id="{067198EA-FD82-49BD-8944-83409AFCE6DC}"/>
              </a:ext>
            </a:extLst>
          </p:cNvPr>
          <p:cNvSpPr txBox="1"/>
          <p:nvPr/>
        </p:nvSpPr>
        <p:spPr>
          <a:xfrm>
            <a:off x="3347126" y="2302538"/>
            <a:ext cx="2208362" cy="1126462"/>
          </a:xfrm>
          <a:prstGeom prst="rect">
            <a:avLst/>
          </a:prstGeom>
          <a:noFill/>
        </p:spPr>
        <p:txBody>
          <a:bodyPr wrap="square" lIns="182880" tIns="146304" rIns="182880" bIns="146304" rtlCol="0">
            <a:spAutoFit/>
          </a:bodyPr>
          <a:lstStyle/>
          <a:p>
            <a:pPr algn="ctr">
              <a:lnSpc>
                <a:spcPct val="90000"/>
              </a:lnSpc>
              <a:spcAft>
                <a:spcPts val="600"/>
              </a:spcAft>
            </a:pPr>
            <a:r>
              <a:rPr lang="en-US" sz="2000" dirty="0">
                <a:gradFill>
                  <a:gsLst>
                    <a:gs pos="2917">
                      <a:schemeClr val="tx1"/>
                    </a:gs>
                    <a:gs pos="30000">
                      <a:schemeClr val="tx1"/>
                    </a:gs>
                  </a:gsLst>
                  <a:lin ang="5400000" scaled="0"/>
                </a:gradFill>
              </a:rPr>
              <a:t>FSLogix Profile Disk Locks on File System</a:t>
            </a:r>
          </a:p>
        </p:txBody>
      </p:sp>
      <p:pic>
        <p:nvPicPr>
          <p:cNvPr id="10" name="Virtual machines">
            <a:extLst>
              <a:ext uri="{FF2B5EF4-FFF2-40B4-BE49-F238E27FC236}">
                <a16:creationId xmlns:a16="http://schemas.microsoft.com/office/drawing/2014/main" id="{2BB70BD9-7285-4861-8EFF-6674813624AF}"/>
              </a:ext>
            </a:extLst>
          </p:cNvPr>
          <p:cNvPicPr>
            <a:picLocks noChangeAspect="1"/>
          </p:cNvPicPr>
          <p:nvPr/>
        </p:nvPicPr>
        <p:blipFill>
          <a:blip r:embed="rId2" cstate="email">
            <a:duotone>
              <a:prstClr val="black"/>
              <a:srgbClr val="292929">
                <a:lumMod val="50000"/>
                <a:tint val="45000"/>
                <a:satMod val="400000"/>
              </a:srgbClr>
            </a:duotone>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7683260" y="4132116"/>
            <a:ext cx="824563" cy="767676"/>
          </a:xfrm>
          <a:prstGeom prst="rect">
            <a:avLst/>
          </a:prstGeom>
        </p:spPr>
      </p:pic>
      <p:sp>
        <p:nvSpPr>
          <p:cNvPr id="11" name="TextBox 10">
            <a:extLst>
              <a:ext uri="{FF2B5EF4-FFF2-40B4-BE49-F238E27FC236}">
                <a16:creationId xmlns:a16="http://schemas.microsoft.com/office/drawing/2014/main" id="{770A3F1B-EC78-4F73-8E43-4DC79DAB46A7}"/>
              </a:ext>
            </a:extLst>
          </p:cNvPr>
          <p:cNvSpPr txBox="1"/>
          <p:nvPr/>
        </p:nvSpPr>
        <p:spPr>
          <a:xfrm>
            <a:off x="6993257" y="4836541"/>
            <a:ext cx="2208362" cy="1625060"/>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User THEN Logs into 2</a:t>
            </a:r>
            <a:r>
              <a:rPr lang="en-US" sz="2400" baseline="30000" dirty="0">
                <a:gradFill>
                  <a:gsLst>
                    <a:gs pos="2917">
                      <a:schemeClr val="tx1"/>
                    </a:gs>
                    <a:gs pos="30000">
                      <a:schemeClr val="tx1"/>
                    </a:gs>
                  </a:gsLst>
                  <a:lin ang="5400000" scaled="0"/>
                </a:gradFill>
              </a:rPr>
              <a:t>nd</a:t>
            </a:r>
            <a:r>
              <a:rPr lang="en-US" sz="2400" dirty="0">
                <a:gradFill>
                  <a:gsLst>
                    <a:gs pos="2917">
                      <a:schemeClr val="tx1"/>
                    </a:gs>
                    <a:gs pos="30000">
                      <a:schemeClr val="tx1"/>
                    </a:gs>
                  </a:gsLst>
                  <a:lin ang="5400000" scaled="0"/>
                </a:gradFill>
              </a:rPr>
              <a:t> WVD VM Full Desktop</a:t>
            </a:r>
          </a:p>
        </p:txBody>
      </p:sp>
      <p:cxnSp>
        <p:nvCxnSpPr>
          <p:cNvPr id="12" name="Straight Arrow Connector 11">
            <a:extLst>
              <a:ext uri="{FF2B5EF4-FFF2-40B4-BE49-F238E27FC236}">
                <a16:creationId xmlns:a16="http://schemas.microsoft.com/office/drawing/2014/main" id="{7AF8FC33-3452-49EC-A062-CDC2E192C7FB}"/>
              </a:ext>
            </a:extLst>
          </p:cNvPr>
          <p:cNvCxnSpPr>
            <a:cxnSpLocks/>
          </p:cNvCxnSpPr>
          <p:nvPr/>
        </p:nvCxnSpPr>
        <p:spPr>
          <a:xfrm flipH="1" flipV="1">
            <a:off x="5451894" y="3816794"/>
            <a:ext cx="2114391" cy="445528"/>
          </a:xfrm>
          <a:prstGeom prst="straightConnector1">
            <a:avLst/>
          </a:prstGeom>
          <a:ln w="2857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AF564320-BAA3-4B3E-8C44-39BF71998E7B}"/>
              </a:ext>
            </a:extLst>
          </p:cNvPr>
          <p:cNvSpPr/>
          <p:nvPr/>
        </p:nvSpPr>
        <p:spPr>
          <a:xfrm>
            <a:off x="4997129" y="3338992"/>
            <a:ext cx="583813" cy="923330"/>
          </a:xfrm>
          <a:prstGeom prst="rect">
            <a:avLst/>
          </a:prstGeom>
          <a:noFill/>
        </p:spPr>
        <p:txBody>
          <a:bodyPr wrap="none" lIns="91440" tIns="45720" rIns="91440" bIns="45720">
            <a:spAutoFit/>
          </a:bodyPr>
          <a:lstStyle/>
          <a:p>
            <a:pPr algn="ctr"/>
            <a:r>
              <a:rPr lang="en-US" sz="5400" b="1" cap="none" spc="0" dirty="0">
                <a:ln w="22225">
                  <a:solidFill>
                    <a:schemeClr val="accent2"/>
                  </a:solidFill>
                  <a:prstDash val="solid"/>
                </a:ln>
                <a:solidFill>
                  <a:schemeClr val="accent2">
                    <a:lumMod val="40000"/>
                    <a:lumOff val="60000"/>
                  </a:schemeClr>
                </a:solidFill>
                <a:effectLst/>
              </a:rPr>
              <a:t>X</a:t>
            </a:r>
          </a:p>
        </p:txBody>
      </p:sp>
      <p:sp>
        <p:nvSpPr>
          <p:cNvPr id="15" name="TextBox 14">
            <a:extLst>
              <a:ext uri="{FF2B5EF4-FFF2-40B4-BE49-F238E27FC236}">
                <a16:creationId xmlns:a16="http://schemas.microsoft.com/office/drawing/2014/main" id="{F288249C-D5A6-4D41-A932-6C00A919C959}"/>
              </a:ext>
            </a:extLst>
          </p:cNvPr>
          <p:cNvSpPr txBox="1"/>
          <p:nvPr/>
        </p:nvSpPr>
        <p:spPr>
          <a:xfrm>
            <a:off x="6096000" y="254025"/>
            <a:ext cx="5980981" cy="2520690"/>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Until we get concurrent FSLogix…</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1:1 Host Pool to FSLogix Profile mapping</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Roaming of FSL profile will only work for first login VM; 2</a:t>
            </a:r>
            <a:r>
              <a:rPr lang="en-US" sz="2400" baseline="30000" dirty="0">
                <a:gradFill>
                  <a:gsLst>
                    <a:gs pos="2917">
                      <a:schemeClr val="tx1"/>
                    </a:gs>
                    <a:gs pos="30000">
                      <a:schemeClr val="tx1"/>
                    </a:gs>
                  </a:gsLst>
                  <a:lin ang="5400000" scaled="0"/>
                </a:gradFill>
              </a:rPr>
              <a:t>nd</a:t>
            </a:r>
            <a:r>
              <a:rPr lang="en-US" sz="2400" dirty="0">
                <a:gradFill>
                  <a:gsLst>
                    <a:gs pos="2917">
                      <a:schemeClr val="tx1"/>
                    </a:gs>
                    <a:gs pos="30000">
                      <a:schemeClr val="tx1"/>
                    </a:gs>
                  </a:gsLst>
                  <a:lin ang="5400000" scaled="0"/>
                </a:gradFill>
              </a:rPr>
              <a:t> is locked out</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ame applies to Published App Host Pools</a:t>
            </a:r>
          </a:p>
        </p:txBody>
      </p:sp>
      <p:sp>
        <p:nvSpPr>
          <p:cNvPr id="16" name="TextBox 15">
            <a:extLst>
              <a:ext uri="{FF2B5EF4-FFF2-40B4-BE49-F238E27FC236}">
                <a16:creationId xmlns:a16="http://schemas.microsoft.com/office/drawing/2014/main" id="{3CB916FA-7B6B-44F1-91D2-8B383E77F221}"/>
              </a:ext>
            </a:extLst>
          </p:cNvPr>
          <p:cNvSpPr txBox="1"/>
          <p:nvPr/>
        </p:nvSpPr>
        <p:spPr>
          <a:xfrm>
            <a:off x="1176178" y="5654564"/>
            <a:ext cx="2631056" cy="1148007"/>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Roaming settings work/followed me</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Cached work / config where I left it</a:t>
            </a:r>
          </a:p>
        </p:txBody>
      </p:sp>
      <p:sp>
        <p:nvSpPr>
          <p:cNvPr id="17" name="TextBox 16">
            <a:extLst>
              <a:ext uri="{FF2B5EF4-FFF2-40B4-BE49-F238E27FC236}">
                <a16:creationId xmlns:a16="http://schemas.microsoft.com/office/drawing/2014/main" id="{71C6DF1D-AB4C-4AA0-B670-DA021AE882F2}"/>
              </a:ext>
            </a:extLst>
          </p:cNvPr>
          <p:cNvSpPr txBox="1"/>
          <p:nvPr/>
        </p:nvSpPr>
        <p:spPr>
          <a:xfrm>
            <a:off x="8978948" y="5477906"/>
            <a:ext cx="2631056" cy="1341906"/>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Roaming settings didn’t work/ didn’t follow me</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Cached work / config has to start all over (w/LOCAL profile)</a:t>
            </a:r>
          </a:p>
        </p:txBody>
      </p:sp>
    </p:spTree>
    <p:extLst>
      <p:ext uri="{BB962C8B-B14F-4D97-AF65-F5344CB8AC3E}">
        <p14:creationId xmlns:p14="http://schemas.microsoft.com/office/powerpoint/2010/main" val="24393148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ntr" presetSubtype="0" fill="hold"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500"/>
                                        <p:tgtEl>
                                          <p:spTgt spid="11"/>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7"/>
                                        </p:tgtEl>
                                        <p:attrNameLst>
                                          <p:attrName>style.visibility</p:attrName>
                                        </p:attrNameLst>
                                      </p:cBhvr>
                                      <p:to>
                                        <p:strVal val="visible"/>
                                      </p:to>
                                    </p:set>
                                    <p:animEffect transition="in" filter="fade">
                                      <p:cBhvr>
                                        <p:cTn id="16" dur="500"/>
                                        <p:tgtEl>
                                          <p:spTgt spid="17"/>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5"/>
                                        </p:tgtEl>
                                        <p:attrNameLst>
                                          <p:attrName>style.visibility</p:attrName>
                                        </p:attrNameLst>
                                      </p:cBhvr>
                                      <p:to>
                                        <p:strVal val="visible"/>
                                      </p:to>
                                    </p:set>
                                    <p:animEffect transition="in" filter="fade">
                                      <p:cBhvr>
                                        <p:cTn id="21"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5" grpId="0"/>
      <p:bldP spid="17"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1E5B6F-794F-440A-8C6B-A95892CF5F8A}"/>
              </a:ext>
            </a:extLst>
          </p:cNvPr>
          <p:cNvSpPr>
            <a:spLocks noGrp="1"/>
          </p:cNvSpPr>
          <p:nvPr>
            <p:ph type="title"/>
          </p:nvPr>
        </p:nvSpPr>
        <p:spPr/>
        <p:txBody>
          <a:bodyPr/>
          <a:lstStyle/>
          <a:p>
            <a:r>
              <a:rPr lang="en-US" dirty="0"/>
              <a:t>FSLogix Profile per HostPool</a:t>
            </a:r>
          </a:p>
        </p:txBody>
      </p:sp>
      <p:pic>
        <p:nvPicPr>
          <p:cNvPr id="4" name="Picture 3">
            <a:extLst>
              <a:ext uri="{FF2B5EF4-FFF2-40B4-BE49-F238E27FC236}">
                <a16:creationId xmlns:a16="http://schemas.microsoft.com/office/drawing/2014/main" id="{28842A68-BC02-4F25-89BC-8504DEBB4365}"/>
              </a:ext>
            </a:extLst>
          </p:cNvPr>
          <p:cNvPicPr>
            <a:picLocks noChangeAspect="1"/>
          </p:cNvPicPr>
          <p:nvPr/>
        </p:nvPicPr>
        <p:blipFill>
          <a:blip r:embed="rId2"/>
          <a:stretch>
            <a:fillRect/>
          </a:stretch>
        </p:blipFill>
        <p:spPr>
          <a:xfrm>
            <a:off x="1924768" y="5702371"/>
            <a:ext cx="1520387" cy="875014"/>
          </a:xfrm>
          <a:prstGeom prst="rect">
            <a:avLst/>
          </a:prstGeom>
        </p:spPr>
      </p:pic>
      <p:sp>
        <p:nvSpPr>
          <p:cNvPr id="5" name="Rectangle 4">
            <a:extLst>
              <a:ext uri="{FF2B5EF4-FFF2-40B4-BE49-F238E27FC236}">
                <a16:creationId xmlns:a16="http://schemas.microsoft.com/office/drawing/2014/main" id="{8919327F-AFF6-47C4-AE4C-866146732A45}"/>
              </a:ext>
            </a:extLst>
          </p:cNvPr>
          <p:cNvSpPr/>
          <p:nvPr/>
        </p:nvSpPr>
        <p:spPr bwMode="auto">
          <a:xfrm>
            <a:off x="1164115" y="3621509"/>
            <a:ext cx="1712285" cy="1457864"/>
          </a:xfrm>
          <a:prstGeom prst="rect">
            <a:avLst/>
          </a:prstGeom>
          <a:solidFill>
            <a:schemeClr val="accent3">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b="1" u="sng" dirty="0">
                <a:solidFill>
                  <a:schemeClr val="tx2"/>
                </a:solidFill>
              </a:rPr>
              <a:t>Desktop1</a:t>
            </a:r>
            <a:r>
              <a:rPr lang="en-US" sz="1600" dirty="0">
                <a:solidFill>
                  <a:schemeClr val="tx2"/>
                </a:solidFill>
              </a:rPr>
              <a:t> Host Pool</a:t>
            </a:r>
          </a:p>
        </p:txBody>
      </p:sp>
      <p:pic>
        <p:nvPicPr>
          <p:cNvPr id="6" name="Virtual machines">
            <a:extLst>
              <a:ext uri="{FF2B5EF4-FFF2-40B4-BE49-F238E27FC236}">
                <a16:creationId xmlns:a16="http://schemas.microsoft.com/office/drawing/2014/main" id="{18C1E300-3B07-4B27-882C-03EFBBCF24BB}"/>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1294910" y="4497830"/>
            <a:ext cx="468965" cy="436611"/>
          </a:xfrm>
          <a:prstGeom prst="rect">
            <a:avLst/>
          </a:prstGeom>
        </p:spPr>
      </p:pic>
      <p:pic>
        <p:nvPicPr>
          <p:cNvPr id="7" name="Virtual machines">
            <a:extLst>
              <a:ext uri="{FF2B5EF4-FFF2-40B4-BE49-F238E27FC236}">
                <a16:creationId xmlns:a16="http://schemas.microsoft.com/office/drawing/2014/main" id="{0E1CA004-48E3-4576-B533-A06B80AF5D68}"/>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2288517" y="4497830"/>
            <a:ext cx="468965" cy="436611"/>
          </a:xfrm>
          <a:prstGeom prst="rect">
            <a:avLst/>
          </a:prstGeom>
        </p:spPr>
      </p:pic>
      <p:pic>
        <p:nvPicPr>
          <p:cNvPr id="8" name="Virtual machines">
            <a:extLst>
              <a:ext uri="{FF2B5EF4-FFF2-40B4-BE49-F238E27FC236}">
                <a16:creationId xmlns:a16="http://schemas.microsoft.com/office/drawing/2014/main" id="{0153207E-7757-4E6F-91C8-C093ABF11008}"/>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2288515" y="3729978"/>
            <a:ext cx="468965" cy="436611"/>
          </a:xfrm>
          <a:prstGeom prst="rect">
            <a:avLst/>
          </a:prstGeom>
        </p:spPr>
      </p:pic>
      <p:pic>
        <p:nvPicPr>
          <p:cNvPr id="9" name="Virtual machines">
            <a:extLst>
              <a:ext uri="{FF2B5EF4-FFF2-40B4-BE49-F238E27FC236}">
                <a16:creationId xmlns:a16="http://schemas.microsoft.com/office/drawing/2014/main" id="{97CB0291-404E-4410-BC09-268D92F5B4A8}"/>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1294909" y="3729978"/>
            <a:ext cx="468965" cy="436611"/>
          </a:xfrm>
          <a:prstGeom prst="rect">
            <a:avLst/>
          </a:prstGeom>
        </p:spPr>
      </p:pic>
      <p:sp>
        <p:nvSpPr>
          <p:cNvPr id="10" name="Rectangle 9">
            <a:extLst>
              <a:ext uri="{FF2B5EF4-FFF2-40B4-BE49-F238E27FC236}">
                <a16:creationId xmlns:a16="http://schemas.microsoft.com/office/drawing/2014/main" id="{0D67E6FC-B03A-4DE8-8947-86645B0BC93A}"/>
              </a:ext>
            </a:extLst>
          </p:cNvPr>
          <p:cNvSpPr/>
          <p:nvPr/>
        </p:nvSpPr>
        <p:spPr bwMode="auto">
          <a:xfrm>
            <a:off x="9868419" y="2187536"/>
            <a:ext cx="1712285" cy="1457864"/>
          </a:xfrm>
          <a:prstGeom prst="rect">
            <a:avLst/>
          </a:prstGeom>
          <a:solidFill>
            <a:srgbClr val="FFB9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b="1" u="sng" dirty="0">
                <a:solidFill>
                  <a:schemeClr val="tx2"/>
                </a:solidFill>
              </a:rPr>
              <a:t>Apps2</a:t>
            </a:r>
            <a:r>
              <a:rPr lang="en-US" sz="1600" dirty="0">
                <a:solidFill>
                  <a:schemeClr val="tx2"/>
                </a:solidFill>
              </a:rPr>
              <a:t> Host Pool</a:t>
            </a:r>
          </a:p>
        </p:txBody>
      </p:sp>
      <p:pic>
        <p:nvPicPr>
          <p:cNvPr id="11" name="Virtual machines">
            <a:extLst>
              <a:ext uri="{FF2B5EF4-FFF2-40B4-BE49-F238E27FC236}">
                <a16:creationId xmlns:a16="http://schemas.microsoft.com/office/drawing/2014/main" id="{AF498FFC-2753-48D3-A8F7-27F4F0467FEA}"/>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9999214" y="3063857"/>
            <a:ext cx="468965" cy="436611"/>
          </a:xfrm>
          <a:prstGeom prst="rect">
            <a:avLst/>
          </a:prstGeom>
        </p:spPr>
      </p:pic>
      <p:pic>
        <p:nvPicPr>
          <p:cNvPr id="12" name="Virtual machines">
            <a:extLst>
              <a:ext uri="{FF2B5EF4-FFF2-40B4-BE49-F238E27FC236}">
                <a16:creationId xmlns:a16="http://schemas.microsoft.com/office/drawing/2014/main" id="{97250A51-6908-455B-A958-CFD44C61E6CF}"/>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10992821" y="3063857"/>
            <a:ext cx="468965" cy="436611"/>
          </a:xfrm>
          <a:prstGeom prst="rect">
            <a:avLst/>
          </a:prstGeom>
        </p:spPr>
      </p:pic>
      <p:pic>
        <p:nvPicPr>
          <p:cNvPr id="13" name="Virtual machines">
            <a:extLst>
              <a:ext uri="{FF2B5EF4-FFF2-40B4-BE49-F238E27FC236}">
                <a16:creationId xmlns:a16="http://schemas.microsoft.com/office/drawing/2014/main" id="{2D932F89-529C-491D-ABB4-0B37FDA42556}"/>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10992819" y="2296005"/>
            <a:ext cx="468965" cy="436611"/>
          </a:xfrm>
          <a:prstGeom prst="rect">
            <a:avLst/>
          </a:prstGeom>
        </p:spPr>
      </p:pic>
      <p:pic>
        <p:nvPicPr>
          <p:cNvPr id="14" name="Virtual machines">
            <a:extLst>
              <a:ext uri="{FF2B5EF4-FFF2-40B4-BE49-F238E27FC236}">
                <a16:creationId xmlns:a16="http://schemas.microsoft.com/office/drawing/2014/main" id="{CCB2AC9B-0B2B-4518-86E5-935B50D188B5}"/>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9999213" y="2296005"/>
            <a:ext cx="468965" cy="436611"/>
          </a:xfrm>
          <a:prstGeom prst="rect">
            <a:avLst/>
          </a:prstGeom>
        </p:spPr>
      </p:pic>
      <p:pic>
        <p:nvPicPr>
          <p:cNvPr id="15" name="Picture 14">
            <a:extLst>
              <a:ext uri="{FF2B5EF4-FFF2-40B4-BE49-F238E27FC236}">
                <a16:creationId xmlns:a16="http://schemas.microsoft.com/office/drawing/2014/main" id="{3FB1438F-5D0C-40A1-9BFB-8E671A3C158C}"/>
              </a:ext>
            </a:extLst>
          </p:cNvPr>
          <p:cNvPicPr>
            <a:picLocks noChangeAspect="1"/>
          </p:cNvPicPr>
          <p:nvPr/>
        </p:nvPicPr>
        <p:blipFill>
          <a:blip r:embed="rId5"/>
          <a:stretch>
            <a:fillRect/>
          </a:stretch>
        </p:blipFill>
        <p:spPr>
          <a:xfrm>
            <a:off x="9181670" y="980357"/>
            <a:ext cx="2883568" cy="583074"/>
          </a:xfrm>
          <a:prstGeom prst="rect">
            <a:avLst/>
          </a:prstGeom>
        </p:spPr>
      </p:pic>
      <p:sp>
        <p:nvSpPr>
          <p:cNvPr id="16" name="Arrow: Up 15">
            <a:extLst>
              <a:ext uri="{FF2B5EF4-FFF2-40B4-BE49-F238E27FC236}">
                <a16:creationId xmlns:a16="http://schemas.microsoft.com/office/drawing/2014/main" id="{D53B34F3-8D9E-4F2A-A503-9AB60F4E9955}"/>
              </a:ext>
            </a:extLst>
          </p:cNvPr>
          <p:cNvSpPr/>
          <p:nvPr/>
        </p:nvSpPr>
        <p:spPr bwMode="auto">
          <a:xfrm>
            <a:off x="9868419" y="1582559"/>
            <a:ext cx="1684421" cy="670892"/>
          </a:xfrm>
          <a:prstGeom prst="up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a:gradFill>
                  <a:gsLst>
                    <a:gs pos="40075">
                      <a:srgbClr val="FFFFFF"/>
                    </a:gs>
                    <a:gs pos="30000">
                      <a:srgbClr val="FFFFFF"/>
                    </a:gs>
                  </a:gsLst>
                  <a:lin ang="5400000" scaled="0"/>
                </a:gradFill>
              </a:rPr>
              <a:t>Published </a:t>
            </a:r>
          </a:p>
          <a:p>
            <a:pPr algn="ctr" defTabSz="932472" fontAlgn="base">
              <a:spcBef>
                <a:spcPct val="0"/>
              </a:spcBef>
              <a:spcAft>
                <a:spcPct val="0"/>
              </a:spcAft>
            </a:pPr>
            <a:r>
              <a:rPr lang="en-US" sz="1400" dirty="0">
                <a:gradFill>
                  <a:gsLst>
                    <a:gs pos="40075">
                      <a:srgbClr val="FFFFFF"/>
                    </a:gs>
                    <a:gs pos="30000">
                      <a:srgbClr val="FFFFFF"/>
                    </a:gs>
                  </a:gsLst>
                  <a:lin ang="5400000" scaled="0"/>
                </a:gradFill>
              </a:rPr>
              <a:t>apps</a:t>
            </a:r>
          </a:p>
        </p:txBody>
      </p:sp>
      <p:pic>
        <p:nvPicPr>
          <p:cNvPr id="17" name="Picture 16">
            <a:extLst>
              <a:ext uri="{FF2B5EF4-FFF2-40B4-BE49-F238E27FC236}">
                <a16:creationId xmlns:a16="http://schemas.microsoft.com/office/drawing/2014/main" id="{96929A6D-823D-4A2C-997A-B044D12D37B0}"/>
              </a:ext>
            </a:extLst>
          </p:cNvPr>
          <p:cNvPicPr>
            <a:picLocks noChangeAspect="1"/>
          </p:cNvPicPr>
          <p:nvPr/>
        </p:nvPicPr>
        <p:blipFill>
          <a:blip r:embed="rId6"/>
          <a:stretch>
            <a:fillRect/>
          </a:stretch>
        </p:blipFill>
        <p:spPr>
          <a:xfrm>
            <a:off x="9633123" y="462203"/>
            <a:ext cx="524551" cy="518154"/>
          </a:xfrm>
          <a:prstGeom prst="rect">
            <a:avLst/>
          </a:prstGeom>
        </p:spPr>
      </p:pic>
      <p:pic>
        <p:nvPicPr>
          <p:cNvPr id="18" name="Picture 17">
            <a:extLst>
              <a:ext uri="{FF2B5EF4-FFF2-40B4-BE49-F238E27FC236}">
                <a16:creationId xmlns:a16="http://schemas.microsoft.com/office/drawing/2014/main" id="{1D6110B1-7B56-4B71-9E94-1FA5B32D007E}"/>
              </a:ext>
            </a:extLst>
          </p:cNvPr>
          <p:cNvPicPr>
            <a:picLocks noChangeAspect="1"/>
          </p:cNvPicPr>
          <p:nvPr/>
        </p:nvPicPr>
        <p:blipFill>
          <a:blip r:embed="rId7"/>
          <a:stretch>
            <a:fillRect/>
          </a:stretch>
        </p:blipFill>
        <p:spPr>
          <a:xfrm>
            <a:off x="10157675" y="464621"/>
            <a:ext cx="524552" cy="515736"/>
          </a:xfrm>
          <a:prstGeom prst="rect">
            <a:avLst/>
          </a:prstGeom>
        </p:spPr>
      </p:pic>
      <p:pic>
        <p:nvPicPr>
          <p:cNvPr id="19" name="Picture 18">
            <a:extLst>
              <a:ext uri="{FF2B5EF4-FFF2-40B4-BE49-F238E27FC236}">
                <a16:creationId xmlns:a16="http://schemas.microsoft.com/office/drawing/2014/main" id="{DE541FCF-AF9E-430E-8332-736A2F1F2BDA}"/>
              </a:ext>
            </a:extLst>
          </p:cNvPr>
          <p:cNvPicPr>
            <a:picLocks noChangeAspect="1"/>
          </p:cNvPicPr>
          <p:nvPr/>
        </p:nvPicPr>
        <p:blipFill>
          <a:blip r:embed="rId8"/>
          <a:stretch>
            <a:fillRect/>
          </a:stretch>
        </p:blipFill>
        <p:spPr>
          <a:xfrm>
            <a:off x="10648656" y="444964"/>
            <a:ext cx="666617" cy="535393"/>
          </a:xfrm>
          <a:prstGeom prst="rect">
            <a:avLst/>
          </a:prstGeom>
        </p:spPr>
      </p:pic>
      <p:pic>
        <p:nvPicPr>
          <p:cNvPr id="20" name="Picture 19">
            <a:extLst>
              <a:ext uri="{FF2B5EF4-FFF2-40B4-BE49-F238E27FC236}">
                <a16:creationId xmlns:a16="http://schemas.microsoft.com/office/drawing/2014/main" id="{8ECB1F50-E9F5-4C9C-A386-8667A2B4F492}"/>
              </a:ext>
            </a:extLst>
          </p:cNvPr>
          <p:cNvPicPr>
            <a:picLocks noChangeAspect="1"/>
          </p:cNvPicPr>
          <p:nvPr/>
        </p:nvPicPr>
        <p:blipFill>
          <a:blip r:embed="rId9"/>
          <a:stretch>
            <a:fillRect/>
          </a:stretch>
        </p:blipFill>
        <p:spPr>
          <a:xfrm>
            <a:off x="671113" y="5702371"/>
            <a:ext cx="1164851" cy="875014"/>
          </a:xfrm>
          <a:prstGeom prst="rect">
            <a:avLst/>
          </a:prstGeom>
        </p:spPr>
      </p:pic>
      <p:sp>
        <p:nvSpPr>
          <p:cNvPr id="21" name="Arrow: Down 20">
            <a:extLst>
              <a:ext uri="{FF2B5EF4-FFF2-40B4-BE49-F238E27FC236}">
                <a16:creationId xmlns:a16="http://schemas.microsoft.com/office/drawing/2014/main" id="{BC85F949-E73F-4DCF-976A-CF2C2927A8CA}"/>
              </a:ext>
            </a:extLst>
          </p:cNvPr>
          <p:cNvSpPr/>
          <p:nvPr/>
        </p:nvSpPr>
        <p:spPr bwMode="auto">
          <a:xfrm>
            <a:off x="1212032" y="4953795"/>
            <a:ext cx="1664368" cy="731389"/>
          </a:xfrm>
          <a:prstGeom prst="down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a:gradFill>
                  <a:gsLst>
                    <a:gs pos="40075">
                      <a:srgbClr val="FFFFFF"/>
                    </a:gs>
                    <a:gs pos="30000">
                      <a:srgbClr val="FFFFFF"/>
                    </a:gs>
                  </a:gsLst>
                  <a:lin ang="5400000" scaled="0"/>
                </a:gradFill>
              </a:rPr>
              <a:t>Published Desktops</a:t>
            </a:r>
          </a:p>
        </p:txBody>
      </p:sp>
      <p:pic>
        <p:nvPicPr>
          <p:cNvPr id="24" name="Picture 23" descr="A picture containing drawing&#10;&#10;Description automatically generated">
            <a:extLst>
              <a:ext uri="{FF2B5EF4-FFF2-40B4-BE49-F238E27FC236}">
                <a16:creationId xmlns:a16="http://schemas.microsoft.com/office/drawing/2014/main" id="{9ECDE860-972D-4977-8279-EE07F3846D13}"/>
              </a:ext>
            </a:extLst>
          </p:cNvPr>
          <p:cNvPicPr>
            <a:picLocks noChangeAspect="1"/>
          </p:cNvPicPr>
          <p:nvPr/>
        </p:nvPicPr>
        <p:blipFill>
          <a:blip r:embed="rId10"/>
          <a:stretch>
            <a:fillRect/>
          </a:stretch>
        </p:blipFill>
        <p:spPr>
          <a:xfrm>
            <a:off x="5348656" y="2080177"/>
            <a:ext cx="2025199" cy="2025199"/>
          </a:xfrm>
          <a:prstGeom prst="rect">
            <a:avLst/>
          </a:prstGeom>
        </p:spPr>
      </p:pic>
      <p:pic>
        <p:nvPicPr>
          <p:cNvPr id="26" name="Picture 25" descr="A picture containing drawing&#10;&#10;Description automatically generated">
            <a:extLst>
              <a:ext uri="{FF2B5EF4-FFF2-40B4-BE49-F238E27FC236}">
                <a16:creationId xmlns:a16="http://schemas.microsoft.com/office/drawing/2014/main" id="{92A53EF1-A5FA-4EFC-9107-DF77968C86A0}"/>
              </a:ext>
            </a:extLst>
          </p:cNvPr>
          <p:cNvPicPr>
            <a:picLocks noChangeAspect="1"/>
          </p:cNvPicPr>
          <p:nvPr/>
        </p:nvPicPr>
        <p:blipFill>
          <a:blip r:embed="rId11"/>
          <a:stretch>
            <a:fillRect/>
          </a:stretch>
        </p:blipFill>
        <p:spPr>
          <a:xfrm>
            <a:off x="6938519" y="1974233"/>
            <a:ext cx="780290" cy="780290"/>
          </a:xfrm>
          <a:prstGeom prst="rect">
            <a:avLst/>
          </a:prstGeom>
        </p:spPr>
      </p:pic>
      <p:pic>
        <p:nvPicPr>
          <p:cNvPr id="28" name="Picture 27" descr="A picture containing drawing&#10;&#10;Description automatically generated">
            <a:extLst>
              <a:ext uri="{FF2B5EF4-FFF2-40B4-BE49-F238E27FC236}">
                <a16:creationId xmlns:a16="http://schemas.microsoft.com/office/drawing/2014/main" id="{B1B380F8-EFA3-4A34-A4AE-72C53E034A3C}"/>
              </a:ext>
            </a:extLst>
          </p:cNvPr>
          <p:cNvPicPr>
            <a:picLocks noChangeAspect="1"/>
          </p:cNvPicPr>
          <p:nvPr/>
        </p:nvPicPr>
        <p:blipFill>
          <a:blip r:embed="rId11"/>
          <a:stretch>
            <a:fillRect/>
          </a:stretch>
        </p:blipFill>
        <p:spPr>
          <a:xfrm>
            <a:off x="4741380" y="3323103"/>
            <a:ext cx="780290" cy="780290"/>
          </a:xfrm>
          <a:prstGeom prst="rect">
            <a:avLst/>
          </a:prstGeom>
        </p:spPr>
      </p:pic>
      <p:sp>
        <p:nvSpPr>
          <p:cNvPr id="29" name="TextBox 28">
            <a:extLst>
              <a:ext uri="{FF2B5EF4-FFF2-40B4-BE49-F238E27FC236}">
                <a16:creationId xmlns:a16="http://schemas.microsoft.com/office/drawing/2014/main" id="{66291103-8EEE-4A77-92B6-F4757E443DF9}"/>
              </a:ext>
            </a:extLst>
          </p:cNvPr>
          <p:cNvSpPr txBox="1"/>
          <p:nvPr/>
        </p:nvSpPr>
        <p:spPr>
          <a:xfrm>
            <a:off x="5791597" y="1399341"/>
            <a:ext cx="3390073"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FSLFS\Share\</a:t>
            </a:r>
            <a:r>
              <a:rPr lang="en-US" sz="2400" b="1" u="sng" dirty="0">
                <a:gradFill>
                  <a:gsLst>
                    <a:gs pos="2917">
                      <a:schemeClr val="tx1"/>
                    </a:gs>
                    <a:gs pos="30000">
                      <a:schemeClr val="tx1"/>
                    </a:gs>
                  </a:gsLst>
                  <a:lin ang="5400000" scaled="0"/>
                </a:gradFill>
              </a:rPr>
              <a:t>Apps2</a:t>
            </a:r>
          </a:p>
        </p:txBody>
      </p:sp>
      <p:sp>
        <p:nvSpPr>
          <p:cNvPr id="30" name="TextBox 29">
            <a:extLst>
              <a:ext uri="{FF2B5EF4-FFF2-40B4-BE49-F238E27FC236}">
                <a16:creationId xmlns:a16="http://schemas.microsoft.com/office/drawing/2014/main" id="{378C3344-3BA7-4BFB-A551-6EEDB1CD95F2}"/>
              </a:ext>
            </a:extLst>
          </p:cNvPr>
          <p:cNvSpPr txBox="1"/>
          <p:nvPr/>
        </p:nvSpPr>
        <p:spPr>
          <a:xfrm>
            <a:off x="3698809" y="4009206"/>
            <a:ext cx="3780164"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FSLFS\Share\</a:t>
            </a:r>
            <a:r>
              <a:rPr lang="en-US" sz="2400" b="1" u="sng" dirty="0">
                <a:gradFill>
                  <a:gsLst>
                    <a:gs pos="2917">
                      <a:schemeClr val="tx1"/>
                    </a:gs>
                    <a:gs pos="30000">
                      <a:schemeClr val="tx1"/>
                    </a:gs>
                  </a:gsLst>
                  <a:lin ang="5400000" scaled="0"/>
                </a:gradFill>
              </a:rPr>
              <a:t>Desktop1</a:t>
            </a:r>
          </a:p>
        </p:txBody>
      </p:sp>
      <p:cxnSp>
        <p:nvCxnSpPr>
          <p:cNvPr id="32" name="Straight Arrow Connector 31">
            <a:extLst>
              <a:ext uri="{FF2B5EF4-FFF2-40B4-BE49-F238E27FC236}">
                <a16:creationId xmlns:a16="http://schemas.microsoft.com/office/drawing/2014/main" id="{6D19947D-28C3-45A3-9460-235ED3C733ED}"/>
              </a:ext>
            </a:extLst>
          </p:cNvPr>
          <p:cNvCxnSpPr>
            <a:cxnSpLocks/>
          </p:cNvCxnSpPr>
          <p:nvPr/>
        </p:nvCxnSpPr>
        <p:spPr>
          <a:xfrm flipV="1">
            <a:off x="2932630" y="4350441"/>
            <a:ext cx="888743" cy="147389"/>
          </a:xfrm>
          <a:prstGeom prst="straightConnector1">
            <a:avLst/>
          </a:prstGeom>
          <a:ln w="41275">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81A8EF6D-8D3B-4729-99DC-5F81FA0AEA7A}"/>
              </a:ext>
            </a:extLst>
          </p:cNvPr>
          <p:cNvCxnSpPr>
            <a:cxnSpLocks/>
          </p:cNvCxnSpPr>
          <p:nvPr/>
        </p:nvCxnSpPr>
        <p:spPr>
          <a:xfrm flipH="1" flipV="1">
            <a:off x="7847463" y="2364378"/>
            <a:ext cx="1902036" cy="552090"/>
          </a:xfrm>
          <a:prstGeom prst="straightConnector1">
            <a:avLst/>
          </a:prstGeom>
          <a:ln w="41275">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0669FA7E-809E-4068-A7DC-DEEF8A91671E}"/>
              </a:ext>
            </a:extLst>
          </p:cNvPr>
          <p:cNvSpPr txBox="1"/>
          <p:nvPr/>
        </p:nvSpPr>
        <p:spPr>
          <a:xfrm>
            <a:off x="7646363" y="4430014"/>
            <a:ext cx="4206271" cy="1668149"/>
          </a:xfrm>
          <a:prstGeom prst="rect">
            <a:avLst/>
          </a:prstGeom>
          <a:noFill/>
        </p:spPr>
        <p:txBody>
          <a:bodyPr wrap="square" lIns="182880" tIns="146304" rIns="182880" bIns="146304" rtlCol="0">
            <a:spAutoFit/>
          </a:bodyPr>
          <a:lstStyle/>
          <a:p>
            <a:pPr>
              <a:lnSpc>
                <a:spcPct val="90000"/>
              </a:lnSpc>
              <a:spcAft>
                <a:spcPts val="600"/>
              </a:spcAft>
            </a:pPr>
            <a:r>
              <a:rPr lang="en-US" sz="2800" dirty="0">
                <a:gradFill>
                  <a:gsLst>
                    <a:gs pos="2917">
                      <a:schemeClr val="tx1"/>
                    </a:gs>
                    <a:gs pos="30000">
                      <a:schemeClr val="tx1"/>
                    </a:gs>
                  </a:gsLst>
                  <a:lin ang="5400000" scaled="0"/>
                </a:gradFill>
              </a:rPr>
              <a:t>Best Practices:</a:t>
            </a:r>
          </a:p>
          <a:p>
            <a:pPr marL="342900" indent="-342900">
              <a:lnSpc>
                <a:spcPct val="90000"/>
              </a:lnSpc>
              <a:spcAft>
                <a:spcPts val="600"/>
              </a:spcAft>
              <a:buFontTx/>
              <a:buChar char="-"/>
            </a:pPr>
            <a:r>
              <a:rPr lang="en-US" sz="2000" dirty="0">
                <a:gradFill>
                  <a:gsLst>
                    <a:gs pos="2917">
                      <a:schemeClr val="tx1"/>
                    </a:gs>
                    <a:gs pos="30000">
                      <a:schemeClr val="tx1"/>
                    </a:gs>
                  </a:gsLst>
                  <a:lin ang="5400000" scaled="0"/>
                </a:gradFill>
              </a:rPr>
              <a:t>Unique UNC for each HostPool</a:t>
            </a:r>
          </a:p>
          <a:p>
            <a:pPr marL="342900" indent="-342900">
              <a:lnSpc>
                <a:spcPct val="90000"/>
              </a:lnSpc>
              <a:spcAft>
                <a:spcPts val="600"/>
              </a:spcAft>
              <a:buFontTx/>
              <a:buChar char="-"/>
            </a:pPr>
            <a:r>
              <a:rPr lang="en-US" sz="2000" dirty="0">
                <a:gradFill>
                  <a:gsLst>
                    <a:gs pos="2917">
                      <a:schemeClr val="tx1"/>
                    </a:gs>
                    <a:gs pos="30000">
                      <a:schemeClr val="tx1"/>
                    </a:gs>
                  </a:gsLst>
                  <a:lin ang="5400000" scaled="0"/>
                </a:gradFill>
              </a:rPr>
              <a:t>Name directory same as HostPool (easy to see mapping)</a:t>
            </a:r>
          </a:p>
        </p:txBody>
      </p:sp>
    </p:spTree>
    <p:extLst>
      <p:ext uri="{BB962C8B-B14F-4D97-AF65-F5344CB8AC3E}">
        <p14:creationId xmlns:p14="http://schemas.microsoft.com/office/powerpoint/2010/main" val="33906540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wipe(left)">
                                      <p:cBhvr>
                                        <p:cTn id="10" dur="500"/>
                                        <p:tgtEl>
                                          <p:spTgt spid="5"/>
                                        </p:tgtEl>
                                      </p:cBhvr>
                                    </p:animEffect>
                                  </p:childTnLst>
                                </p:cTn>
                              </p:par>
                              <p:par>
                                <p:cTn id="11" presetID="22" presetClass="entr" presetSubtype="8" fill="hold"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wipe(left)">
                                      <p:cBhvr>
                                        <p:cTn id="13" dur="500"/>
                                        <p:tgtEl>
                                          <p:spTgt spid="6"/>
                                        </p:tgtEl>
                                      </p:cBhvr>
                                    </p:animEffect>
                                  </p:childTnLst>
                                </p:cTn>
                              </p:par>
                              <p:par>
                                <p:cTn id="14" presetID="22" presetClass="entr" presetSubtype="8" fill="hold"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wipe(left)">
                                      <p:cBhvr>
                                        <p:cTn id="16" dur="500"/>
                                        <p:tgtEl>
                                          <p:spTgt spid="7"/>
                                        </p:tgtEl>
                                      </p:cBhvr>
                                    </p:animEffect>
                                  </p:childTnLst>
                                </p:cTn>
                              </p:par>
                              <p:par>
                                <p:cTn id="17" presetID="22" presetClass="entr" presetSubtype="8" fill="hold" nodeType="with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wipe(left)">
                                      <p:cBhvr>
                                        <p:cTn id="19" dur="500"/>
                                        <p:tgtEl>
                                          <p:spTgt spid="8"/>
                                        </p:tgtEl>
                                      </p:cBhvr>
                                    </p:animEffect>
                                  </p:childTnLst>
                                </p:cTn>
                              </p:par>
                              <p:par>
                                <p:cTn id="20" presetID="22" presetClass="entr" presetSubtype="8" fill="hold" nodeType="with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wipe(left)">
                                      <p:cBhvr>
                                        <p:cTn id="22" dur="500"/>
                                        <p:tgtEl>
                                          <p:spTgt spid="9"/>
                                        </p:tgtEl>
                                      </p:cBhvr>
                                    </p:animEffect>
                                  </p:childTnLst>
                                </p:cTn>
                              </p:par>
                              <p:par>
                                <p:cTn id="23" presetID="22" presetClass="entr" presetSubtype="8" fill="hold" nodeType="withEffect">
                                  <p:stCondLst>
                                    <p:cond delay="0"/>
                                  </p:stCondLst>
                                  <p:childTnLst>
                                    <p:set>
                                      <p:cBhvr>
                                        <p:cTn id="24" dur="1" fill="hold">
                                          <p:stCondLst>
                                            <p:cond delay="0"/>
                                          </p:stCondLst>
                                        </p:cTn>
                                        <p:tgtEl>
                                          <p:spTgt spid="20"/>
                                        </p:tgtEl>
                                        <p:attrNameLst>
                                          <p:attrName>style.visibility</p:attrName>
                                        </p:attrNameLst>
                                      </p:cBhvr>
                                      <p:to>
                                        <p:strVal val="visible"/>
                                      </p:to>
                                    </p:set>
                                    <p:animEffect transition="in" filter="wipe(left)">
                                      <p:cBhvr>
                                        <p:cTn id="25" dur="500"/>
                                        <p:tgtEl>
                                          <p:spTgt spid="20"/>
                                        </p:tgtEl>
                                      </p:cBhvr>
                                    </p:animEffect>
                                  </p:childTnLst>
                                </p:cTn>
                              </p:par>
                              <p:par>
                                <p:cTn id="26" presetID="22" presetClass="entr" presetSubtype="8" fill="hold" grpId="0" nodeType="withEffect">
                                  <p:stCondLst>
                                    <p:cond delay="0"/>
                                  </p:stCondLst>
                                  <p:childTnLst>
                                    <p:set>
                                      <p:cBhvr>
                                        <p:cTn id="27" dur="1" fill="hold">
                                          <p:stCondLst>
                                            <p:cond delay="0"/>
                                          </p:stCondLst>
                                        </p:cTn>
                                        <p:tgtEl>
                                          <p:spTgt spid="21"/>
                                        </p:tgtEl>
                                        <p:attrNameLst>
                                          <p:attrName>style.visibility</p:attrName>
                                        </p:attrNameLst>
                                      </p:cBhvr>
                                      <p:to>
                                        <p:strVal val="visible"/>
                                      </p:to>
                                    </p:set>
                                    <p:animEffect transition="in" filter="wipe(left)">
                                      <p:cBhvr>
                                        <p:cTn id="28" dur="500"/>
                                        <p:tgtEl>
                                          <p:spTgt spid="21"/>
                                        </p:tgtEl>
                                      </p:cBhvr>
                                    </p:animEffect>
                                  </p:childTnLst>
                                </p:cTn>
                              </p:par>
                              <p:par>
                                <p:cTn id="29" presetID="22" presetClass="entr" presetSubtype="8" fill="hold" nodeType="withEffect">
                                  <p:stCondLst>
                                    <p:cond delay="0"/>
                                  </p:stCondLst>
                                  <p:childTnLst>
                                    <p:set>
                                      <p:cBhvr>
                                        <p:cTn id="30" dur="1" fill="hold">
                                          <p:stCondLst>
                                            <p:cond delay="0"/>
                                          </p:stCondLst>
                                        </p:cTn>
                                        <p:tgtEl>
                                          <p:spTgt spid="32"/>
                                        </p:tgtEl>
                                        <p:attrNameLst>
                                          <p:attrName>style.visibility</p:attrName>
                                        </p:attrNameLst>
                                      </p:cBhvr>
                                      <p:to>
                                        <p:strVal val="visible"/>
                                      </p:to>
                                    </p:set>
                                    <p:animEffect transition="in" filter="wipe(left)">
                                      <p:cBhvr>
                                        <p:cTn id="31" dur="500"/>
                                        <p:tgtEl>
                                          <p:spTgt spid="32"/>
                                        </p:tgtEl>
                                      </p:cBhvr>
                                    </p:animEffect>
                                  </p:childTnLst>
                                </p:cTn>
                              </p:par>
                              <p:par>
                                <p:cTn id="32" presetID="22" presetClass="entr" presetSubtype="8" fill="hold" grpId="0" nodeType="withEffect">
                                  <p:stCondLst>
                                    <p:cond delay="0"/>
                                  </p:stCondLst>
                                  <p:childTnLst>
                                    <p:set>
                                      <p:cBhvr>
                                        <p:cTn id="33" dur="1" fill="hold">
                                          <p:stCondLst>
                                            <p:cond delay="0"/>
                                          </p:stCondLst>
                                        </p:cTn>
                                        <p:tgtEl>
                                          <p:spTgt spid="30"/>
                                        </p:tgtEl>
                                        <p:attrNameLst>
                                          <p:attrName>style.visibility</p:attrName>
                                        </p:attrNameLst>
                                      </p:cBhvr>
                                      <p:to>
                                        <p:strVal val="visible"/>
                                      </p:to>
                                    </p:set>
                                    <p:animEffect transition="in" filter="wipe(left)">
                                      <p:cBhvr>
                                        <p:cTn id="34" dur="500"/>
                                        <p:tgtEl>
                                          <p:spTgt spid="30"/>
                                        </p:tgtEl>
                                      </p:cBhvr>
                                    </p:animEffect>
                                  </p:childTnLst>
                                </p:cTn>
                              </p:par>
                              <p:par>
                                <p:cTn id="35" presetID="22" presetClass="entr" presetSubtype="8" fill="hold" nodeType="withEffect">
                                  <p:stCondLst>
                                    <p:cond delay="0"/>
                                  </p:stCondLst>
                                  <p:childTnLst>
                                    <p:set>
                                      <p:cBhvr>
                                        <p:cTn id="36" dur="1" fill="hold">
                                          <p:stCondLst>
                                            <p:cond delay="0"/>
                                          </p:stCondLst>
                                        </p:cTn>
                                        <p:tgtEl>
                                          <p:spTgt spid="28"/>
                                        </p:tgtEl>
                                        <p:attrNameLst>
                                          <p:attrName>style.visibility</p:attrName>
                                        </p:attrNameLst>
                                      </p:cBhvr>
                                      <p:to>
                                        <p:strVal val="visible"/>
                                      </p:to>
                                    </p:set>
                                    <p:animEffect transition="in" filter="wipe(left)">
                                      <p:cBhvr>
                                        <p:cTn id="37" dur="500"/>
                                        <p:tgtEl>
                                          <p:spTgt spid="28"/>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2" fill="hold" grpId="0" nodeType="clickEffect">
                                  <p:stCondLst>
                                    <p:cond delay="0"/>
                                  </p:stCondLst>
                                  <p:childTnLst>
                                    <p:set>
                                      <p:cBhvr>
                                        <p:cTn id="41" dur="1" fill="hold">
                                          <p:stCondLst>
                                            <p:cond delay="0"/>
                                          </p:stCondLst>
                                        </p:cTn>
                                        <p:tgtEl>
                                          <p:spTgt spid="10"/>
                                        </p:tgtEl>
                                        <p:attrNameLst>
                                          <p:attrName>style.visibility</p:attrName>
                                        </p:attrNameLst>
                                      </p:cBhvr>
                                      <p:to>
                                        <p:strVal val="visible"/>
                                      </p:to>
                                    </p:set>
                                    <p:animEffect transition="in" filter="wipe(right)">
                                      <p:cBhvr>
                                        <p:cTn id="42" dur="500"/>
                                        <p:tgtEl>
                                          <p:spTgt spid="10"/>
                                        </p:tgtEl>
                                      </p:cBhvr>
                                    </p:animEffect>
                                  </p:childTnLst>
                                </p:cTn>
                              </p:par>
                              <p:par>
                                <p:cTn id="43" presetID="22" presetClass="entr" presetSubtype="2" fill="hold" nodeType="withEffect">
                                  <p:stCondLst>
                                    <p:cond delay="0"/>
                                  </p:stCondLst>
                                  <p:childTnLst>
                                    <p:set>
                                      <p:cBhvr>
                                        <p:cTn id="44" dur="1" fill="hold">
                                          <p:stCondLst>
                                            <p:cond delay="0"/>
                                          </p:stCondLst>
                                        </p:cTn>
                                        <p:tgtEl>
                                          <p:spTgt spid="11"/>
                                        </p:tgtEl>
                                        <p:attrNameLst>
                                          <p:attrName>style.visibility</p:attrName>
                                        </p:attrNameLst>
                                      </p:cBhvr>
                                      <p:to>
                                        <p:strVal val="visible"/>
                                      </p:to>
                                    </p:set>
                                    <p:animEffect transition="in" filter="wipe(right)">
                                      <p:cBhvr>
                                        <p:cTn id="45" dur="500"/>
                                        <p:tgtEl>
                                          <p:spTgt spid="11"/>
                                        </p:tgtEl>
                                      </p:cBhvr>
                                    </p:animEffect>
                                  </p:childTnLst>
                                </p:cTn>
                              </p:par>
                              <p:par>
                                <p:cTn id="46" presetID="22" presetClass="entr" presetSubtype="2" fill="hold" nodeType="withEffect">
                                  <p:stCondLst>
                                    <p:cond delay="0"/>
                                  </p:stCondLst>
                                  <p:childTnLst>
                                    <p:set>
                                      <p:cBhvr>
                                        <p:cTn id="47" dur="1" fill="hold">
                                          <p:stCondLst>
                                            <p:cond delay="0"/>
                                          </p:stCondLst>
                                        </p:cTn>
                                        <p:tgtEl>
                                          <p:spTgt spid="12"/>
                                        </p:tgtEl>
                                        <p:attrNameLst>
                                          <p:attrName>style.visibility</p:attrName>
                                        </p:attrNameLst>
                                      </p:cBhvr>
                                      <p:to>
                                        <p:strVal val="visible"/>
                                      </p:to>
                                    </p:set>
                                    <p:animEffect transition="in" filter="wipe(right)">
                                      <p:cBhvr>
                                        <p:cTn id="48" dur="500"/>
                                        <p:tgtEl>
                                          <p:spTgt spid="12"/>
                                        </p:tgtEl>
                                      </p:cBhvr>
                                    </p:animEffect>
                                  </p:childTnLst>
                                </p:cTn>
                              </p:par>
                              <p:par>
                                <p:cTn id="49" presetID="22" presetClass="entr" presetSubtype="2" fill="hold" nodeType="withEffect">
                                  <p:stCondLst>
                                    <p:cond delay="0"/>
                                  </p:stCondLst>
                                  <p:childTnLst>
                                    <p:set>
                                      <p:cBhvr>
                                        <p:cTn id="50" dur="1" fill="hold">
                                          <p:stCondLst>
                                            <p:cond delay="0"/>
                                          </p:stCondLst>
                                        </p:cTn>
                                        <p:tgtEl>
                                          <p:spTgt spid="13"/>
                                        </p:tgtEl>
                                        <p:attrNameLst>
                                          <p:attrName>style.visibility</p:attrName>
                                        </p:attrNameLst>
                                      </p:cBhvr>
                                      <p:to>
                                        <p:strVal val="visible"/>
                                      </p:to>
                                    </p:set>
                                    <p:animEffect transition="in" filter="wipe(right)">
                                      <p:cBhvr>
                                        <p:cTn id="51" dur="500"/>
                                        <p:tgtEl>
                                          <p:spTgt spid="13"/>
                                        </p:tgtEl>
                                      </p:cBhvr>
                                    </p:animEffect>
                                  </p:childTnLst>
                                </p:cTn>
                              </p:par>
                              <p:par>
                                <p:cTn id="52" presetID="22" presetClass="entr" presetSubtype="2" fill="hold" nodeType="withEffect">
                                  <p:stCondLst>
                                    <p:cond delay="0"/>
                                  </p:stCondLst>
                                  <p:childTnLst>
                                    <p:set>
                                      <p:cBhvr>
                                        <p:cTn id="53" dur="1" fill="hold">
                                          <p:stCondLst>
                                            <p:cond delay="0"/>
                                          </p:stCondLst>
                                        </p:cTn>
                                        <p:tgtEl>
                                          <p:spTgt spid="14"/>
                                        </p:tgtEl>
                                        <p:attrNameLst>
                                          <p:attrName>style.visibility</p:attrName>
                                        </p:attrNameLst>
                                      </p:cBhvr>
                                      <p:to>
                                        <p:strVal val="visible"/>
                                      </p:to>
                                    </p:set>
                                    <p:animEffect transition="in" filter="wipe(right)">
                                      <p:cBhvr>
                                        <p:cTn id="54" dur="500"/>
                                        <p:tgtEl>
                                          <p:spTgt spid="14"/>
                                        </p:tgtEl>
                                      </p:cBhvr>
                                    </p:animEffect>
                                  </p:childTnLst>
                                </p:cTn>
                              </p:par>
                              <p:par>
                                <p:cTn id="55" presetID="22" presetClass="entr" presetSubtype="2" fill="hold" nodeType="withEffect">
                                  <p:stCondLst>
                                    <p:cond delay="0"/>
                                  </p:stCondLst>
                                  <p:childTnLst>
                                    <p:set>
                                      <p:cBhvr>
                                        <p:cTn id="56" dur="1" fill="hold">
                                          <p:stCondLst>
                                            <p:cond delay="0"/>
                                          </p:stCondLst>
                                        </p:cTn>
                                        <p:tgtEl>
                                          <p:spTgt spid="15"/>
                                        </p:tgtEl>
                                        <p:attrNameLst>
                                          <p:attrName>style.visibility</p:attrName>
                                        </p:attrNameLst>
                                      </p:cBhvr>
                                      <p:to>
                                        <p:strVal val="visible"/>
                                      </p:to>
                                    </p:set>
                                    <p:animEffect transition="in" filter="wipe(right)">
                                      <p:cBhvr>
                                        <p:cTn id="57" dur="500"/>
                                        <p:tgtEl>
                                          <p:spTgt spid="15"/>
                                        </p:tgtEl>
                                      </p:cBhvr>
                                    </p:animEffect>
                                  </p:childTnLst>
                                </p:cTn>
                              </p:par>
                              <p:par>
                                <p:cTn id="58" presetID="22" presetClass="entr" presetSubtype="2" fill="hold" grpId="0" nodeType="withEffect">
                                  <p:stCondLst>
                                    <p:cond delay="0"/>
                                  </p:stCondLst>
                                  <p:childTnLst>
                                    <p:set>
                                      <p:cBhvr>
                                        <p:cTn id="59" dur="1" fill="hold">
                                          <p:stCondLst>
                                            <p:cond delay="0"/>
                                          </p:stCondLst>
                                        </p:cTn>
                                        <p:tgtEl>
                                          <p:spTgt spid="16"/>
                                        </p:tgtEl>
                                        <p:attrNameLst>
                                          <p:attrName>style.visibility</p:attrName>
                                        </p:attrNameLst>
                                      </p:cBhvr>
                                      <p:to>
                                        <p:strVal val="visible"/>
                                      </p:to>
                                    </p:set>
                                    <p:animEffect transition="in" filter="wipe(right)">
                                      <p:cBhvr>
                                        <p:cTn id="60" dur="500"/>
                                        <p:tgtEl>
                                          <p:spTgt spid="16"/>
                                        </p:tgtEl>
                                      </p:cBhvr>
                                    </p:animEffect>
                                  </p:childTnLst>
                                </p:cTn>
                              </p:par>
                              <p:par>
                                <p:cTn id="61" presetID="22" presetClass="entr" presetSubtype="2" fill="hold" nodeType="withEffect">
                                  <p:stCondLst>
                                    <p:cond delay="0"/>
                                  </p:stCondLst>
                                  <p:childTnLst>
                                    <p:set>
                                      <p:cBhvr>
                                        <p:cTn id="62" dur="1" fill="hold">
                                          <p:stCondLst>
                                            <p:cond delay="0"/>
                                          </p:stCondLst>
                                        </p:cTn>
                                        <p:tgtEl>
                                          <p:spTgt spid="17"/>
                                        </p:tgtEl>
                                        <p:attrNameLst>
                                          <p:attrName>style.visibility</p:attrName>
                                        </p:attrNameLst>
                                      </p:cBhvr>
                                      <p:to>
                                        <p:strVal val="visible"/>
                                      </p:to>
                                    </p:set>
                                    <p:animEffect transition="in" filter="wipe(right)">
                                      <p:cBhvr>
                                        <p:cTn id="63" dur="500"/>
                                        <p:tgtEl>
                                          <p:spTgt spid="17"/>
                                        </p:tgtEl>
                                      </p:cBhvr>
                                    </p:animEffect>
                                  </p:childTnLst>
                                </p:cTn>
                              </p:par>
                              <p:par>
                                <p:cTn id="64" presetID="22" presetClass="entr" presetSubtype="2" fill="hold" nodeType="withEffect">
                                  <p:stCondLst>
                                    <p:cond delay="0"/>
                                  </p:stCondLst>
                                  <p:childTnLst>
                                    <p:set>
                                      <p:cBhvr>
                                        <p:cTn id="65" dur="1" fill="hold">
                                          <p:stCondLst>
                                            <p:cond delay="0"/>
                                          </p:stCondLst>
                                        </p:cTn>
                                        <p:tgtEl>
                                          <p:spTgt spid="18"/>
                                        </p:tgtEl>
                                        <p:attrNameLst>
                                          <p:attrName>style.visibility</p:attrName>
                                        </p:attrNameLst>
                                      </p:cBhvr>
                                      <p:to>
                                        <p:strVal val="visible"/>
                                      </p:to>
                                    </p:set>
                                    <p:animEffect transition="in" filter="wipe(right)">
                                      <p:cBhvr>
                                        <p:cTn id="66" dur="500"/>
                                        <p:tgtEl>
                                          <p:spTgt spid="18"/>
                                        </p:tgtEl>
                                      </p:cBhvr>
                                    </p:animEffect>
                                  </p:childTnLst>
                                </p:cTn>
                              </p:par>
                              <p:par>
                                <p:cTn id="67" presetID="22" presetClass="entr" presetSubtype="2" fill="hold" nodeType="withEffect">
                                  <p:stCondLst>
                                    <p:cond delay="0"/>
                                  </p:stCondLst>
                                  <p:childTnLst>
                                    <p:set>
                                      <p:cBhvr>
                                        <p:cTn id="68" dur="1" fill="hold">
                                          <p:stCondLst>
                                            <p:cond delay="0"/>
                                          </p:stCondLst>
                                        </p:cTn>
                                        <p:tgtEl>
                                          <p:spTgt spid="19"/>
                                        </p:tgtEl>
                                        <p:attrNameLst>
                                          <p:attrName>style.visibility</p:attrName>
                                        </p:attrNameLst>
                                      </p:cBhvr>
                                      <p:to>
                                        <p:strVal val="visible"/>
                                      </p:to>
                                    </p:set>
                                    <p:animEffect transition="in" filter="wipe(right)">
                                      <p:cBhvr>
                                        <p:cTn id="69" dur="500"/>
                                        <p:tgtEl>
                                          <p:spTgt spid="19"/>
                                        </p:tgtEl>
                                      </p:cBhvr>
                                    </p:animEffect>
                                  </p:childTnLst>
                                </p:cTn>
                              </p:par>
                              <p:par>
                                <p:cTn id="70" presetID="22" presetClass="entr" presetSubtype="2" fill="hold" nodeType="withEffect">
                                  <p:stCondLst>
                                    <p:cond delay="0"/>
                                  </p:stCondLst>
                                  <p:childTnLst>
                                    <p:set>
                                      <p:cBhvr>
                                        <p:cTn id="71" dur="1" fill="hold">
                                          <p:stCondLst>
                                            <p:cond delay="0"/>
                                          </p:stCondLst>
                                        </p:cTn>
                                        <p:tgtEl>
                                          <p:spTgt spid="26"/>
                                        </p:tgtEl>
                                        <p:attrNameLst>
                                          <p:attrName>style.visibility</p:attrName>
                                        </p:attrNameLst>
                                      </p:cBhvr>
                                      <p:to>
                                        <p:strVal val="visible"/>
                                      </p:to>
                                    </p:set>
                                    <p:animEffect transition="in" filter="wipe(right)">
                                      <p:cBhvr>
                                        <p:cTn id="72" dur="500"/>
                                        <p:tgtEl>
                                          <p:spTgt spid="26"/>
                                        </p:tgtEl>
                                      </p:cBhvr>
                                    </p:animEffect>
                                  </p:childTnLst>
                                </p:cTn>
                              </p:par>
                              <p:par>
                                <p:cTn id="73" presetID="22" presetClass="entr" presetSubtype="2" fill="hold" grpId="0" nodeType="withEffect">
                                  <p:stCondLst>
                                    <p:cond delay="0"/>
                                  </p:stCondLst>
                                  <p:childTnLst>
                                    <p:set>
                                      <p:cBhvr>
                                        <p:cTn id="74" dur="1" fill="hold">
                                          <p:stCondLst>
                                            <p:cond delay="0"/>
                                          </p:stCondLst>
                                        </p:cTn>
                                        <p:tgtEl>
                                          <p:spTgt spid="29"/>
                                        </p:tgtEl>
                                        <p:attrNameLst>
                                          <p:attrName>style.visibility</p:attrName>
                                        </p:attrNameLst>
                                      </p:cBhvr>
                                      <p:to>
                                        <p:strVal val="visible"/>
                                      </p:to>
                                    </p:set>
                                    <p:animEffect transition="in" filter="wipe(right)">
                                      <p:cBhvr>
                                        <p:cTn id="75" dur="500"/>
                                        <p:tgtEl>
                                          <p:spTgt spid="29"/>
                                        </p:tgtEl>
                                      </p:cBhvr>
                                    </p:animEffect>
                                  </p:childTnLst>
                                </p:cTn>
                              </p:par>
                              <p:par>
                                <p:cTn id="76" presetID="22" presetClass="entr" presetSubtype="2" fill="hold" nodeType="withEffect">
                                  <p:stCondLst>
                                    <p:cond delay="0"/>
                                  </p:stCondLst>
                                  <p:childTnLst>
                                    <p:set>
                                      <p:cBhvr>
                                        <p:cTn id="77" dur="1" fill="hold">
                                          <p:stCondLst>
                                            <p:cond delay="0"/>
                                          </p:stCondLst>
                                        </p:cTn>
                                        <p:tgtEl>
                                          <p:spTgt spid="36"/>
                                        </p:tgtEl>
                                        <p:attrNameLst>
                                          <p:attrName>style.visibility</p:attrName>
                                        </p:attrNameLst>
                                      </p:cBhvr>
                                      <p:to>
                                        <p:strVal val="visible"/>
                                      </p:to>
                                    </p:set>
                                    <p:animEffect transition="in" filter="wipe(right)">
                                      <p:cBhvr>
                                        <p:cTn id="78"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0" grpId="0" animBg="1"/>
      <p:bldP spid="16" grpId="0" animBg="1"/>
      <p:bldP spid="21" grpId="0" animBg="1"/>
      <p:bldP spid="29" grpId="0"/>
      <p:bldP spid="30"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2A1484-C485-4B2E-A0DD-04C53C90A81E}"/>
              </a:ext>
            </a:extLst>
          </p:cNvPr>
          <p:cNvSpPr>
            <a:spLocks noGrp="1"/>
          </p:cNvSpPr>
          <p:nvPr>
            <p:ph type="title"/>
          </p:nvPr>
        </p:nvSpPr>
        <p:spPr/>
        <p:txBody>
          <a:bodyPr/>
          <a:lstStyle/>
          <a:p>
            <a:r>
              <a:rPr lang="en-US" dirty="0"/>
              <a:t>Naming Conventions – A Starting Idea</a:t>
            </a:r>
          </a:p>
        </p:txBody>
      </p:sp>
      <p:sp>
        <p:nvSpPr>
          <p:cNvPr id="3" name="Text Placeholder 2">
            <a:extLst>
              <a:ext uri="{FF2B5EF4-FFF2-40B4-BE49-F238E27FC236}">
                <a16:creationId xmlns:a16="http://schemas.microsoft.com/office/drawing/2014/main" id="{A78C3D20-98A1-410E-959B-96590E68FA4A}"/>
              </a:ext>
            </a:extLst>
          </p:cNvPr>
          <p:cNvSpPr>
            <a:spLocks noGrp="1"/>
          </p:cNvSpPr>
          <p:nvPr>
            <p:ph type="body" sz="quarter" idx="10"/>
          </p:nvPr>
        </p:nvSpPr>
        <p:spPr>
          <a:xfrm>
            <a:off x="269303" y="1187644"/>
            <a:ext cx="11655078" cy="5339090"/>
          </a:xfrm>
        </p:spPr>
        <p:txBody>
          <a:bodyPr/>
          <a:lstStyle/>
          <a:p>
            <a:pPr fontAlgn="ctr"/>
            <a:r>
              <a:rPr lang="en-US" sz="2800" dirty="0"/>
              <a:t>First Letter indicates </a:t>
            </a:r>
            <a:r>
              <a:rPr lang="en-US" sz="2800" b="1" dirty="0"/>
              <a:t>D</a:t>
            </a:r>
            <a:r>
              <a:rPr lang="en-US" sz="2800" dirty="0"/>
              <a:t>ev, </a:t>
            </a:r>
            <a:r>
              <a:rPr lang="en-US" sz="2800" b="1" dirty="0"/>
              <a:t>T</a:t>
            </a:r>
            <a:r>
              <a:rPr lang="en-US" sz="2800" dirty="0"/>
              <a:t>est, </a:t>
            </a:r>
            <a:r>
              <a:rPr lang="en-US" sz="2800" b="1" dirty="0"/>
              <a:t>S</a:t>
            </a:r>
            <a:r>
              <a:rPr lang="en-US" sz="2800" dirty="0"/>
              <a:t>taging, or </a:t>
            </a:r>
            <a:r>
              <a:rPr lang="en-US" sz="2800" b="1" dirty="0" err="1"/>
              <a:t>P</a:t>
            </a:r>
            <a:r>
              <a:rPr lang="en-US" sz="2800" dirty="0" err="1"/>
              <a:t>rd</a:t>
            </a:r>
            <a:endParaRPr lang="en-US" sz="2800" dirty="0"/>
          </a:p>
          <a:p>
            <a:pPr fontAlgn="ctr"/>
            <a:r>
              <a:rPr lang="en-US" sz="2800" dirty="0"/>
              <a:t>Second letter indicates </a:t>
            </a:r>
            <a:r>
              <a:rPr lang="en-US" sz="2800" b="1" dirty="0"/>
              <a:t>A</a:t>
            </a:r>
            <a:r>
              <a:rPr lang="en-US" sz="2800" dirty="0"/>
              <a:t>pp or </a:t>
            </a:r>
            <a:r>
              <a:rPr lang="en-US" sz="2800" b="1" dirty="0"/>
              <a:t>D</a:t>
            </a:r>
            <a:r>
              <a:rPr lang="en-US" sz="2800" dirty="0"/>
              <a:t>esktop Pool</a:t>
            </a:r>
          </a:p>
          <a:p>
            <a:pPr fontAlgn="ctr"/>
            <a:r>
              <a:rPr lang="en-US" sz="2800" dirty="0"/>
              <a:t>Third letter indicates Purpose (e.g. </a:t>
            </a:r>
            <a:r>
              <a:rPr lang="en-US" sz="2800" b="1" dirty="0"/>
              <a:t>"F" </a:t>
            </a:r>
            <a:r>
              <a:rPr lang="en-US" sz="2800" dirty="0"/>
              <a:t>for Faculty, </a:t>
            </a:r>
            <a:r>
              <a:rPr lang="en-US" sz="2800" b="1" dirty="0"/>
              <a:t>"S" </a:t>
            </a:r>
            <a:r>
              <a:rPr lang="en-US" sz="2800" dirty="0"/>
              <a:t>for Students, etc.)</a:t>
            </a:r>
          </a:p>
          <a:p>
            <a:pPr fontAlgn="ctr"/>
            <a:r>
              <a:rPr lang="en-US" sz="2800" dirty="0"/>
              <a:t>Fourth &amp; fifth numbers indicate what apps are in the Image (list kept in change control); examples:</a:t>
            </a:r>
          </a:p>
          <a:p>
            <a:pPr lvl="1" fontAlgn="ctr"/>
            <a:r>
              <a:rPr lang="en-US" sz="2016" b="1" dirty="0"/>
              <a:t>01</a:t>
            </a:r>
            <a:r>
              <a:rPr lang="en-US" sz="2016" dirty="0"/>
              <a:t>: No Office, 3 custom apps</a:t>
            </a:r>
          </a:p>
          <a:p>
            <a:pPr lvl="1" fontAlgn="ctr"/>
            <a:r>
              <a:rPr lang="en-US" sz="2016" b="1" dirty="0"/>
              <a:t>02</a:t>
            </a:r>
            <a:r>
              <a:rPr lang="en-US" sz="2016" dirty="0"/>
              <a:t>: Office 365, 2 custom apps</a:t>
            </a:r>
          </a:p>
          <a:p>
            <a:pPr lvl="1" fontAlgn="ctr"/>
            <a:r>
              <a:rPr lang="en-US" sz="2016" b="1" dirty="0"/>
              <a:t>03</a:t>
            </a:r>
            <a:r>
              <a:rPr lang="en-US" sz="2016" dirty="0"/>
              <a:t>: Office 365, 8 other custom apps  </a:t>
            </a:r>
          </a:p>
          <a:p>
            <a:pPr fontAlgn="ctr"/>
            <a:r>
              <a:rPr lang="en-US" sz="2800" dirty="0"/>
              <a:t>Sixth, Seventh, and Eighth numbers indicate the day of the year, </a:t>
            </a:r>
            <a:r>
              <a:rPr lang="en-US" sz="2800" b="1" dirty="0"/>
              <a:t>001-365</a:t>
            </a:r>
          </a:p>
          <a:p>
            <a:pPr fontAlgn="ctr"/>
            <a:r>
              <a:rPr lang="en-US" sz="2800" dirty="0"/>
              <a:t>So</a:t>
            </a:r>
            <a:r>
              <a:rPr lang="en-US" sz="2800" b="1" dirty="0"/>
              <a:t> PAF05086</a:t>
            </a:r>
            <a:r>
              <a:rPr lang="en-US" sz="2800" dirty="0"/>
              <a:t> means it's a </a:t>
            </a:r>
            <a:r>
              <a:rPr lang="en-US" sz="2800" b="1" dirty="0"/>
              <a:t>P</a:t>
            </a:r>
            <a:r>
              <a:rPr lang="en-US" sz="2800" dirty="0"/>
              <a:t>roduction HostPool deploying </a:t>
            </a:r>
            <a:r>
              <a:rPr lang="en-US" sz="2800" b="1" dirty="0"/>
              <a:t>A</a:t>
            </a:r>
            <a:r>
              <a:rPr lang="en-US" sz="2800" dirty="0"/>
              <a:t>pps, targeted for </a:t>
            </a:r>
            <a:r>
              <a:rPr lang="en-US" sz="2800" b="1" dirty="0"/>
              <a:t>F</a:t>
            </a:r>
            <a:r>
              <a:rPr lang="en-US" sz="2800" dirty="0"/>
              <a:t>aculty using app package </a:t>
            </a:r>
            <a:r>
              <a:rPr lang="en-US" sz="2800" b="1" dirty="0"/>
              <a:t>05</a:t>
            </a:r>
            <a:r>
              <a:rPr lang="en-US" sz="2800" dirty="0"/>
              <a:t> deployed on Day </a:t>
            </a:r>
            <a:r>
              <a:rPr lang="en-US" sz="2800" b="1" dirty="0"/>
              <a:t>086</a:t>
            </a:r>
            <a:r>
              <a:rPr lang="en-US" sz="2800" dirty="0"/>
              <a:t> of the year</a:t>
            </a:r>
          </a:p>
          <a:p>
            <a:endParaRPr lang="en-US" dirty="0"/>
          </a:p>
        </p:txBody>
      </p:sp>
    </p:spTree>
    <p:extLst>
      <p:ext uri="{BB962C8B-B14F-4D97-AF65-F5344CB8AC3E}">
        <p14:creationId xmlns:p14="http://schemas.microsoft.com/office/powerpoint/2010/main" val="1504381250"/>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1E5B6F-794F-440A-8C6B-A95892CF5F8A}"/>
              </a:ext>
            </a:extLst>
          </p:cNvPr>
          <p:cNvSpPr>
            <a:spLocks noGrp="1"/>
          </p:cNvSpPr>
          <p:nvPr>
            <p:ph type="title"/>
          </p:nvPr>
        </p:nvSpPr>
        <p:spPr/>
        <p:txBody>
          <a:bodyPr/>
          <a:lstStyle/>
          <a:p>
            <a:r>
              <a:rPr lang="en-US" sz="4000" dirty="0"/>
              <a:t>Deploy Common Names across OU’s, GPO’s, Resource Groups, HostPools &amp; VM Names in AD</a:t>
            </a:r>
          </a:p>
        </p:txBody>
      </p:sp>
      <p:sp>
        <p:nvSpPr>
          <p:cNvPr id="10" name="Rectangle 9">
            <a:extLst>
              <a:ext uri="{FF2B5EF4-FFF2-40B4-BE49-F238E27FC236}">
                <a16:creationId xmlns:a16="http://schemas.microsoft.com/office/drawing/2014/main" id="{0D67E6FC-B03A-4DE8-8947-86645B0BC93A}"/>
              </a:ext>
            </a:extLst>
          </p:cNvPr>
          <p:cNvSpPr/>
          <p:nvPr/>
        </p:nvSpPr>
        <p:spPr bwMode="auto">
          <a:xfrm>
            <a:off x="6457072" y="3888065"/>
            <a:ext cx="1712285" cy="1457864"/>
          </a:xfrm>
          <a:prstGeom prst="rect">
            <a:avLst/>
          </a:prstGeom>
          <a:solidFill>
            <a:srgbClr val="FFB9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b="1" u="sng" dirty="0">
                <a:solidFill>
                  <a:schemeClr val="tx2"/>
                </a:solidFill>
              </a:rPr>
              <a:t>PAF05086</a:t>
            </a:r>
            <a:r>
              <a:rPr lang="en-US" sz="1600" dirty="0">
                <a:solidFill>
                  <a:schemeClr val="tx2"/>
                </a:solidFill>
              </a:rPr>
              <a:t> Host Pool</a:t>
            </a:r>
          </a:p>
        </p:txBody>
      </p:sp>
      <p:pic>
        <p:nvPicPr>
          <p:cNvPr id="11" name="Virtual machines">
            <a:extLst>
              <a:ext uri="{FF2B5EF4-FFF2-40B4-BE49-F238E27FC236}">
                <a16:creationId xmlns:a16="http://schemas.microsoft.com/office/drawing/2014/main" id="{AF498FFC-2753-48D3-A8F7-27F4F0467FEA}"/>
              </a:ext>
            </a:extLst>
          </p:cNvPr>
          <p:cNvPicPr>
            <a:picLocks noChangeAspect="1"/>
          </p:cNvPicPr>
          <p:nvPr/>
        </p:nvPicPr>
        <p:blipFill>
          <a:blip r:embed="rId2" cstate="email">
            <a:duotone>
              <a:prstClr val="black"/>
              <a:srgbClr val="292929">
                <a:lumMod val="50000"/>
                <a:tint val="45000"/>
                <a:satMod val="400000"/>
              </a:srgbClr>
            </a:duotone>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6587867" y="4764386"/>
            <a:ext cx="468965" cy="436611"/>
          </a:xfrm>
          <a:prstGeom prst="rect">
            <a:avLst/>
          </a:prstGeom>
        </p:spPr>
      </p:pic>
      <p:pic>
        <p:nvPicPr>
          <p:cNvPr id="12" name="Virtual machines">
            <a:extLst>
              <a:ext uri="{FF2B5EF4-FFF2-40B4-BE49-F238E27FC236}">
                <a16:creationId xmlns:a16="http://schemas.microsoft.com/office/drawing/2014/main" id="{97250A51-6908-455B-A958-CFD44C61E6CF}"/>
              </a:ext>
            </a:extLst>
          </p:cNvPr>
          <p:cNvPicPr>
            <a:picLocks noChangeAspect="1"/>
          </p:cNvPicPr>
          <p:nvPr/>
        </p:nvPicPr>
        <p:blipFill>
          <a:blip r:embed="rId2" cstate="email">
            <a:duotone>
              <a:prstClr val="black"/>
              <a:srgbClr val="292929">
                <a:lumMod val="50000"/>
                <a:tint val="45000"/>
                <a:satMod val="400000"/>
              </a:srgbClr>
            </a:duotone>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7581474" y="4764386"/>
            <a:ext cx="468965" cy="436611"/>
          </a:xfrm>
          <a:prstGeom prst="rect">
            <a:avLst/>
          </a:prstGeom>
        </p:spPr>
      </p:pic>
      <p:pic>
        <p:nvPicPr>
          <p:cNvPr id="13" name="Virtual machines">
            <a:extLst>
              <a:ext uri="{FF2B5EF4-FFF2-40B4-BE49-F238E27FC236}">
                <a16:creationId xmlns:a16="http://schemas.microsoft.com/office/drawing/2014/main" id="{2D932F89-529C-491D-ABB4-0B37FDA42556}"/>
              </a:ext>
            </a:extLst>
          </p:cNvPr>
          <p:cNvPicPr>
            <a:picLocks noChangeAspect="1"/>
          </p:cNvPicPr>
          <p:nvPr/>
        </p:nvPicPr>
        <p:blipFill>
          <a:blip r:embed="rId2" cstate="email">
            <a:duotone>
              <a:prstClr val="black"/>
              <a:srgbClr val="292929">
                <a:lumMod val="50000"/>
                <a:tint val="45000"/>
                <a:satMod val="400000"/>
              </a:srgbClr>
            </a:duotone>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7581472" y="3982887"/>
            <a:ext cx="468965" cy="436611"/>
          </a:xfrm>
          <a:prstGeom prst="rect">
            <a:avLst/>
          </a:prstGeom>
        </p:spPr>
      </p:pic>
      <p:pic>
        <p:nvPicPr>
          <p:cNvPr id="14" name="Virtual machines">
            <a:extLst>
              <a:ext uri="{FF2B5EF4-FFF2-40B4-BE49-F238E27FC236}">
                <a16:creationId xmlns:a16="http://schemas.microsoft.com/office/drawing/2014/main" id="{CCB2AC9B-0B2B-4518-86E5-935B50D188B5}"/>
              </a:ext>
            </a:extLst>
          </p:cNvPr>
          <p:cNvPicPr>
            <a:picLocks noChangeAspect="1"/>
          </p:cNvPicPr>
          <p:nvPr/>
        </p:nvPicPr>
        <p:blipFill>
          <a:blip r:embed="rId2" cstate="email">
            <a:duotone>
              <a:prstClr val="black"/>
              <a:srgbClr val="292929">
                <a:lumMod val="50000"/>
                <a:tint val="45000"/>
                <a:satMod val="400000"/>
              </a:srgbClr>
            </a:duotone>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6587866" y="3987436"/>
            <a:ext cx="468965" cy="436611"/>
          </a:xfrm>
          <a:prstGeom prst="rect">
            <a:avLst/>
          </a:prstGeom>
        </p:spPr>
      </p:pic>
      <p:pic>
        <p:nvPicPr>
          <p:cNvPr id="28" name="Picture 27" descr="A picture containing drawing&#10;&#10;Description automatically generated">
            <a:extLst>
              <a:ext uri="{FF2B5EF4-FFF2-40B4-BE49-F238E27FC236}">
                <a16:creationId xmlns:a16="http://schemas.microsoft.com/office/drawing/2014/main" id="{B1B380F8-EFA3-4A34-A4AE-72C53E034A3C}"/>
              </a:ext>
            </a:extLst>
          </p:cNvPr>
          <p:cNvPicPr>
            <a:picLocks noChangeAspect="1"/>
          </p:cNvPicPr>
          <p:nvPr/>
        </p:nvPicPr>
        <p:blipFill>
          <a:blip r:embed="rId4"/>
          <a:stretch>
            <a:fillRect/>
          </a:stretch>
        </p:blipFill>
        <p:spPr>
          <a:xfrm>
            <a:off x="3967874" y="4401986"/>
            <a:ext cx="780290" cy="780290"/>
          </a:xfrm>
          <a:prstGeom prst="rect">
            <a:avLst/>
          </a:prstGeom>
        </p:spPr>
      </p:pic>
      <p:sp>
        <p:nvSpPr>
          <p:cNvPr id="30" name="TextBox 29">
            <a:extLst>
              <a:ext uri="{FF2B5EF4-FFF2-40B4-BE49-F238E27FC236}">
                <a16:creationId xmlns:a16="http://schemas.microsoft.com/office/drawing/2014/main" id="{378C3344-3BA7-4BFB-A551-6EEDB1CD95F2}"/>
              </a:ext>
            </a:extLst>
          </p:cNvPr>
          <p:cNvSpPr txBox="1"/>
          <p:nvPr/>
        </p:nvSpPr>
        <p:spPr>
          <a:xfrm>
            <a:off x="3166697" y="3843726"/>
            <a:ext cx="2557910"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FSLFS\Share\</a:t>
            </a:r>
            <a:r>
              <a:rPr lang="en-US" sz="1600" b="1" u="sng" dirty="0">
                <a:gradFill>
                  <a:gsLst>
                    <a:gs pos="2917">
                      <a:schemeClr val="tx1"/>
                    </a:gs>
                    <a:gs pos="30000">
                      <a:schemeClr val="tx1"/>
                    </a:gs>
                  </a:gsLst>
                  <a:lin ang="5400000" scaled="0"/>
                </a:gradFill>
              </a:rPr>
              <a:t>PAF05086</a:t>
            </a:r>
          </a:p>
        </p:txBody>
      </p:sp>
      <p:sp>
        <p:nvSpPr>
          <p:cNvPr id="40" name="TextBox 39">
            <a:extLst>
              <a:ext uri="{FF2B5EF4-FFF2-40B4-BE49-F238E27FC236}">
                <a16:creationId xmlns:a16="http://schemas.microsoft.com/office/drawing/2014/main" id="{0669FA7E-809E-4068-A7DC-DEEF8A91671E}"/>
              </a:ext>
            </a:extLst>
          </p:cNvPr>
          <p:cNvSpPr txBox="1"/>
          <p:nvPr/>
        </p:nvSpPr>
        <p:spPr>
          <a:xfrm>
            <a:off x="7150903" y="5495674"/>
            <a:ext cx="4980553" cy="1458861"/>
          </a:xfrm>
          <a:prstGeom prst="rect">
            <a:avLst/>
          </a:prstGeom>
          <a:noFill/>
        </p:spPr>
        <p:txBody>
          <a:bodyPr wrap="square" lIns="182880" tIns="146304" rIns="182880" bIns="146304" rtlCol="0">
            <a:spAutoFit/>
          </a:bodyPr>
          <a:lstStyle/>
          <a:p>
            <a:pPr algn="ctr">
              <a:lnSpc>
                <a:spcPct val="90000"/>
              </a:lnSpc>
              <a:spcAft>
                <a:spcPts val="600"/>
              </a:spcAft>
            </a:pPr>
            <a:r>
              <a:rPr lang="en-US" sz="2800" dirty="0">
                <a:gradFill>
                  <a:gsLst>
                    <a:gs pos="2917">
                      <a:schemeClr val="tx1"/>
                    </a:gs>
                    <a:gs pos="30000">
                      <a:schemeClr val="tx1"/>
                    </a:gs>
                  </a:gsLst>
                  <a:lin ang="5400000" scaled="0"/>
                </a:gradFill>
              </a:rPr>
              <a:t>Name is consistent across all components – easy to see which parts are related</a:t>
            </a:r>
          </a:p>
        </p:txBody>
      </p:sp>
      <p:pic>
        <p:nvPicPr>
          <p:cNvPr id="3" name="Picture 2">
            <a:extLst>
              <a:ext uri="{FF2B5EF4-FFF2-40B4-BE49-F238E27FC236}">
                <a16:creationId xmlns:a16="http://schemas.microsoft.com/office/drawing/2014/main" id="{84C4B033-21C3-40DE-9362-41E1AC3F7ECB}"/>
              </a:ext>
            </a:extLst>
          </p:cNvPr>
          <p:cNvPicPr>
            <a:picLocks noChangeAspect="1"/>
          </p:cNvPicPr>
          <p:nvPr/>
        </p:nvPicPr>
        <p:blipFill>
          <a:blip r:embed="rId5"/>
          <a:stretch>
            <a:fillRect/>
          </a:stretch>
        </p:blipFill>
        <p:spPr>
          <a:xfrm>
            <a:off x="168382" y="3389967"/>
            <a:ext cx="2695575" cy="1504950"/>
          </a:xfrm>
          <a:prstGeom prst="rect">
            <a:avLst/>
          </a:prstGeom>
        </p:spPr>
      </p:pic>
      <p:sp>
        <p:nvSpPr>
          <p:cNvPr id="22" name="TextBox 21">
            <a:extLst>
              <a:ext uri="{FF2B5EF4-FFF2-40B4-BE49-F238E27FC236}">
                <a16:creationId xmlns:a16="http://schemas.microsoft.com/office/drawing/2014/main" id="{835E0C42-D6AE-4183-ACB4-8BDBBF0CE312}"/>
              </a:ext>
            </a:extLst>
          </p:cNvPr>
          <p:cNvSpPr txBox="1"/>
          <p:nvPr/>
        </p:nvSpPr>
        <p:spPr>
          <a:xfrm>
            <a:off x="2848857" y="1804993"/>
            <a:ext cx="2916669" cy="1618905"/>
          </a:xfrm>
          <a:prstGeom prst="rect">
            <a:avLst/>
          </a:prstGeom>
          <a:noFill/>
        </p:spPr>
        <p:txBody>
          <a:bodyPr wrap="square" lIns="182880" tIns="146304" rIns="182880" bIns="146304" rtlCol="0">
            <a:spAutoFit/>
          </a:bodyPr>
          <a:lstStyle/>
          <a:p>
            <a:pPr marL="287338" indent="-287338">
              <a:lnSpc>
                <a:spcPct val="90000"/>
              </a:lnSpc>
              <a:spcAft>
                <a:spcPts val="600"/>
              </a:spcAft>
            </a:pPr>
            <a:r>
              <a:rPr lang="en-US" sz="1800" dirty="0">
                <a:gradFill>
                  <a:gsLst>
                    <a:gs pos="2917">
                      <a:schemeClr val="tx1"/>
                    </a:gs>
                    <a:gs pos="30000">
                      <a:schemeClr val="tx1"/>
                    </a:gs>
                  </a:gsLst>
                  <a:lin ang="5400000" scaled="0"/>
                </a:gradFill>
              </a:rPr>
              <a:t>3. Create GPO’s for each OU w/the same name</a:t>
            </a:r>
          </a:p>
          <a:p>
            <a:pPr marL="287338" indent="-287338">
              <a:lnSpc>
                <a:spcPct val="90000"/>
              </a:lnSpc>
              <a:spcAft>
                <a:spcPts val="600"/>
              </a:spcAft>
            </a:pPr>
            <a:r>
              <a:rPr lang="en-US" sz="1800" dirty="0">
                <a:gradFill>
                  <a:gsLst>
                    <a:gs pos="2917">
                      <a:schemeClr val="tx1"/>
                    </a:gs>
                    <a:gs pos="30000">
                      <a:schemeClr val="tx1"/>
                    </a:gs>
                  </a:gsLst>
                  <a:lin ang="5400000" scaled="0"/>
                </a:gradFill>
              </a:rPr>
              <a:t>4. GPO points to FSL Profile share w/same name</a:t>
            </a:r>
          </a:p>
        </p:txBody>
      </p:sp>
      <p:sp>
        <p:nvSpPr>
          <p:cNvPr id="31" name="TextBox 30">
            <a:extLst>
              <a:ext uri="{FF2B5EF4-FFF2-40B4-BE49-F238E27FC236}">
                <a16:creationId xmlns:a16="http://schemas.microsoft.com/office/drawing/2014/main" id="{47A82E86-A132-465A-ACCB-B14C32B64EBC}"/>
              </a:ext>
            </a:extLst>
          </p:cNvPr>
          <p:cNvSpPr txBox="1"/>
          <p:nvPr/>
        </p:nvSpPr>
        <p:spPr>
          <a:xfrm>
            <a:off x="0" y="1771062"/>
            <a:ext cx="2998315" cy="1618905"/>
          </a:xfrm>
          <a:prstGeom prst="rect">
            <a:avLst/>
          </a:prstGeom>
          <a:noFill/>
        </p:spPr>
        <p:txBody>
          <a:bodyPr wrap="square" lIns="182880" tIns="146304" rIns="182880" bIns="146304" rtlCol="0">
            <a:spAutoFit/>
          </a:bodyPr>
          <a:lstStyle/>
          <a:p>
            <a:pPr marL="342900" indent="-342900">
              <a:lnSpc>
                <a:spcPct val="90000"/>
              </a:lnSpc>
              <a:spcAft>
                <a:spcPts val="600"/>
              </a:spcAft>
              <a:buAutoNum type="arabicPeriod"/>
            </a:pPr>
            <a:r>
              <a:rPr lang="en-US" sz="1800" dirty="0">
                <a:gradFill>
                  <a:gsLst>
                    <a:gs pos="2917">
                      <a:schemeClr val="tx1"/>
                    </a:gs>
                    <a:gs pos="30000">
                      <a:schemeClr val="tx1"/>
                    </a:gs>
                  </a:gsLst>
                  <a:lin ang="5400000" scaled="0"/>
                </a:gradFill>
              </a:rPr>
              <a:t>Create an OU Structure</a:t>
            </a:r>
          </a:p>
          <a:p>
            <a:pPr marL="342900" indent="-342900">
              <a:lnSpc>
                <a:spcPct val="90000"/>
              </a:lnSpc>
              <a:spcAft>
                <a:spcPts val="600"/>
              </a:spcAft>
              <a:buAutoNum type="arabicPeriod"/>
            </a:pPr>
            <a:r>
              <a:rPr lang="en-US" sz="1800" dirty="0">
                <a:gradFill>
                  <a:gsLst>
                    <a:gs pos="2917">
                      <a:schemeClr val="tx1"/>
                    </a:gs>
                    <a:gs pos="30000">
                      <a:schemeClr val="tx1"/>
                    </a:gs>
                  </a:gsLst>
                  <a:lin ang="5400000" scaled="0"/>
                </a:gradFill>
              </a:rPr>
              <a:t>Naming convention is </a:t>
            </a:r>
            <a:r>
              <a:rPr lang="en-US" sz="1800" b="1" i="1" dirty="0">
                <a:gradFill>
                  <a:gsLst>
                    <a:gs pos="2917">
                      <a:schemeClr val="tx1"/>
                    </a:gs>
                    <a:gs pos="30000">
                      <a:schemeClr val="tx1"/>
                    </a:gs>
                  </a:gsLst>
                  <a:lin ang="5400000" scaled="0"/>
                </a:gradFill>
              </a:rPr>
              <a:t>OU, HostPool, Share, and VM Name all match</a:t>
            </a:r>
          </a:p>
        </p:txBody>
      </p:sp>
      <p:pic>
        <p:nvPicPr>
          <p:cNvPr id="23" name="Picture 22">
            <a:extLst>
              <a:ext uri="{FF2B5EF4-FFF2-40B4-BE49-F238E27FC236}">
                <a16:creationId xmlns:a16="http://schemas.microsoft.com/office/drawing/2014/main" id="{8EA2B618-9837-4DA4-B161-11F8C944760A}"/>
              </a:ext>
            </a:extLst>
          </p:cNvPr>
          <p:cNvPicPr>
            <a:picLocks noChangeAspect="1"/>
          </p:cNvPicPr>
          <p:nvPr/>
        </p:nvPicPr>
        <p:blipFill rotWithShape="1">
          <a:blip r:embed="rId6"/>
          <a:srcRect t="11523" b="12714"/>
          <a:stretch/>
        </p:blipFill>
        <p:spPr>
          <a:xfrm>
            <a:off x="3297491" y="3412847"/>
            <a:ext cx="1666875" cy="389684"/>
          </a:xfrm>
          <a:prstGeom prst="rect">
            <a:avLst/>
          </a:prstGeom>
        </p:spPr>
      </p:pic>
      <p:sp>
        <p:nvSpPr>
          <p:cNvPr id="25" name="Rectangle: Rounded Corners 24">
            <a:extLst>
              <a:ext uri="{FF2B5EF4-FFF2-40B4-BE49-F238E27FC236}">
                <a16:creationId xmlns:a16="http://schemas.microsoft.com/office/drawing/2014/main" id="{DF7CBAEE-A072-4766-B495-FCBF66EEA74D}"/>
              </a:ext>
            </a:extLst>
          </p:cNvPr>
          <p:cNvSpPr/>
          <p:nvPr/>
        </p:nvSpPr>
        <p:spPr bwMode="auto">
          <a:xfrm>
            <a:off x="1332931" y="3723191"/>
            <a:ext cx="1191681" cy="357490"/>
          </a:xfrm>
          <a:prstGeom prst="roundRect">
            <a:avLst/>
          </a:prstGeom>
          <a:noFill/>
          <a:ln w="57150">
            <a:solidFill>
              <a:schemeClr val="accent2">
                <a:lumMod val="50000"/>
                <a:lumOff val="50000"/>
              </a:schemeClr>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33" name="Straight Arrow Connector 32">
            <a:extLst>
              <a:ext uri="{FF2B5EF4-FFF2-40B4-BE49-F238E27FC236}">
                <a16:creationId xmlns:a16="http://schemas.microsoft.com/office/drawing/2014/main" id="{D8EC225E-C6DC-4517-A3DB-B5E6304F63EE}"/>
              </a:ext>
            </a:extLst>
          </p:cNvPr>
          <p:cNvCxnSpPr>
            <a:cxnSpLocks/>
            <a:endCxn id="23" idx="1"/>
          </p:cNvCxnSpPr>
          <p:nvPr/>
        </p:nvCxnSpPr>
        <p:spPr>
          <a:xfrm flipV="1">
            <a:off x="2688603" y="3607689"/>
            <a:ext cx="608888" cy="253720"/>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5" name="Connector: Elbow 34">
            <a:extLst>
              <a:ext uri="{FF2B5EF4-FFF2-40B4-BE49-F238E27FC236}">
                <a16:creationId xmlns:a16="http://schemas.microsoft.com/office/drawing/2014/main" id="{C994CEB0-5729-4B1D-86E4-41A39E2C71FF}"/>
              </a:ext>
            </a:extLst>
          </p:cNvPr>
          <p:cNvCxnSpPr>
            <a:cxnSpLocks/>
            <a:stCxn id="23" idx="3"/>
          </p:cNvCxnSpPr>
          <p:nvPr/>
        </p:nvCxnSpPr>
        <p:spPr>
          <a:xfrm>
            <a:off x="4964366" y="3607689"/>
            <a:ext cx="266142" cy="280376"/>
          </a:xfrm>
          <a:prstGeom prst="bentConnector2">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F5E3772E-324A-4DBD-9EB1-DDDBF986E03B}"/>
              </a:ext>
            </a:extLst>
          </p:cNvPr>
          <p:cNvSpPr txBox="1"/>
          <p:nvPr/>
        </p:nvSpPr>
        <p:spPr>
          <a:xfrm>
            <a:off x="5912911" y="1786406"/>
            <a:ext cx="3166101" cy="2139047"/>
          </a:xfrm>
          <a:prstGeom prst="rect">
            <a:avLst/>
          </a:prstGeom>
          <a:noFill/>
        </p:spPr>
        <p:txBody>
          <a:bodyPr wrap="square" lIns="182880" tIns="146304" rIns="182880" bIns="146304" rtlCol="0">
            <a:spAutoFit/>
          </a:bodyPr>
          <a:lstStyle/>
          <a:p>
            <a:pPr marL="287338" indent="-287338">
              <a:lnSpc>
                <a:spcPct val="90000"/>
              </a:lnSpc>
              <a:spcAft>
                <a:spcPts val="600"/>
              </a:spcAft>
            </a:pPr>
            <a:r>
              <a:rPr lang="en-US" sz="1800" dirty="0">
                <a:gradFill>
                  <a:gsLst>
                    <a:gs pos="2917">
                      <a:schemeClr val="tx1"/>
                    </a:gs>
                    <a:gs pos="30000">
                      <a:schemeClr val="tx1"/>
                    </a:gs>
                  </a:gsLst>
                  <a:lin ang="5400000" scaled="0"/>
                </a:gradFill>
              </a:rPr>
              <a:t>5. Create a HostPool of the same name that populates the OU</a:t>
            </a:r>
          </a:p>
          <a:p>
            <a:pPr marL="287338" indent="-287338">
              <a:lnSpc>
                <a:spcPct val="90000"/>
              </a:lnSpc>
              <a:spcAft>
                <a:spcPts val="600"/>
              </a:spcAft>
            </a:pPr>
            <a:r>
              <a:rPr lang="en-US" sz="1800" dirty="0">
                <a:gradFill>
                  <a:gsLst>
                    <a:gs pos="2917">
                      <a:schemeClr val="tx1"/>
                    </a:gs>
                    <a:gs pos="30000">
                      <a:schemeClr val="tx1"/>
                    </a:gs>
                  </a:gsLst>
                  <a:lin ang="5400000" scaled="0"/>
                </a:gradFill>
              </a:rPr>
              <a:t>  </a:t>
            </a:r>
            <a:r>
              <a:rPr lang="en-US" sz="1400" dirty="0">
                <a:gradFill>
                  <a:gsLst>
                    <a:gs pos="2917">
                      <a:schemeClr val="tx1"/>
                    </a:gs>
                    <a:gs pos="30000">
                      <a:schemeClr val="tx1"/>
                    </a:gs>
                  </a:gsLst>
                  <a:lin ang="5400000" scaled="0"/>
                </a:gradFill>
              </a:rPr>
              <a:t>a. Deploy to Resource Group of the same name </a:t>
            </a:r>
            <a:r>
              <a:rPr lang="en-US" sz="1400" b="1" u="sng" dirty="0">
                <a:gradFill>
                  <a:gsLst>
                    <a:gs pos="2917">
                      <a:schemeClr val="tx1"/>
                    </a:gs>
                    <a:gs pos="30000">
                      <a:schemeClr val="tx1"/>
                    </a:gs>
                  </a:gsLst>
                  <a:lin ang="5400000" scaled="0"/>
                </a:gradFill>
              </a:rPr>
              <a:t>PAF05086</a:t>
            </a:r>
          </a:p>
          <a:p>
            <a:pPr marL="287338" indent="-287338">
              <a:lnSpc>
                <a:spcPct val="90000"/>
              </a:lnSpc>
              <a:spcAft>
                <a:spcPts val="600"/>
              </a:spcAft>
            </a:pPr>
            <a:r>
              <a:rPr lang="en-US" sz="1800" dirty="0">
                <a:gradFill>
                  <a:gsLst>
                    <a:gs pos="2917">
                      <a:schemeClr val="tx1"/>
                    </a:gs>
                    <a:gs pos="30000">
                      <a:schemeClr val="tx1"/>
                    </a:gs>
                  </a:gsLst>
                  <a:lin ang="5400000" scaled="0"/>
                </a:gradFill>
              </a:rPr>
              <a:t>6. Name VMs with same name</a:t>
            </a:r>
          </a:p>
        </p:txBody>
      </p:sp>
      <p:cxnSp>
        <p:nvCxnSpPr>
          <p:cNvPr id="42" name="Straight Arrow Connector 41">
            <a:extLst>
              <a:ext uri="{FF2B5EF4-FFF2-40B4-BE49-F238E27FC236}">
                <a16:creationId xmlns:a16="http://schemas.microsoft.com/office/drawing/2014/main" id="{10CE7706-2161-44A9-8ABB-313179DB14A0}"/>
              </a:ext>
            </a:extLst>
          </p:cNvPr>
          <p:cNvCxnSpPr>
            <a:cxnSpLocks/>
          </p:cNvCxnSpPr>
          <p:nvPr/>
        </p:nvCxnSpPr>
        <p:spPr>
          <a:xfrm flipH="1">
            <a:off x="8050437" y="3613010"/>
            <a:ext cx="1294903" cy="863922"/>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DA1A279C-2088-4114-ADB0-E9CB7551920D}"/>
              </a:ext>
            </a:extLst>
          </p:cNvPr>
          <p:cNvSpPr txBox="1"/>
          <p:nvPr/>
        </p:nvSpPr>
        <p:spPr>
          <a:xfrm>
            <a:off x="8823623" y="2356452"/>
            <a:ext cx="2309643" cy="1625060"/>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VM NetBIOS names are </a:t>
            </a:r>
            <a:r>
              <a:rPr lang="en-US" sz="2400" b="1" u="sng" dirty="0">
                <a:gradFill>
                  <a:gsLst>
                    <a:gs pos="2917">
                      <a:schemeClr val="tx1"/>
                    </a:gs>
                    <a:gs pos="30000">
                      <a:schemeClr val="tx1"/>
                    </a:gs>
                  </a:gsLst>
                  <a:lin ang="5400000" scaled="0"/>
                </a:gradFill>
              </a:rPr>
              <a:t>PAF05086-0, -1, etc.</a:t>
            </a:r>
          </a:p>
        </p:txBody>
      </p:sp>
      <p:cxnSp>
        <p:nvCxnSpPr>
          <p:cNvPr id="45" name="Straight Arrow Connector 44">
            <a:extLst>
              <a:ext uri="{FF2B5EF4-FFF2-40B4-BE49-F238E27FC236}">
                <a16:creationId xmlns:a16="http://schemas.microsoft.com/office/drawing/2014/main" id="{E3633DA4-6001-45A2-B773-D5B333F82E07}"/>
              </a:ext>
            </a:extLst>
          </p:cNvPr>
          <p:cNvCxnSpPr/>
          <p:nvPr/>
        </p:nvCxnSpPr>
        <p:spPr>
          <a:xfrm flipV="1">
            <a:off x="755176" y="3802531"/>
            <a:ext cx="0" cy="2120597"/>
          </a:xfrm>
          <a:prstGeom prst="straightConnector1">
            <a:avLst/>
          </a:prstGeom>
          <a:ln w="41275">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9DFB7438-DB7F-441F-9F83-45457FAF13C0}"/>
              </a:ext>
            </a:extLst>
          </p:cNvPr>
          <p:cNvSpPr txBox="1"/>
          <p:nvPr/>
        </p:nvSpPr>
        <p:spPr>
          <a:xfrm>
            <a:off x="699831" y="4862829"/>
            <a:ext cx="2231305" cy="1292662"/>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rgbClr val="FF0000"/>
                </a:solidFill>
              </a:rPr>
              <a:t>Block Inheritance Here</a:t>
            </a:r>
          </a:p>
        </p:txBody>
      </p:sp>
    </p:spTree>
    <p:extLst>
      <p:ext uri="{BB962C8B-B14F-4D97-AF65-F5344CB8AC3E}">
        <p14:creationId xmlns:p14="http://schemas.microsoft.com/office/powerpoint/2010/main" val="37274329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wipe(down)">
                                      <p:cBhvr>
                                        <p:cTn id="7" dur="500"/>
                                        <p:tgtEl>
                                          <p:spTgt spid="46"/>
                                        </p:tgtEl>
                                      </p:cBhvr>
                                    </p:animEffect>
                                  </p:childTnLst>
                                </p:cTn>
                              </p:par>
                              <p:par>
                                <p:cTn id="8" presetID="22" presetClass="entr" presetSubtype="4" fill="hold" nodeType="withEffect">
                                  <p:stCondLst>
                                    <p:cond delay="0"/>
                                  </p:stCondLst>
                                  <p:childTnLst>
                                    <p:set>
                                      <p:cBhvr>
                                        <p:cTn id="9" dur="1" fill="hold">
                                          <p:stCondLst>
                                            <p:cond delay="0"/>
                                          </p:stCondLst>
                                        </p:cTn>
                                        <p:tgtEl>
                                          <p:spTgt spid="45"/>
                                        </p:tgtEl>
                                        <p:attrNameLst>
                                          <p:attrName>style.visibility</p:attrName>
                                        </p:attrNameLst>
                                      </p:cBhvr>
                                      <p:to>
                                        <p:strVal val="visible"/>
                                      </p:to>
                                    </p:set>
                                    <p:animEffect transition="in" filter="wipe(down)">
                                      <p:cBhvr>
                                        <p:cTn id="10" dur="500"/>
                                        <p:tgtEl>
                                          <p:spTgt spid="45"/>
                                        </p:tgtEl>
                                      </p:cBhvr>
                                    </p:animEffec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2"/>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3"/>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3"/>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5"/>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0"/>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1"/>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2"/>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3"/>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4"/>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41"/>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42"/>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30" grpId="0"/>
      <p:bldP spid="22" grpId="0"/>
      <p:bldP spid="41" grpId="0"/>
      <p:bldP spid="43" grpId="0"/>
      <p:bldP spid="46"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92CFAD-07BF-4084-AE4A-134A87B892C4}"/>
              </a:ext>
            </a:extLst>
          </p:cNvPr>
          <p:cNvSpPr>
            <a:spLocks noGrp="1"/>
          </p:cNvSpPr>
          <p:nvPr>
            <p:ph type="title"/>
          </p:nvPr>
        </p:nvSpPr>
        <p:spPr>
          <a:xfrm>
            <a:off x="269239" y="2084172"/>
            <a:ext cx="11653523" cy="1162178"/>
          </a:xfrm>
        </p:spPr>
        <p:txBody>
          <a:bodyPr/>
          <a:lstStyle/>
          <a:p>
            <a:r>
              <a:rPr lang="en-US" dirty="0"/>
              <a:t>Deploy FSLogix File Server</a:t>
            </a:r>
          </a:p>
        </p:txBody>
      </p:sp>
    </p:spTree>
    <p:extLst>
      <p:ext uri="{BB962C8B-B14F-4D97-AF65-F5344CB8AC3E}">
        <p14:creationId xmlns:p14="http://schemas.microsoft.com/office/powerpoint/2010/main" val="4267829079"/>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C7C0D40-28CD-4AA5-9031-0B809DE90A48}"/>
              </a:ext>
            </a:extLst>
          </p:cNvPr>
          <p:cNvSpPr>
            <a:spLocks noGrp="1"/>
          </p:cNvSpPr>
          <p:nvPr>
            <p:ph type="title"/>
          </p:nvPr>
        </p:nvSpPr>
        <p:spPr/>
        <p:txBody>
          <a:bodyPr/>
          <a:lstStyle/>
          <a:p>
            <a:r>
              <a:rPr lang="en-US" dirty="0"/>
              <a:t>Profile IOPS Planning Guidance</a:t>
            </a:r>
          </a:p>
        </p:txBody>
      </p:sp>
      <p:sp>
        <p:nvSpPr>
          <p:cNvPr id="4" name="Text Placeholder 3">
            <a:extLst>
              <a:ext uri="{FF2B5EF4-FFF2-40B4-BE49-F238E27FC236}">
                <a16:creationId xmlns:a16="http://schemas.microsoft.com/office/drawing/2014/main" id="{529BFFE0-A37B-408F-88A2-AE0BBC3043E6}"/>
              </a:ext>
            </a:extLst>
          </p:cNvPr>
          <p:cNvSpPr>
            <a:spLocks noGrp="1"/>
          </p:cNvSpPr>
          <p:nvPr>
            <p:ph type="body" sz="quarter" idx="10"/>
          </p:nvPr>
        </p:nvSpPr>
        <p:spPr>
          <a:xfrm>
            <a:off x="269303" y="1187644"/>
            <a:ext cx="11655078" cy="3726982"/>
          </a:xfrm>
        </p:spPr>
        <p:txBody>
          <a:bodyPr/>
          <a:lstStyle/>
          <a:p>
            <a:r>
              <a:rPr lang="en-US" dirty="0"/>
              <a:t>IOPS impacts on a VM are:  </a:t>
            </a:r>
          </a:p>
          <a:p>
            <a:pPr lvl="1"/>
            <a:r>
              <a:rPr lang="en-US" dirty="0"/>
              <a:t>1.5-3 IOPS per App Pool</a:t>
            </a:r>
          </a:p>
          <a:p>
            <a:pPr lvl="1"/>
            <a:r>
              <a:rPr lang="en-US" dirty="0"/>
              <a:t>3-8 IOPS per Desktop pool</a:t>
            </a:r>
          </a:p>
          <a:p>
            <a:pPr lvl="1"/>
            <a:r>
              <a:rPr lang="en-US" dirty="0"/>
              <a:t>Logon/logoff will multiply each number between 5x and 10x IOPS</a:t>
            </a:r>
          </a:p>
          <a:p>
            <a:pPr lvl="1"/>
            <a:r>
              <a:rPr lang="en-US" dirty="0"/>
              <a:t>This is a planning estimate w/o knowing anything about workloads</a:t>
            </a:r>
          </a:p>
          <a:p>
            <a:endParaRPr lang="en-US" dirty="0"/>
          </a:p>
          <a:p>
            <a:endParaRPr lang="en-US" dirty="0"/>
          </a:p>
        </p:txBody>
      </p:sp>
    </p:spTree>
    <p:extLst>
      <p:ext uri="{BB962C8B-B14F-4D97-AF65-F5344CB8AC3E}">
        <p14:creationId xmlns:p14="http://schemas.microsoft.com/office/powerpoint/2010/main" val="302363166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B0B9D76-CBA0-49A3-9EA0-95FD4BCE1FED}"/>
              </a:ext>
            </a:extLst>
          </p:cNvPr>
          <p:cNvSpPr>
            <a:spLocks noGrp="1"/>
          </p:cNvSpPr>
          <p:nvPr>
            <p:ph type="title"/>
          </p:nvPr>
        </p:nvSpPr>
        <p:spPr/>
        <p:txBody>
          <a:bodyPr/>
          <a:lstStyle/>
          <a:p>
            <a:r>
              <a:rPr lang="en-US" dirty="0"/>
              <a:t>Online University with Remote Access Needs</a:t>
            </a:r>
          </a:p>
        </p:txBody>
      </p:sp>
      <p:sp>
        <p:nvSpPr>
          <p:cNvPr id="6" name="Text Placeholder 5">
            <a:extLst>
              <a:ext uri="{FF2B5EF4-FFF2-40B4-BE49-F238E27FC236}">
                <a16:creationId xmlns:a16="http://schemas.microsoft.com/office/drawing/2014/main" id="{97FF6903-2C45-4224-BD02-BB6EB8E1A20F}"/>
              </a:ext>
            </a:extLst>
          </p:cNvPr>
          <p:cNvSpPr>
            <a:spLocks noGrp="1"/>
          </p:cNvSpPr>
          <p:nvPr>
            <p:ph type="body" sz="quarter" idx="10"/>
          </p:nvPr>
        </p:nvSpPr>
        <p:spPr>
          <a:xfrm>
            <a:off x="269303" y="1187644"/>
            <a:ext cx="11655078" cy="4439100"/>
          </a:xfrm>
        </p:spPr>
        <p:txBody>
          <a:bodyPr/>
          <a:lstStyle/>
          <a:p>
            <a:r>
              <a:rPr lang="en-US" dirty="0"/>
              <a:t>Students:</a:t>
            </a:r>
          </a:p>
          <a:p>
            <a:pPr lvl="1"/>
            <a:r>
              <a:rPr lang="en-US" dirty="0"/>
              <a:t>Non-Windows (Mac, Linux, iOS, Android) who do not want/need a full desktop </a:t>
            </a:r>
          </a:p>
          <a:p>
            <a:pPr lvl="1"/>
            <a:r>
              <a:rPr lang="en-US" dirty="0"/>
              <a:t>Some required apps only run on Windows</a:t>
            </a:r>
          </a:p>
          <a:p>
            <a:pPr lvl="1"/>
            <a:r>
              <a:rPr lang="en-US" dirty="0"/>
              <a:t>Global access required</a:t>
            </a:r>
          </a:p>
          <a:p>
            <a:r>
              <a:rPr lang="en-US" dirty="0"/>
              <a:t>Faculty &amp; Staff</a:t>
            </a:r>
          </a:p>
          <a:p>
            <a:pPr lvl="1"/>
            <a:r>
              <a:rPr lang="en-US" dirty="0"/>
              <a:t>Univ. Admins who use the exact same Office apps every day </a:t>
            </a:r>
          </a:p>
          <a:p>
            <a:pPr lvl="1"/>
            <a:r>
              <a:rPr lang="en-US" dirty="0"/>
              <a:t>Seeking to reduce hardware maintenance overhead </a:t>
            </a:r>
          </a:p>
          <a:p>
            <a:pPr lvl="1"/>
            <a:r>
              <a:rPr lang="en-US" dirty="0"/>
              <a:t>Goal is to allow Admins to work from home on same desktop</a:t>
            </a:r>
          </a:p>
        </p:txBody>
      </p:sp>
    </p:spTree>
    <p:extLst>
      <p:ext uri="{BB962C8B-B14F-4D97-AF65-F5344CB8AC3E}">
        <p14:creationId xmlns:p14="http://schemas.microsoft.com/office/powerpoint/2010/main" val="2685874979"/>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B6D4B61-815B-401F-9368-F21FB7168941}"/>
              </a:ext>
            </a:extLst>
          </p:cNvPr>
          <p:cNvSpPr>
            <a:spLocks noGrp="1"/>
          </p:cNvSpPr>
          <p:nvPr>
            <p:ph type="title"/>
          </p:nvPr>
        </p:nvSpPr>
        <p:spPr/>
        <p:txBody>
          <a:bodyPr/>
          <a:lstStyle/>
          <a:p>
            <a:r>
              <a:rPr lang="en-US" dirty="0"/>
              <a:t>Follow MS.com Documentation – Create File Shares</a:t>
            </a:r>
          </a:p>
        </p:txBody>
      </p:sp>
      <p:sp>
        <p:nvSpPr>
          <p:cNvPr id="4" name="Text Placeholder 3">
            <a:extLst>
              <a:ext uri="{FF2B5EF4-FFF2-40B4-BE49-F238E27FC236}">
                <a16:creationId xmlns:a16="http://schemas.microsoft.com/office/drawing/2014/main" id="{0CB9AAD5-84E7-432C-B183-8D96E0336060}"/>
              </a:ext>
            </a:extLst>
          </p:cNvPr>
          <p:cNvSpPr>
            <a:spLocks noGrp="1"/>
          </p:cNvSpPr>
          <p:nvPr>
            <p:ph type="body" sz="quarter" idx="10"/>
          </p:nvPr>
        </p:nvSpPr>
        <p:spPr>
          <a:xfrm>
            <a:off x="415952" y="1817373"/>
            <a:ext cx="11655078" cy="960263"/>
          </a:xfrm>
        </p:spPr>
        <p:txBody>
          <a:bodyPr/>
          <a:lstStyle/>
          <a:p>
            <a:r>
              <a:rPr lang="en-US" sz="2800" dirty="0">
                <a:hlinkClick r:id="rId2"/>
              </a:rPr>
              <a:t>https://docs.microsoft.com/en-us/azure/virtual-desktop/create-host-pools-user-profile</a:t>
            </a:r>
            <a:endParaRPr lang="en-US" sz="2800" dirty="0"/>
          </a:p>
        </p:txBody>
      </p:sp>
      <p:pic>
        <p:nvPicPr>
          <p:cNvPr id="2" name="Picture 1">
            <a:extLst>
              <a:ext uri="{FF2B5EF4-FFF2-40B4-BE49-F238E27FC236}">
                <a16:creationId xmlns:a16="http://schemas.microsoft.com/office/drawing/2014/main" id="{952C689C-241B-4E61-9085-070124A528BB}"/>
              </a:ext>
            </a:extLst>
          </p:cNvPr>
          <p:cNvPicPr>
            <a:picLocks noChangeAspect="1"/>
          </p:cNvPicPr>
          <p:nvPr/>
        </p:nvPicPr>
        <p:blipFill>
          <a:blip r:embed="rId3"/>
          <a:stretch>
            <a:fillRect/>
          </a:stretch>
        </p:blipFill>
        <p:spPr>
          <a:xfrm>
            <a:off x="811171" y="2777636"/>
            <a:ext cx="7506060" cy="2309557"/>
          </a:xfrm>
          <a:prstGeom prst="rect">
            <a:avLst/>
          </a:prstGeom>
        </p:spPr>
      </p:pic>
      <p:sp>
        <p:nvSpPr>
          <p:cNvPr id="5" name="TextBox 4">
            <a:extLst>
              <a:ext uri="{FF2B5EF4-FFF2-40B4-BE49-F238E27FC236}">
                <a16:creationId xmlns:a16="http://schemas.microsoft.com/office/drawing/2014/main" id="{4626ECB8-DA70-47F6-8657-7416E4661C28}"/>
              </a:ext>
            </a:extLst>
          </p:cNvPr>
          <p:cNvSpPr txBox="1"/>
          <p:nvPr/>
        </p:nvSpPr>
        <p:spPr>
          <a:xfrm>
            <a:off x="415952" y="5087193"/>
            <a:ext cx="11776048" cy="2182136"/>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Important steps:  </a:t>
            </a:r>
          </a:p>
          <a:p>
            <a:pPr marL="342900" indent="-342900">
              <a:lnSpc>
                <a:spcPct val="90000"/>
              </a:lnSpc>
              <a:spcAft>
                <a:spcPts val="600"/>
              </a:spcAft>
              <a:buFont typeface="Arial" panose="020B0604020202020204" pitchFamily="34" charset="0"/>
              <a:buChar char="•"/>
            </a:pPr>
            <a:r>
              <a:rPr lang="en-US" sz="1800" dirty="0">
                <a:gradFill>
                  <a:gsLst>
                    <a:gs pos="2917">
                      <a:schemeClr val="tx1"/>
                    </a:gs>
                    <a:gs pos="30000">
                      <a:schemeClr val="tx1"/>
                    </a:gs>
                  </a:gsLst>
                  <a:lin ang="5400000" scaled="0"/>
                </a:gradFill>
              </a:rPr>
              <a:t>Create Sub-folders for each HostPool</a:t>
            </a:r>
          </a:p>
          <a:p>
            <a:pPr marL="342900" indent="-342900">
              <a:lnSpc>
                <a:spcPct val="90000"/>
              </a:lnSpc>
              <a:spcAft>
                <a:spcPts val="600"/>
              </a:spcAft>
              <a:buFont typeface="Arial" panose="020B0604020202020204" pitchFamily="34" charset="0"/>
              <a:buChar char="•"/>
            </a:pPr>
            <a:r>
              <a:rPr lang="en-US" sz="1800" dirty="0">
                <a:gradFill>
                  <a:gsLst>
                    <a:gs pos="2917">
                      <a:schemeClr val="tx1"/>
                    </a:gs>
                    <a:gs pos="30000">
                      <a:schemeClr val="tx1"/>
                    </a:gs>
                  </a:gsLst>
                  <a:lin ang="5400000" scaled="0"/>
                </a:gradFill>
              </a:rPr>
              <a:t>Match name to chosen HostPool names for easy referral afterwards</a:t>
            </a:r>
          </a:p>
          <a:p>
            <a:pPr marL="342900" indent="-342900">
              <a:lnSpc>
                <a:spcPct val="90000"/>
              </a:lnSpc>
              <a:spcAft>
                <a:spcPts val="600"/>
              </a:spcAft>
              <a:buFont typeface="Arial" panose="020B0604020202020204" pitchFamily="34" charset="0"/>
              <a:buChar char="•"/>
            </a:pPr>
            <a:r>
              <a:rPr lang="en-US" sz="1800" dirty="0">
                <a:gradFill>
                  <a:gsLst>
                    <a:gs pos="2917">
                      <a:schemeClr val="tx1"/>
                    </a:gs>
                    <a:gs pos="30000">
                      <a:schemeClr val="tx1"/>
                    </a:gs>
                  </a:gsLst>
                  <a:lin ang="5400000" scaled="0"/>
                </a:gradFill>
              </a:rPr>
              <a:t>Ensure Antivirus software on FSLogix Profile Servers is not scanning the VHD(x) files hosted for end-users (set relevant exclusions)</a:t>
            </a:r>
          </a:p>
          <a:p>
            <a:pPr marL="342900" indent="-342900">
              <a:lnSpc>
                <a:spcPct val="90000"/>
              </a:lnSpc>
              <a:spcAft>
                <a:spcPts val="600"/>
              </a:spcAft>
              <a:buFont typeface="Arial" panose="020B0604020202020204" pitchFamily="34" charset="0"/>
              <a:buChar char="•"/>
            </a:pPr>
            <a:endParaRPr lang="en-US" sz="18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105919746"/>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92CFAD-07BF-4084-AE4A-134A87B892C4}"/>
              </a:ext>
            </a:extLst>
          </p:cNvPr>
          <p:cNvSpPr>
            <a:spLocks noGrp="1"/>
          </p:cNvSpPr>
          <p:nvPr>
            <p:ph type="title"/>
          </p:nvPr>
        </p:nvSpPr>
        <p:spPr>
          <a:xfrm>
            <a:off x="269239" y="2084172"/>
            <a:ext cx="11653523" cy="1162178"/>
          </a:xfrm>
        </p:spPr>
        <p:txBody>
          <a:bodyPr/>
          <a:lstStyle/>
          <a:p>
            <a:r>
              <a:rPr lang="en-US" dirty="0"/>
              <a:t>Configure FSLogix GPOs</a:t>
            </a:r>
          </a:p>
        </p:txBody>
      </p:sp>
    </p:spTree>
    <p:extLst>
      <p:ext uri="{BB962C8B-B14F-4D97-AF65-F5344CB8AC3E}">
        <p14:creationId xmlns:p14="http://schemas.microsoft.com/office/powerpoint/2010/main" val="2849692312"/>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990287-DFFB-4F3D-8332-2F180B8F2C14}"/>
              </a:ext>
            </a:extLst>
          </p:cNvPr>
          <p:cNvSpPr>
            <a:spLocks noGrp="1"/>
          </p:cNvSpPr>
          <p:nvPr>
            <p:ph type="title"/>
          </p:nvPr>
        </p:nvSpPr>
        <p:spPr/>
        <p:txBody>
          <a:bodyPr/>
          <a:lstStyle/>
          <a:p>
            <a:r>
              <a:rPr lang="en-US" dirty="0"/>
              <a:t>Allow Office Activation to Roam w/User</a:t>
            </a:r>
          </a:p>
        </p:txBody>
      </p:sp>
      <p:sp>
        <p:nvSpPr>
          <p:cNvPr id="3" name="Text Placeholder 2">
            <a:extLst>
              <a:ext uri="{FF2B5EF4-FFF2-40B4-BE49-F238E27FC236}">
                <a16:creationId xmlns:a16="http://schemas.microsoft.com/office/drawing/2014/main" id="{634FCBD9-82E3-4BD2-8F62-DB290DE755B6}"/>
              </a:ext>
            </a:extLst>
          </p:cNvPr>
          <p:cNvSpPr>
            <a:spLocks noGrp="1"/>
          </p:cNvSpPr>
          <p:nvPr>
            <p:ph type="body" sz="quarter" idx="10"/>
          </p:nvPr>
        </p:nvSpPr>
        <p:spPr>
          <a:xfrm>
            <a:off x="269303" y="1187644"/>
            <a:ext cx="11655078" cy="4431983"/>
          </a:xfrm>
        </p:spPr>
        <p:txBody>
          <a:bodyPr/>
          <a:lstStyle/>
          <a:p>
            <a:r>
              <a:rPr lang="en-US" sz="1600" dirty="0"/>
              <a:t>Reference: </a:t>
            </a:r>
            <a:r>
              <a:rPr lang="en-US" sz="1600" u="sng" dirty="0">
                <a:hlinkClick r:id="rId2"/>
              </a:rPr>
              <a:t>https://docs.microsoft.com/en-us/DeployOffice/overview-of-shared-computer-activation-for-office-365-proplus</a:t>
            </a:r>
            <a:r>
              <a:rPr lang="en-US" sz="1600" dirty="0"/>
              <a:t> </a:t>
            </a:r>
          </a:p>
          <a:p>
            <a:r>
              <a:rPr lang="en-US" sz="3200" dirty="0"/>
              <a:t>Users can activate Office 365 </a:t>
            </a:r>
            <a:r>
              <a:rPr lang="en-US" sz="3200" dirty="0" err="1"/>
              <a:t>ProPlus</a:t>
            </a:r>
            <a:r>
              <a:rPr lang="en-US" sz="3200" dirty="0"/>
              <a:t> only on a limited number of devices, such as 5 PCs. </a:t>
            </a:r>
          </a:p>
          <a:p>
            <a:pPr lvl="1"/>
            <a:r>
              <a:rPr lang="en-US" sz="2400" dirty="0"/>
              <a:t>Gallery Multi-User Win10 Images in Azure w/O365 ship with Shared Computer Activation (SCA) - doesn't count against that limit</a:t>
            </a:r>
          </a:p>
          <a:p>
            <a:pPr lvl="1"/>
            <a:r>
              <a:rPr lang="en-US" sz="2400" dirty="0"/>
              <a:t>Alternatively, you can </a:t>
            </a:r>
            <a:r>
              <a:rPr lang="en-US" sz="2400" dirty="0">
                <a:hlinkClick r:id="rId3"/>
              </a:rPr>
              <a:t>“clean” install O365 and enable SCA</a:t>
            </a:r>
            <a:endParaRPr lang="en-US" sz="2400" dirty="0"/>
          </a:p>
          <a:p>
            <a:r>
              <a:rPr lang="en-US" sz="3200" dirty="0"/>
              <a:t>3 steps required to enable Office Activation to roam:</a:t>
            </a:r>
          </a:p>
          <a:p>
            <a:pPr lvl="1"/>
            <a:r>
              <a:rPr lang="en-US" sz="2000" dirty="0"/>
              <a:t>Note that the O365 Container is separate from the Profile Container</a:t>
            </a:r>
          </a:p>
          <a:p>
            <a:pPr lvl="1"/>
            <a:r>
              <a:rPr lang="en-US" sz="2000" dirty="0"/>
              <a:t>In </a:t>
            </a:r>
            <a:r>
              <a:rPr lang="en-US" sz="2000" b="1" dirty="0"/>
              <a:t>O365 Containers </a:t>
            </a:r>
            <a:r>
              <a:rPr lang="en-US" sz="2000" dirty="0"/>
              <a:t>node, change “Enabled” key from “Not Configured” to “Enabled”</a:t>
            </a:r>
          </a:p>
          <a:p>
            <a:pPr lvl="1"/>
            <a:r>
              <a:rPr lang="en-US" sz="2000" dirty="0"/>
              <a:t>Enable “VHD Location” key and provide a path to a file share on FSLogix Server</a:t>
            </a:r>
          </a:p>
          <a:p>
            <a:pPr lvl="1"/>
            <a:r>
              <a:rPr lang="en-US" sz="2000" dirty="0"/>
              <a:t>Set “Include Office activation data in the container” to Enabled</a:t>
            </a:r>
          </a:p>
        </p:txBody>
      </p:sp>
      <p:pic>
        <p:nvPicPr>
          <p:cNvPr id="4" name="Picture 3">
            <a:extLst>
              <a:ext uri="{FF2B5EF4-FFF2-40B4-BE49-F238E27FC236}">
                <a16:creationId xmlns:a16="http://schemas.microsoft.com/office/drawing/2014/main" id="{BF6E5637-F385-4925-9F56-02BB51BC3458}"/>
              </a:ext>
            </a:extLst>
          </p:cNvPr>
          <p:cNvPicPr>
            <a:picLocks noChangeAspect="1"/>
          </p:cNvPicPr>
          <p:nvPr/>
        </p:nvPicPr>
        <p:blipFill rotWithShape="1">
          <a:blip r:embed="rId4"/>
          <a:srcRect l="798" t="16320" r="22125" b="27688"/>
          <a:stretch/>
        </p:blipFill>
        <p:spPr>
          <a:xfrm>
            <a:off x="1367663" y="5619627"/>
            <a:ext cx="9456673" cy="384090"/>
          </a:xfrm>
          <a:prstGeom prst="rect">
            <a:avLst/>
          </a:prstGeom>
        </p:spPr>
      </p:pic>
    </p:spTree>
    <p:extLst>
      <p:ext uri="{BB962C8B-B14F-4D97-AF65-F5344CB8AC3E}">
        <p14:creationId xmlns:p14="http://schemas.microsoft.com/office/powerpoint/2010/main" val="385243602"/>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92CFAD-07BF-4084-AE4A-134A87B892C4}"/>
              </a:ext>
            </a:extLst>
          </p:cNvPr>
          <p:cNvSpPr>
            <a:spLocks noGrp="1"/>
          </p:cNvSpPr>
          <p:nvPr>
            <p:ph type="title"/>
          </p:nvPr>
        </p:nvSpPr>
        <p:spPr>
          <a:xfrm>
            <a:off x="269239" y="2084172"/>
            <a:ext cx="11653523" cy="2139688"/>
          </a:xfrm>
        </p:spPr>
        <p:txBody>
          <a:bodyPr/>
          <a:lstStyle/>
          <a:p>
            <a:r>
              <a:rPr lang="en-US" dirty="0"/>
              <a:t>Customize A Gold Image for WVD</a:t>
            </a:r>
          </a:p>
        </p:txBody>
      </p:sp>
    </p:spTree>
    <p:extLst>
      <p:ext uri="{BB962C8B-B14F-4D97-AF65-F5344CB8AC3E}">
        <p14:creationId xmlns:p14="http://schemas.microsoft.com/office/powerpoint/2010/main" val="2401709566"/>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2E436E-B486-492F-86C0-3301559C4ED6}"/>
              </a:ext>
            </a:extLst>
          </p:cNvPr>
          <p:cNvSpPr>
            <a:spLocks noGrp="1"/>
          </p:cNvSpPr>
          <p:nvPr>
            <p:ph type="title"/>
          </p:nvPr>
        </p:nvSpPr>
        <p:spPr/>
        <p:txBody>
          <a:bodyPr/>
          <a:lstStyle/>
          <a:p>
            <a:r>
              <a:rPr lang="en-US" sz="4400" dirty="0"/>
              <a:t>Build a VM from Scratch – Choose the Correct OS</a:t>
            </a:r>
          </a:p>
        </p:txBody>
      </p:sp>
      <p:sp>
        <p:nvSpPr>
          <p:cNvPr id="4" name="Text Placeholder 3">
            <a:extLst>
              <a:ext uri="{FF2B5EF4-FFF2-40B4-BE49-F238E27FC236}">
                <a16:creationId xmlns:a16="http://schemas.microsoft.com/office/drawing/2014/main" id="{38D047CD-27CE-47CE-AADA-67BEC6FA1D5B}"/>
              </a:ext>
            </a:extLst>
          </p:cNvPr>
          <p:cNvSpPr>
            <a:spLocks noGrp="1"/>
          </p:cNvSpPr>
          <p:nvPr>
            <p:ph type="body" sz="quarter" idx="10"/>
          </p:nvPr>
        </p:nvSpPr>
        <p:spPr>
          <a:xfrm>
            <a:off x="584200" y="1435497"/>
            <a:ext cx="11018520" cy="5242782"/>
          </a:xfrm>
        </p:spPr>
        <p:txBody>
          <a:bodyPr/>
          <a:lstStyle/>
          <a:p>
            <a:r>
              <a:rPr lang="en-US" u="sng" dirty="0">
                <a:hlinkClick r:id="rId2"/>
              </a:rPr>
              <a:t>Create a VM from a managed image</a:t>
            </a:r>
            <a:endParaRPr lang="en-US" u="sng" dirty="0"/>
          </a:p>
          <a:p>
            <a:endParaRPr lang="en-US" u="sng" dirty="0"/>
          </a:p>
          <a:p>
            <a:endParaRPr lang="en-US" u="sng" dirty="0"/>
          </a:p>
          <a:p>
            <a:endParaRPr lang="en-US" u="sng" dirty="0"/>
          </a:p>
          <a:p>
            <a:endParaRPr lang="en-US" u="sng" dirty="0"/>
          </a:p>
          <a:p>
            <a:endParaRPr lang="en-US" u="sng" dirty="0"/>
          </a:p>
          <a:p>
            <a:endParaRPr lang="en-US" u="sng" dirty="0"/>
          </a:p>
          <a:p>
            <a:r>
              <a:rPr lang="en-US" sz="2800" dirty="0"/>
              <a:t>Build the VM like you would any other (we’re not creating anything WVD-centric at this point, just a VM to customize)</a:t>
            </a:r>
            <a:endParaRPr lang="en-US" sz="2800" u="sng" dirty="0"/>
          </a:p>
        </p:txBody>
      </p:sp>
      <p:pic>
        <p:nvPicPr>
          <p:cNvPr id="8194" name="Picture 4" descr="image005">
            <a:extLst>
              <a:ext uri="{FF2B5EF4-FFF2-40B4-BE49-F238E27FC236}">
                <a16:creationId xmlns:a16="http://schemas.microsoft.com/office/drawing/2014/main" id="{FE4287A9-9CE2-46D8-A0AE-79FDFFC3DB8B}"/>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815244" y="2015331"/>
            <a:ext cx="8865088" cy="3491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4">
            <a:extLst>
              <a:ext uri="{FF2B5EF4-FFF2-40B4-BE49-F238E27FC236}">
                <a16:creationId xmlns:a16="http://schemas.microsoft.com/office/drawing/2014/main" id="{D7139A40-CCE9-45D9-A25F-AB51E0417A9E}"/>
              </a:ext>
            </a:extLst>
          </p:cNvPr>
          <p:cNvPicPr>
            <a:picLocks noChangeAspect="1"/>
          </p:cNvPicPr>
          <p:nvPr/>
        </p:nvPicPr>
        <p:blipFill rotWithShape="1">
          <a:blip r:embed="rId4"/>
          <a:srcRect b="19574"/>
          <a:stretch/>
        </p:blipFill>
        <p:spPr>
          <a:xfrm>
            <a:off x="3817775" y="3854108"/>
            <a:ext cx="5774094" cy="346417"/>
          </a:xfrm>
          <a:prstGeom prst="rect">
            <a:avLst/>
          </a:prstGeom>
        </p:spPr>
      </p:pic>
      <p:sp>
        <p:nvSpPr>
          <p:cNvPr id="2" name="Rectangle: Rounded Corners 1">
            <a:extLst>
              <a:ext uri="{FF2B5EF4-FFF2-40B4-BE49-F238E27FC236}">
                <a16:creationId xmlns:a16="http://schemas.microsoft.com/office/drawing/2014/main" id="{8987C912-F7D1-4E78-9EFB-446A0CD5E6C6}"/>
              </a:ext>
            </a:extLst>
          </p:cNvPr>
          <p:cNvSpPr/>
          <p:nvPr/>
        </p:nvSpPr>
        <p:spPr bwMode="auto">
          <a:xfrm>
            <a:off x="3817774" y="3896809"/>
            <a:ext cx="5546845" cy="346417"/>
          </a:xfrm>
          <a:prstGeom prst="roundRect">
            <a:avLst>
              <a:gd name="adj" fmla="val 16667"/>
            </a:avLst>
          </a:prstGeom>
          <a:solidFill>
            <a:srgbClr val="FFFF00">
              <a:alpha val="34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7" name="Arrow: Left 6">
            <a:extLst>
              <a:ext uri="{FF2B5EF4-FFF2-40B4-BE49-F238E27FC236}">
                <a16:creationId xmlns:a16="http://schemas.microsoft.com/office/drawing/2014/main" id="{EC6B83F6-EA25-4425-A453-48E05EA55C79}"/>
              </a:ext>
            </a:extLst>
          </p:cNvPr>
          <p:cNvSpPr/>
          <p:nvPr/>
        </p:nvSpPr>
        <p:spPr bwMode="auto">
          <a:xfrm>
            <a:off x="4896623" y="2574936"/>
            <a:ext cx="4114027" cy="1156012"/>
          </a:xfrm>
          <a:prstGeom prst="leftArrow">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a:gradFill>
                  <a:gsLst>
                    <a:gs pos="0">
                      <a:srgbClr val="FFFFFF"/>
                    </a:gs>
                    <a:gs pos="100000">
                      <a:srgbClr val="FFFFFF"/>
                    </a:gs>
                  </a:gsLst>
                  <a:lin ang="5400000" scaled="0"/>
                </a:gradFill>
                <a:ea typeface="Segoe UI" pitchFamily="34" charset="0"/>
                <a:cs typeface="Segoe UI" pitchFamily="34" charset="0"/>
              </a:rPr>
              <a:t>Region is the same as where you are deploying WVD </a:t>
            </a:r>
            <a:r>
              <a:rPr lang="en-US" sz="1200" b="1" dirty="0" err="1">
                <a:gradFill>
                  <a:gsLst>
                    <a:gs pos="0">
                      <a:srgbClr val="FFFFFF"/>
                    </a:gs>
                    <a:gs pos="100000">
                      <a:srgbClr val="FFFFFF"/>
                    </a:gs>
                  </a:gsLst>
                  <a:lin ang="5400000" scaled="0"/>
                </a:gradFill>
                <a:ea typeface="Segoe UI" pitchFamily="34" charset="0"/>
                <a:cs typeface="Segoe UI" pitchFamily="34" charset="0"/>
              </a:rPr>
              <a:t>HostPools</a:t>
            </a:r>
            <a:r>
              <a:rPr lang="en-US" sz="1200" b="1" dirty="0">
                <a:gradFill>
                  <a:gsLst>
                    <a:gs pos="0">
                      <a:srgbClr val="FFFFFF"/>
                    </a:gs>
                    <a:gs pos="100000">
                      <a:srgbClr val="FFFFFF"/>
                    </a:gs>
                  </a:gsLst>
                  <a:lin ang="5400000" scaled="0"/>
                </a:gradFill>
                <a:ea typeface="Segoe UI" pitchFamily="34" charset="0"/>
                <a:cs typeface="Segoe UI" pitchFamily="34" charset="0"/>
              </a:rPr>
              <a:t>, Subnets in same Region</a:t>
            </a:r>
          </a:p>
        </p:txBody>
      </p:sp>
      <p:sp>
        <p:nvSpPr>
          <p:cNvPr id="8" name="Arrow: Left 7">
            <a:extLst>
              <a:ext uri="{FF2B5EF4-FFF2-40B4-BE49-F238E27FC236}">
                <a16:creationId xmlns:a16="http://schemas.microsoft.com/office/drawing/2014/main" id="{101D93C6-E49A-40EF-93BB-6E01B698167D}"/>
              </a:ext>
            </a:extLst>
          </p:cNvPr>
          <p:cNvSpPr/>
          <p:nvPr/>
        </p:nvSpPr>
        <p:spPr bwMode="auto">
          <a:xfrm rot="794445">
            <a:off x="8766705" y="3715719"/>
            <a:ext cx="2676250" cy="1328184"/>
          </a:xfrm>
          <a:prstGeom prst="leftArrow">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a:gradFill>
                  <a:gsLst>
                    <a:gs pos="0">
                      <a:srgbClr val="FFFFFF"/>
                    </a:gs>
                    <a:gs pos="100000">
                      <a:srgbClr val="FFFFFF"/>
                    </a:gs>
                  </a:gsLst>
                  <a:lin ang="5400000" scaled="0"/>
                </a:gradFill>
                <a:ea typeface="Segoe UI" pitchFamily="34" charset="0"/>
                <a:cs typeface="Segoe UI" pitchFamily="34" charset="0"/>
              </a:rPr>
              <a:t>Ensure this is the version showing</a:t>
            </a:r>
          </a:p>
          <a:p>
            <a:pPr algn="ctr" defTabSz="932472" fontAlgn="base">
              <a:lnSpc>
                <a:spcPct val="90000"/>
              </a:lnSpc>
              <a:spcBef>
                <a:spcPct val="0"/>
              </a:spcBef>
              <a:spcAft>
                <a:spcPct val="0"/>
              </a:spcAft>
            </a:pPr>
            <a:r>
              <a:rPr lang="en-US" sz="1200" b="1" dirty="0">
                <a:gradFill>
                  <a:gsLst>
                    <a:gs pos="0">
                      <a:srgbClr val="FFFFFF"/>
                    </a:gs>
                    <a:gs pos="100000">
                      <a:srgbClr val="FFFFFF"/>
                    </a:gs>
                  </a:gsLst>
                  <a:lin ang="5400000" scaled="0"/>
                </a:gradFill>
                <a:ea typeface="Segoe UI" pitchFamily="34" charset="0"/>
                <a:cs typeface="Segoe UI" pitchFamily="34" charset="0"/>
              </a:rPr>
              <a:t>Browse to find it….</a:t>
            </a:r>
          </a:p>
        </p:txBody>
      </p:sp>
    </p:spTree>
    <p:extLst>
      <p:ext uri="{BB962C8B-B14F-4D97-AF65-F5344CB8AC3E}">
        <p14:creationId xmlns:p14="http://schemas.microsoft.com/office/powerpoint/2010/main" val="3656477788"/>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2E436E-B486-492F-86C0-3301559C4ED6}"/>
              </a:ext>
            </a:extLst>
          </p:cNvPr>
          <p:cNvSpPr>
            <a:spLocks noGrp="1"/>
          </p:cNvSpPr>
          <p:nvPr>
            <p:ph type="title"/>
          </p:nvPr>
        </p:nvSpPr>
        <p:spPr/>
        <p:txBody>
          <a:bodyPr/>
          <a:lstStyle/>
          <a:p>
            <a:r>
              <a:rPr lang="en-US" dirty="0"/>
              <a:t>Customize the VM</a:t>
            </a:r>
          </a:p>
        </p:txBody>
      </p:sp>
      <p:sp>
        <p:nvSpPr>
          <p:cNvPr id="4" name="Text Placeholder 3">
            <a:extLst>
              <a:ext uri="{FF2B5EF4-FFF2-40B4-BE49-F238E27FC236}">
                <a16:creationId xmlns:a16="http://schemas.microsoft.com/office/drawing/2014/main" id="{38D047CD-27CE-47CE-AADA-67BEC6FA1D5B}"/>
              </a:ext>
            </a:extLst>
          </p:cNvPr>
          <p:cNvSpPr>
            <a:spLocks noGrp="1"/>
          </p:cNvSpPr>
          <p:nvPr>
            <p:ph type="body" sz="quarter" idx="10"/>
          </p:nvPr>
        </p:nvSpPr>
        <p:spPr>
          <a:xfrm>
            <a:off x="588263" y="1069406"/>
            <a:ext cx="11018520" cy="5466112"/>
          </a:xfrm>
        </p:spPr>
        <p:txBody>
          <a:bodyPr/>
          <a:lstStyle/>
          <a:p>
            <a:r>
              <a:rPr lang="en-US" sz="2000" dirty="0"/>
              <a:t>Login to the VM you just created and configure it how you like </a:t>
            </a:r>
          </a:p>
          <a:p>
            <a:r>
              <a:rPr lang="en-US" sz="2000" dirty="0"/>
              <a:t>Guides: </a:t>
            </a:r>
            <a:endParaRPr lang="en-US" sz="2000" dirty="0">
              <a:hlinkClick r:id="rId2"/>
            </a:endParaRPr>
          </a:p>
          <a:p>
            <a:pPr lvl="1"/>
            <a:r>
              <a:rPr lang="en-US" sz="1600" u="sng" dirty="0">
                <a:hlinkClick r:id="rId2"/>
              </a:rPr>
              <a:t>Software preparation and installation</a:t>
            </a:r>
            <a:r>
              <a:rPr lang="en-US" sz="1600" dirty="0"/>
              <a:t> – MS Guidance</a:t>
            </a:r>
          </a:p>
          <a:p>
            <a:pPr lvl="1"/>
            <a:r>
              <a:rPr lang="en-US" sz="1600" dirty="0">
                <a:hlinkClick r:id="rId3"/>
              </a:rPr>
              <a:t>https://www.robinhobo.com/how-to-create-a-custom-windows-10-multi-user-image-with-lob-applications-for-windows-virtual-desktop-preview-wvd-hostpool-deployments/</a:t>
            </a:r>
            <a:r>
              <a:rPr lang="en-US" sz="1600" dirty="0"/>
              <a:t> (3</a:t>
            </a:r>
            <a:r>
              <a:rPr lang="en-US" sz="1600" baseline="30000" dirty="0"/>
              <a:t>rd</a:t>
            </a:r>
            <a:r>
              <a:rPr lang="en-US" sz="1600" dirty="0"/>
              <a:t> party, but great!)</a:t>
            </a:r>
          </a:p>
          <a:p>
            <a:r>
              <a:rPr lang="en-US" sz="2400" dirty="0"/>
              <a:t>Key configs:</a:t>
            </a:r>
          </a:p>
          <a:p>
            <a:pPr lvl="1"/>
            <a:r>
              <a:rPr lang="en-US" sz="1600" dirty="0"/>
              <a:t>VERY important to get Office &amp; OneDrive deployed </a:t>
            </a:r>
            <a:r>
              <a:rPr lang="en-US" sz="1600" b="1" dirty="0"/>
              <a:t>per-machine</a:t>
            </a:r>
          </a:p>
          <a:p>
            <a:pPr lvl="2"/>
            <a:r>
              <a:rPr lang="en-US" sz="1200" dirty="0">
                <a:hlinkClick r:id="rId4"/>
              </a:rPr>
              <a:t>Install OneDrive in per-machine mode</a:t>
            </a:r>
            <a:endParaRPr lang="en-US" sz="1200" dirty="0"/>
          </a:p>
          <a:p>
            <a:pPr lvl="2"/>
            <a:r>
              <a:rPr lang="en-US" sz="1200" dirty="0">
                <a:hlinkClick r:id="rId5"/>
              </a:rPr>
              <a:t>Install Office in shared computer activation mode</a:t>
            </a:r>
            <a:endParaRPr lang="en-US" sz="1200" dirty="0"/>
          </a:p>
          <a:p>
            <a:pPr lvl="1"/>
            <a:r>
              <a:rPr lang="en-US" sz="1600" dirty="0"/>
              <a:t>VERY important to register VM with Azure-based KMS</a:t>
            </a:r>
          </a:p>
          <a:p>
            <a:pPr lvl="2"/>
            <a:r>
              <a:rPr lang="en-US" sz="1200" dirty="0"/>
              <a:t>Code:  </a:t>
            </a:r>
            <a:r>
              <a:rPr lang="en-US" sz="1200" dirty="0">
                <a:solidFill>
                  <a:srgbClr val="0000FF"/>
                </a:solidFill>
                <a:latin typeface="Lucida Console" panose="020B0609040504020204" pitchFamily="49" charset="0"/>
              </a:rPr>
              <a:t>Invoke-Expression</a:t>
            </a:r>
            <a:r>
              <a:rPr lang="en-US" sz="1200" dirty="0">
                <a:solidFill>
                  <a:prstClr val="black"/>
                </a:solidFill>
                <a:latin typeface="Lucida Console" panose="020B0609040504020204" pitchFamily="49" charset="0"/>
              </a:rPr>
              <a:t> </a:t>
            </a:r>
            <a:r>
              <a:rPr lang="en-US" sz="1200" dirty="0">
                <a:solidFill>
                  <a:srgbClr val="8B0000"/>
                </a:solidFill>
                <a:latin typeface="Lucida Console" panose="020B0609040504020204" pitchFamily="49" charset="0"/>
              </a:rPr>
              <a:t>"</a:t>
            </a:r>
            <a:r>
              <a:rPr lang="en-US" sz="1200" dirty="0">
                <a:solidFill>
                  <a:srgbClr val="A82D00"/>
                </a:solidFill>
                <a:latin typeface="Lucida Console" panose="020B0609040504020204" pitchFamily="49" charset="0"/>
              </a:rPr>
              <a:t>$</a:t>
            </a:r>
            <a:r>
              <a:rPr lang="en-US" sz="1200" dirty="0" err="1">
                <a:solidFill>
                  <a:srgbClr val="A82D00"/>
                </a:solidFill>
                <a:latin typeface="Lucida Console" panose="020B0609040504020204" pitchFamily="49" charset="0"/>
              </a:rPr>
              <a:t>env:windir</a:t>
            </a:r>
            <a:r>
              <a:rPr lang="en-US" sz="1200" dirty="0">
                <a:solidFill>
                  <a:srgbClr val="8B0000"/>
                </a:solidFill>
                <a:latin typeface="Lucida Console" panose="020B0609040504020204" pitchFamily="49" charset="0"/>
              </a:rPr>
              <a:t>\system32\cscript.exe </a:t>
            </a:r>
            <a:r>
              <a:rPr lang="en-US" sz="1200" dirty="0">
                <a:solidFill>
                  <a:srgbClr val="A82D00"/>
                </a:solidFill>
                <a:latin typeface="Lucida Console" panose="020B0609040504020204" pitchFamily="49" charset="0"/>
              </a:rPr>
              <a:t>$</a:t>
            </a:r>
            <a:r>
              <a:rPr lang="en-US" sz="1200" dirty="0" err="1">
                <a:solidFill>
                  <a:srgbClr val="A82D00"/>
                </a:solidFill>
                <a:latin typeface="Lucida Console" panose="020B0609040504020204" pitchFamily="49" charset="0"/>
              </a:rPr>
              <a:t>env:windir</a:t>
            </a:r>
            <a:r>
              <a:rPr lang="en-US" sz="1200" dirty="0">
                <a:solidFill>
                  <a:srgbClr val="8B0000"/>
                </a:solidFill>
                <a:latin typeface="Lucida Console" panose="020B0609040504020204" pitchFamily="49" charset="0"/>
              </a:rPr>
              <a:t>\system32\slmgr.vbs /</a:t>
            </a:r>
            <a:r>
              <a:rPr lang="en-US" sz="1200" dirty="0" err="1">
                <a:solidFill>
                  <a:srgbClr val="8B0000"/>
                </a:solidFill>
                <a:latin typeface="Lucida Console" panose="020B0609040504020204" pitchFamily="49" charset="0"/>
              </a:rPr>
              <a:t>skms</a:t>
            </a:r>
            <a:r>
              <a:rPr lang="en-US" sz="1200" dirty="0">
                <a:solidFill>
                  <a:srgbClr val="8B0000"/>
                </a:solidFill>
                <a:latin typeface="Lucida Console" panose="020B0609040504020204" pitchFamily="49" charset="0"/>
              </a:rPr>
              <a:t> kms.core.windows.net:1688" </a:t>
            </a:r>
            <a:endParaRPr lang="en-US" sz="1200" dirty="0"/>
          </a:p>
          <a:p>
            <a:pPr lvl="2"/>
            <a:r>
              <a:rPr lang="en-US" sz="1200" dirty="0"/>
              <a:t>DO NOT EVER activate manually w/any typed-in License Key (it will change VM forever to single-user)</a:t>
            </a:r>
          </a:p>
          <a:p>
            <a:r>
              <a:rPr lang="en-US" sz="2000" dirty="0"/>
              <a:t>Popular Add-Ons:</a:t>
            </a:r>
          </a:p>
          <a:p>
            <a:pPr lvl="1"/>
            <a:r>
              <a:rPr lang="en-US" sz="1600" dirty="0"/>
              <a:t>FSLogix agent so persistent user experience across VMs</a:t>
            </a:r>
          </a:p>
          <a:p>
            <a:pPr lvl="1"/>
            <a:r>
              <a:rPr lang="en-US" sz="1600" dirty="0"/>
              <a:t>WVD Full client to put Remote Apps in the Start Menu</a:t>
            </a:r>
          </a:p>
          <a:p>
            <a:pPr lvl="1"/>
            <a:r>
              <a:rPr lang="en-US" sz="1600" dirty="0"/>
              <a:t>Institutional antivirus</a:t>
            </a:r>
          </a:p>
          <a:p>
            <a:pPr lvl="1"/>
            <a:r>
              <a:rPr lang="en-US" sz="1600" dirty="0"/>
              <a:t>Management / monitoring tools</a:t>
            </a:r>
          </a:p>
          <a:p>
            <a:pPr lvl="1"/>
            <a:r>
              <a:rPr lang="en-US" sz="1600" dirty="0">
                <a:hlinkClick r:id="rId6"/>
              </a:rPr>
              <a:t>Sepago Agent </a:t>
            </a:r>
            <a:r>
              <a:rPr lang="en-US" sz="1600" dirty="0"/>
              <a:t>for monitoring VMs</a:t>
            </a:r>
          </a:p>
        </p:txBody>
      </p:sp>
    </p:spTree>
    <p:extLst>
      <p:ext uri="{BB962C8B-B14F-4D97-AF65-F5344CB8AC3E}">
        <p14:creationId xmlns:p14="http://schemas.microsoft.com/office/powerpoint/2010/main" val="1289441595"/>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2E436E-B486-492F-86C0-3301559C4ED6}"/>
              </a:ext>
            </a:extLst>
          </p:cNvPr>
          <p:cNvSpPr>
            <a:spLocks noGrp="1"/>
          </p:cNvSpPr>
          <p:nvPr>
            <p:ph type="title"/>
          </p:nvPr>
        </p:nvSpPr>
        <p:spPr/>
        <p:txBody>
          <a:bodyPr/>
          <a:lstStyle/>
          <a:p>
            <a:r>
              <a:rPr lang="en-US" dirty="0"/>
              <a:t>Turn the VM Into an Azure Image</a:t>
            </a:r>
          </a:p>
        </p:txBody>
      </p:sp>
      <p:sp>
        <p:nvSpPr>
          <p:cNvPr id="4" name="Text Placeholder 3">
            <a:extLst>
              <a:ext uri="{FF2B5EF4-FFF2-40B4-BE49-F238E27FC236}">
                <a16:creationId xmlns:a16="http://schemas.microsoft.com/office/drawing/2014/main" id="{38D047CD-27CE-47CE-AADA-67BEC6FA1D5B}"/>
              </a:ext>
            </a:extLst>
          </p:cNvPr>
          <p:cNvSpPr>
            <a:spLocks noGrp="1"/>
          </p:cNvSpPr>
          <p:nvPr>
            <p:ph type="body" sz="quarter" idx="10"/>
          </p:nvPr>
        </p:nvSpPr>
        <p:spPr>
          <a:xfrm>
            <a:off x="584200" y="1435497"/>
            <a:ext cx="11018520" cy="2363724"/>
          </a:xfrm>
        </p:spPr>
        <p:txBody>
          <a:bodyPr/>
          <a:lstStyle/>
          <a:p>
            <a:pPr lvl="0"/>
            <a:r>
              <a:rPr lang="en-US" dirty="0"/>
              <a:t>Once done with customization:</a:t>
            </a:r>
          </a:p>
          <a:p>
            <a:pPr lvl="1"/>
            <a:r>
              <a:rPr lang="en-US" dirty="0"/>
              <a:t>Sysprep the system and shut it down </a:t>
            </a:r>
          </a:p>
          <a:p>
            <a:pPr lvl="1"/>
            <a:r>
              <a:rPr lang="en-US" dirty="0"/>
              <a:t>Verify in the Azure console VM is “Stopped (deallocated)” </a:t>
            </a:r>
          </a:p>
          <a:p>
            <a:pPr lvl="1"/>
            <a:r>
              <a:rPr lang="en-US" dirty="0"/>
              <a:t>Ref:  </a:t>
            </a:r>
            <a:r>
              <a:rPr lang="en-US" u="sng" dirty="0">
                <a:hlinkClick r:id="rId2"/>
              </a:rPr>
              <a:t>https://docs.microsoft.com/en-us/azure/virtual-machines/windows/capture-image-resource</a:t>
            </a:r>
            <a:endParaRPr lang="en-US" dirty="0"/>
          </a:p>
          <a:p>
            <a:r>
              <a:rPr lang="en-US" dirty="0"/>
              <a:t>After VM shut down select “Capture” on the VM’s management page:</a:t>
            </a:r>
          </a:p>
        </p:txBody>
      </p:sp>
      <p:pic>
        <p:nvPicPr>
          <p:cNvPr id="9220" name="Picture 5" descr="image008">
            <a:extLst>
              <a:ext uri="{FF2B5EF4-FFF2-40B4-BE49-F238E27FC236}">
                <a16:creationId xmlns:a16="http://schemas.microsoft.com/office/drawing/2014/main" id="{84612441-F084-4F37-9D20-9F899741ED55}"/>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674059" y="3876031"/>
            <a:ext cx="11035075" cy="2164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Rounded Corners 4">
            <a:extLst>
              <a:ext uri="{FF2B5EF4-FFF2-40B4-BE49-F238E27FC236}">
                <a16:creationId xmlns:a16="http://schemas.microsoft.com/office/drawing/2014/main" id="{03C3E081-01CD-4D68-9A83-07068765306B}"/>
              </a:ext>
            </a:extLst>
          </p:cNvPr>
          <p:cNvSpPr/>
          <p:nvPr/>
        </p:nvSpPr>
        <p:spPr bwMode="auto">
          <a:xfrm>
            <a:off x="4599991" y="4030823"/>
            <a:ext cx="1138335" cy="262845"/>
          </a:xfrm>
          <a:prstGeom prst="roundRect">
            <a:avLst/>
          </a:prstGeom>
          <a:solidFill>
            <a:srgbClr val="FFFF00">
              <a:alpha val="34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Tree>
    <p:extLst>
      <p:ext uri="{BB962C8B-B14F-4D97-AF65-F5344CB8AC3E}">
        <p14:creationId xmlns:p14="http://schemas.microsoft.com/office/powerpoint/2010/main" val="2515063457"/>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2E436E-B486-492F-86C0-3301559C4ED6}"/>
              </a:ext>
            </a:extLst>
          </p:cNvPr>
          <p:cNvSpPr>
            <a:spLocks noGrp="1"/>
          </p:cNvSpPr>
          <p:nvPr>
            <p:ph type="title"/>
          </p:nvPr>
        </p:nvSpPr>
        <p:spPr/>
        <p:txBody>
          <a:bodyPr/>
          <a:lstStyle/>
          <a:p>
            <a:r>
              <a:rPr lang="en-US" dirty="0"/>
              <a:t>Image Completed</a:t>
            </a:r>
          </a:p>
        </p:txBody>
      </p:sp>
      <p:sp>
        <p:nvSpPr>
          <p:cNvPr id="4" name="Text Placeholder 3">
            <a:extLst>
              <a:ext uri="{FF2B5EF4-FFF2-40B4-BE49-F238E27FC236}">
                <a16:creationId xmlns:a16="http://schemas.microsoft.com/office/drawing/2014/main" id="{38D047CD-27CE-47CE-AADA-67BEC6FA1D5B}"/>
              </a:ext>
            </a:extLst>
          </p:cNvPr>
          <p:cNvSpPr>
            <a:spLocks noGrp="1"/>
          </p:cNvSpPr>
          <p:nvPr>
            <p:ph type="body" sz="quarter" idx="10"/>
          </p:nvPr>
        </p:nvSpPr>
        <p:spPr>
          <a:xfrm>
            <a:off x="584200" y="1435497"/>
            <a:ext cx="11018520" cy="430887"/>
          </a:xfrm>
        </p:spPr>
        <p:txBody>
          <a:bodyPr/>
          <a:lstStyle/>
          <a:p>
            <a:r>
              <a:rPr lang="en-US" dirty="0"/>
              <a:t>Validate Image showing in the “Images” node in Azure</a:t>
            </a:r>
          </a:p>
        </p:txBody>
      </p:sp>
      <p:pic>
        <p:nvPicPr>
          <p:cNvPr id="10242" name="Picture 6" descr="image012">
            <a:extLst>
              <a:ext uri="{FF2B5EF4-FFF2-40B4-BE49-F238E27FC236}">
                <a16:creationId xmlns:a16="http://schemas.microsoft.com/office/drawing/2014/main" id="{D31AFD46-C2F9-4BE1-91F7-5FDE264EE91C}"/>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660669" y="2074986"/>
            <a:ext cx="10439327" cy="35081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70789131"/>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2E436E-B486-492F-86C0-3301559C4ED6}"/>
              </a:ext>
            </a:extLst>
          </p:cNvPr>
          <p:cNvSpPr>
            <a:spLocks noGrp="1"/>
          </p:cNvSpPr>
          <p:nvPr>
            <p:ph type="title"/>
          </p:nvPr>
        </p:nvSpPr>
        <p:spPr/>
        <p:txBody>
          <a:bodyPr/>
          <a:lstStyle/>
          <a:p>
            <a:r>
              <a:rPr lang="en-US" dirty="0"/>
              <a:t>We will Use The Image for WVD Systems</a:t>
            </a:r>
          </a:p>
        </p:txBody>
      </p:sp>
      <p:sp>
        <p:nvSpPr>
          <p:cNvPr id="4" name="Text Placeholder 3">
            <a:extLst>
              <a:ext uri="{FF2B5EF4-FFF2-40B4-BE49-F238E27FC236}">
                <a16:creationId xmlns:a16="http://schemas.microsoft.com/office/drawing/2014/main" id="{38D047CD-27CE-47CE-AADA-67BEC6FA1D5B}"/>
              </a:ext>
            </a:extLst>
          </p:cNvPr>
          <p:cNvSpPr>
            <a:spLocks noGrp="1"/>
          </p:cNvSpPr>
          <p:nvPr>
            <p:ph type="body" sz="quarter" idx="10"/>
          </p:nvPr>
        </p:nvSpPr>
        <p:spPr>
          <a:xfrm>
            <a:off x="584200" y="1435497"/>
            <a:ext cx="11018520" cy="1686616"/>
          </a:xfrm>
        </p:spPr>
        <p:txBody>
          <a:bodyPr/>
          <a:lstStyle/>
          <a:p>
            <a:r>
              <a:rPr lang="en-US" dirty="0"/>
              <a:t>Later, we will follow the normal steps of </a:t>
            </a:r>
            <a:r>
              <a:rPr lang="en-US" dirty="0">
                <a:hlinkClick r:id="rId2"/>
              </a:rPr>
              <a:t>Host Pool creation</a:t>
            </a:r>
            <a:endParaRPr lang="en-US" dirty="0"/>
          </a:p>
          <a:p>
            <a:r>
              <a:rPr lang="en-US" dirty="0"/>
              <a:t>When you get to “Virtual Machine Settings” tab:</a:t>
            </a:r>
          </a:p>
          <a:p>
            <a:pPr lvl="1"/>
            <a:r>
              <a:rPr lang="en-US" dirty="0"/>
              <a:t>Pick “Managed Image” </a:t>
            </a:r>
          </a:p>
          <a:p>
            <a:pPr lvl="1"/>
            <a:r>
              <a:rPr lang="en-US" dirty="0"/>
              <a:t>Fill in the metadata about the Image you’ve created:</a:t>
            </a:r>
          </a:p>
        </p:txBody>
      </p:sp>
      <p:pic>
        <p:nvPicPr>
          <p:cNvPr id="11266" name="Picture 7" descr="image015">
            <a:extLst>
              <a:ext uri="{FF2B5EF4-FFF2-40B4-BE49-F238E27FC236}">
                <a16:creationId xmlns:a16="http://schemas.microsoft.com/office/drawing/2014/main" id="{B41492FF-76CA-41AC-A614-0940E9B434A4}"/>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736635" y="3314529"/>
            <a:ext cx="11036870" cy="2602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Rounded Corners 4">
            <a:extLst>
              <a:ext uri="{FF2B5EF4-FFF2-40B4-BE49-F238E27FC236}">
                <a16:creationId xmlns:a16="http://schemas.microsoft.com/office/drawing/2014/main" id="{252518CD-1AEA-4DA1-8037-33E6CD790030}"/>
              </a:ext>
            </a:extLst>
          </p:cNvPr>
          <p:cNvSpPr/>
          <p:nvPr/>
        </p:nvSpPr>
        <p:spPr bwMode="auto">
          <a:xfrm>
            <a:off x="4668715" y="4615962"/>
            <a:ext cx="3886200" cy="1178169"/>
          </a:xfrm>
          <a:prstGeom prst="roundRect">
            <a:avLst/>
          </a:prstGeom>
          <a:solidFill>
            <a:srgbClr val="FFFF00">
              <a:alpha val="20000"/>
            </a:srgbClr>
          </a:solidFill>
          <a:ln>
            <a:solidFill>
              <a:srgbClr val="D83B0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8" name="Rectangle: Rounded Corners 7">
            <a:extLst>
              <a:ext uri="{FF2B5EF4-FFF2-40B4-BE49-F238E27FC236}">
                <a16:creationId xmlns:a16="http://schemas.microsoft.com/office/drawing/2014/main" id="{663F2F9F-4118-447D-8DCD-3F8356AC701F}"/>
              </a:ext>
            </a:extLst>
          </p:cNvPr>
          <p:cNvSpPr/>
          <p:nvPr/>
        </p:nvSpPr>
        <p:spPr bwMode="auto">
          <a:xfrm>
            <a:off x="6067296" y="4035668"/>
            <a:ext cx="1705103" cy="483407"/>
          </a:xfrm>
          <a:prstGeom prst="roundRect">
            <a:avLst/>
          </a:prstGeom>
          <a:solidFill>
            <a:srgbClr val="FFFF00">
              <a:alpha val="20000"/>
            </a:srgbClr>
          </a:solidFill>
          <a:ln>
            <a:solidFill>
              <a:srgbClr val="D83B0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3785750253"/>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92CFAD-07BF-4084-AE4A-134A87B892C4}"/>
              </a:ext>
            </a:extLst>
          </p:cNvPr>
          <p:cNvSpPr>
            <a:spLocks noGrp="1"/>
          </p:cNvSpPr>
          <p:nvPr>
            <p:ph type="title"/>
          </p:nvPr>
        </p:nvSpPr>
        <p:spPr>
          <a:xfrm>
            <a:off x="269239" y="2084172"/>
            <a:ext cx="11653523" cy="2139688"/>
          </a:xfrm>
        </p:spPr>
        <p:txBody>
          <a:bodyPr/>
          <a:lstStyle/>
          <a:p>
            <a:r>
              <a:rPr lang="en-US" dirty="0"/>
              <a:t>Deploy Desktop and App Host Pools using Gold Image</a:t>
            </a:r>
          </a:p>
        </p:txBody>
      </p:sp>
    </p:spTree>
    <p:extLst>
      <p:ext uri="{BB962C8B-B14F-4D97-AF65-F5344CB8AC3E}">
        <p14:creationId xmlns:p14="http://schemas.microsoft.com/office/powerpoint/2010/main" val="1018027277"/>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C5571B7-4F24-400F-ABE3-B82B995C0809}"/>
              </a:ext>
            </a:extLst>
          </p:cNvPr>
          <p:cNvSpPr>
            <a:spLocks noGrp="1"/>
          </p:cNvSpPr>
          <p:nvPr>
            <p:ph type="title"/>
          </p:nvPr>
        </p:nvSpPr>
        <p:spPr/>
        <p:txBody>
          <a:bodyPr/>
          <a:lstStyle/>
          <a:p>
            <a:r>
              <a:rPr lang="en-US" dirty="0"/>
              <a:t>Scenario – More Details</a:t>
            </a:r>
          </a:p>
        </p:txBody>
      </p:sp>
      <p:graphicFrame>
        <p:nvGraphicFramePr>
          <p:cNvPr id="6" name="Table 6">
            <a:extLst>
              <a:ext uri="{FF2B5EF4-FFF2-40B4-BE49-F238E27FC236}">
                <a16:creationId xmlns:a16="http://schemas.microsoft.com/office/drawing/2014/main" id="{A7F08F50-19E9-48C7-AE54-F467D19FF372}"/>
              </a:ext>
            </a:extLst>
          </p:cNvPr>
          <p:cNvGraphicFramePr>
            <a:graphicFrameLocks noGrp="1"/>
          </p:cNvGraphicFramePr>
          <p:nvPr>
            <p:extLst>
              <p:ext uri="{D42A27DB-BD31-4B8C-83A1-F6EECF244321}">
                <p14:modId xmlns:p14="http://schemas.microsoft.com/office/powerpoint/2010/main" val="3646115774"/>
              </p:ext>
            </p:extLst>
          </p:nvPr>
        </p:nvGraphicFramePr>
        <p:xfrm>
          <a:off x="479245" y="1189176"/>
          <a:ext cx="11338944" cy="5314696"/>
        </p:xfrm>
        <a:graphic>
          <a:graphicData uri="http://schemas.openxmlformats.org/drawingml/2006/table">
            <a:tbl>
              <a:tblPr firstRow="1" bandRow="1">
                <a:tableStyleId>{5C22544A-7EE6-4342-B048-85BDC9FD1C3A}</a:tableStyleId>
              </a:tblPr>
              <a:tblGrid>
                <a:gridCol w="4411932">
                  <a:extLst>
                    <a:ext uri="{9D8B030D-6E8A-4147-A177-3AD203B41FA5}">
                      <a16:colId xmlns:a16="http://schemas.microsoft.com/office/drawing/2014/main" val="2716148925"/>
                    </a:ext>
                  </a:extLst>
                </a:gridCol>
                <a:gridCol w="6927012">
                  <a:extLst>
                    <a:ext uri="{9D8B030D-6E8A-4147-A177-3AD203B41FA5}">
                      <a16:colId xmlns:a16="http://schemas.microsoft.com/office/drawing/2014/main" val="3380017239"/>
                    </a:ext>
                  </a:extLst>
                </a:gridCol>
              </a:tblGrid>
              <a:tr h="370840">
                <a:tc>
                  <a:txBody>
                    <a:bodyPr/>
                    <a:lstStyle/>
                    <a:p>
                      <a:r>
                        <a:rPr lang="en-US" dirty="0"/>
                        <a:t>Client Situation</a:t>
                      </a:r>
                    </a:p>
                  </a:txBody>
                  <a:tcPr/>
                </a:tc>
                <a:tc>
                  <a:txBody>
                    <a:bodyPr/>
                    <a:lstStyle/>
                    <a:p>
                      <a:r>
                        <a:rPr lang="en-US" dirty="0"/>
                        <a:t>Design Considerations</a:t>
                      </a:r>
                    </a:p>
                  </a:txBody>
                  <a:tcPr/>
                </a:tc>
                <a:extLst>
                  <a:ext uri="{0D108BD9-81ED-4DB2-BD59-A6C34878D82A}">
                    <a16:rowId xmlns:a16="http://schemas.microsoft.com/office/drawing/2014/main" val="3924100202"/>
                  </a:ext>
                </a:extLst>
              </a:tr>
              <a:tr h="370840">
                <a:tc>
                  <a:txBody>
                    <a:bodyPr/>
                    <a:lstStyle/>
                    <a:p>
                      <a:pPr marL="0" indent="0">
                        <a:buFont typeface="Arial" panose="020B0604020202020204" pitchFamily="34" charset="0"/>
                        <a:buNone/>
                      </a:pPr>
                      <a:r>
                        <a:rPr lang="en-US" dirty="0"/>
                        <a:t>Working w/client w/O365 already deployed - AAD in sync w/AD on-prem</a:t>
                      </a:r>
                    </a:p>
                  </a:txBody>
                  <a:tcPr/>
                </a:tc>
                <a:tc>
                  <a:txBody>
                    <a:bodyPr/>
                    <a:lstStyle/>
                    <a:p>
                      <a:r>
                        <a:rPr lang="en-US" dirty="0"/>
                        <a:t>We need to know if AAD Global Admin can help w/pre-</a:t>
                      </a:r>
                      <a:r>
                        <a:rPr lang="en-US" dirty="0" err="1"/>
                        <a:t>reqs</a:t>
                      </a:r>
                      <a:r>
                        <a:rPr lang="en-US" dirty="0"/>
                        <a:t> (allow WVD service to read AAD &amp; assign Tenant Creator Roles</a:t>
                      </a:r>
                    </a:p>
                  </a:txBody>
                  <a:tcPr/>
                </a:tc>
                <a:extLst>
                  <a:ext uri="{0D108BD9-81ED-4DB2-BD59-A6C34878D82A}">
                    <a16:rowId xmlns:a16="http://schemas.microsoft.com/office/drawing/2014/main" val="3702526717"/>
                  </a:ext>
                </a:extLst>
              </a:tr>
              <a:tr h="370840">
                <a:tc>
                  <a:txBody>
                    <a:bodyPr/>
                    <a:lstStyle/>
                    <a:p>
                      <a:r>
                        <a:rPr lang="en-US" dirty="0"/>
                        <a:t>Client uses GPO’s to map drives to on-prem file servers</a:t>
                      </a:r>
                    </a:p>
                  </a:txBody>
                  <a:tcPr/>
                </a:tc>
                <a:tc>
                  <a:txBody>
                    <a:bodyPr/>
                    <a:lstStyle/>
                    <a:p>
                      <a:r>
                        <a:rPr lang="en-US" dirty="0"/>
                        <a:t>How fast is link to on-prem?  What size files are being used by VMs in Azure?  What will performance look like?</a:t>
                      </a:r>
                    </a:p>
                  </a:txBody>
                  <a:tcPr/>
                </a:tc>
                <a:extLst>
                  <a:ext uri="{0D108BD9-81ED-4DB2-BD59-A6C34878D82A}">
                    <a16:rowId xmlns:a16="http://schemas.microsoft.com/office/drawing/2014/main" val="4072375617"/>
                  </a:ext>
                </a:extLst>
              </a:tr>
              <a:tr h="370840">
                <a:tc>
                  <a:txBody>
                    <a:bodyPr/>
                    <a:lstStyle/>
                    <a:p>
                      <a:r>
                        <a:rPr lang="en-US" dirty="0"/>
                        <a:t>Client wants end-user experience that supports Roaming Profiles across WVD systems and Published Apps</a:t>
                      </a:r>
                    </a:p>
                  </a:txBody>
                  <a:tcPr/>
                </a:tc>
                <a:tc>
                  <a:txBody>
                    <a:bodyPr/>
                    <a:lstStyle/>
                    <a:p>
                      <a:r>
                        <a:rPr lang="en-US" dirty="0"/>
                        <a:t>FSLogix deployment to support Roaming between machines</a:t>
                      </a:r>
                    </a:p>
                    <a:p>
                      <a:r>
                        <a:rPr lang="en-US" dirty="0"/>
                        <a:t>Different FSLogix Profiles for full Desktops and individual Apps</a:t>
                      </a:r>
                    </a:p>
                    <a:p>
                      <a:r>
                        <a:rPr lang="en-US" dirty="0"/>
                        <a:t>File Server, Azure Files, or NetApp to host Profiles</a:t>
                      </a:r>
                    </a:p>
                  </a:txBody>
                  <a:tcPr/>
                </a:tc>
                <a:extLst>
                  <a:ext uri="{0D108BD9-81ED-4DB2-BD59-A6C34878D82A}">
                    <a16:rowId xmlns:a16="http://schemas.microsoft.com/office/drawing/2014/main" val="2042952530"/>
                  </a:ext>
                </a:extLst>
              </a:tr>
              <a:tr h="370840">
                <a:tc>
                  <a:txBody>
                    <a:bodyPr/>
                    <a:lstStyle/>
                    <a:p>
                      <a:r>
                        <a:rPr lang="en-US" dirty="0"/>
                        <a:t>Client has both Server and Windows 10 requirements in WVD</a:t>
                      </a:r>
                    </a:p>
                  </a:txBody>
                  <a:tcPr/>
                </a:tc>
                <a:tc>
                  <a:txBody>
                    <a:bodyPr/>
                    <a:lstStyle/>
                    <a:p>
                      <a:r>
                        <a:rPr lang="en-US" dirty="0"/>
                        <a:t>Licensing must be in place for each / they are different</a:t>
                      </a:r>
                    </a:p>
                  </a:txBody>
                  <a:tcPr/>
                </a:tc>
                <a:extLst>
                  <a:ext uri="{0D108BD9-81ED-4DB2-BD59-A6C34878D82A}">
                    <a16:rowId xmlns:a16="http://schemas.microsoft.com/office/drawing/2014/main" val="1010361132"/>
                  </a:ext>
                </a:extLst>
              </a:tr>
              <a:tr h="370840">
                <a:tc>
                  <a:txBody>
                    <a:bodyPr/>
                    <a:lstStyle/>
                    <a:p>
                      <a:r>
                        <a:rPr lang="en-US" dirty="0"/>
                        <a:t>Client wants cost estimates before moving forward</a:t>
                      </a:r>
                    </a:p>
                  </a:txBody>
                  <a:tcPr/>
                </a:tc>
                <a:tc>
                  <a:txBody>
                    <a:bodyPr/>
                    <a:lstStyle/>
                    <a:p>
                      <a:r>
                        <a:rPr lang="en-US" dirty="0"/>
                        <a:t>Cost calculator work to determine costs based on load</a:t>
                      </a:r>
                    </a:p>
                  </a:txBody>
                  <a:tcPr/>
                </a:tc>
                <a:extLst>
                  <a:ext uri="{0D108BD9-81ED-4DB2-BD59-A6C34878D82A}">
                    <a16:rowId xmlns:a16="http://schemas.microsoft.com/office/drawing/2014/main" val="3807520686"/>
                  </a:ext>
                </a:extLst>
              </a:tr>
              <a:tr h="370840">
                <a:tc>
                  <a:txBody>
                    <a:bodyPr/>
                    <a:lstStyle/>
                    <a:p>
                      <a:r>
                        <a:rPr lang="en-US" dirty="0"/>
                        <a:t>Client requires protocol encryption, does not want dependency on VPN for remote user access to VDI</a:t>
                      </a:r>
                    </a:p>
                  </a:txBody>
                  <a:tcPr/>
                </a:tc>
                <a:tc>
                  <a:txBody>
                    <a:bodyPr/>
                    <a:lstStyle/>
                    <a:p>
                      <a:r>
                        <a:rPr lang="en-US" dirty="0"/>
                        <a:t>Leverage existing WVD remote access constructs to meet this requirement without further work</a:t>
                      </a:r>
                    </a:p>
                  </a:txBody>
                  <a:tcPr/>
                </a:tc>
                <a:extLst>
                  <a:ext uri="{0D108BD9-81ED-4DB2-BD59-A6C34878D82A}">
                    <a16:rowId xmlns:a16="http://schemas.microsoft.com/office/drawing/2014/main" val="1460350120"/>
                  </a:ext>
                </a:extLst>
              </a:tr>
              <a:tr h="370840">
                <a:tc>
                  <a:txBody>
                    <a:bodyPr/>
                    <a:lstStyle/>
                    <a:p>
                      <a:r>
                        <a:rPr lang="en-US" sz="1765" kern="1200" dirty="0">
                          <a:solidFill>
                            <a:schemeClr val="dk1"/>
                          </a:solidFill>
                          <a:effectLst/>
                          <a:latin typeface="+mn-lt"/>
                          <a:ea typeface="+mn-ea"/>
                          <a:cs typeface="+mn-cs"/>
                        </a:rPr>
                        <a:t>VDI desktops must be attached to a customer managed private network</a:t>
                      </a:r>
                      <a:endParaRPr lang="en-US" dirty="0"/>
                    </a:p>
                  </a:txBody>
                  <a:tcPr/>
                </a:tc>
                <a:tc>
                  <a:txBody>
                    <a:bodyPr/>
                    <a:lstStyle/>
                    <a:p>
                      <a:r>
                        <a:rPr lang="en-US" dirty="0"/>
                        <a:t>Need this info prior to any work / validate set aside for WVD</a:t>
                      </a:r>
                    </a:p>
                  </a:txBody>
                  <a:tcPr/>
                </a:tc>
                <a:extLst>
                  <a:ext uri="{0D108BD9-81ED-4DB2-BD59-A6C34878D82A}">
                    <a16:rowId xmlns:a16="http://schemas.microsoft.com/office/drawing/2014/main" val="2673142844"/>
                  </a:ext>
                </a:extLst>
              </a:tr>
            </a:tbl>
          </a:graphicData>
        </a:graphic>
      </p:graphicFrame>
    </p:spTree>
    <p:extLst>
      <p:ext uri="{BB962C8B-B14F-4D97-AF65-F5344CB8AC3E}">
        <p14:creationId xmlns:p14="http://schemas.microsoft.com/office/powerpoint/2010/main" val="233136113"/>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F205C86-7D82-4612-BAE6-9A9EFE139858}"/>
              </a:ext>
            </a:extLst>
          </p:cNvPr>
          <p:cNvPicPr>
            <a:picLocks noChangeAspect="1"/>
          </p:cNvPicPr>
          <p:nvPr/>
        </p:nvPicPr>
        <p:blipFill>
          <a:blip r:embed="rId2"/>
          <a:stretch>
            <a:fillRect/>
          </a:stretch>
        </p:blipFill>
        <p:spPr>
          <a:xfrm>
            <a:off x="2459311" y="2009775"/>
            <a:ext cx="7553325" cy="4391025"/>
          </a:xfrm>
          <a:prstGeom prst="rect">
            <a:avLst/>
          </a:prstGeom>
        </p:spPr>
      </p:pic>
      <p:sp>
        <p:nvSpPr>
          <p:cNvPr id="2" name="Title 1">
            <a:extLst>
              <a:ext uri="{FF2B5EF4-FFF2-40B4-BE49-F238E27FC236}">
                <a16:creationId xmlns:a16="http://schemas.microsoft.com/office/drawing/2014/main" id="{0F42212D-9C0A-49B3-9E0B-17A669249E1B}"/>
              </a:ext>
            </a:extLst>
          </p:cNvPr>
          <p:cNvSpPr>
            <a:spLocks noGrp="1"/>
          </p:cNvSpPr>
          <p:nvPr>
            <p:ph type="title"/>
          </p:nvPr>
        </p:nvSpPr>
        <p:spPr>
          <a:xfrm>
            <a:off x="588263" y="457200"/>
            <a:ext cx="11018520" cy="430887"/>
          </a:xfrm>
        </p:spPr>
        <p:txBody>
          <a:bodyPr/>
          <a:lstStyle/>
          <a:p>
            <a:r>
              <a:rPr lang="en-US" sz="2800" b="0" spc="0" dirty="0">
                <a:ln>
                  <a:noFill/>
                </a:ln>
                <a:solidFill>
                  <a:schemeClr val="accent2">
                    <a:lumMod val="50000"/>
                    <a:lumOff val="50000"/>
                  </a:schemeClr>
                </a:solidFill>
                <a:latin typeface="Segoe UI"/>
                <a:ea typeface="Segoe UI" pitchFamily="34" charset="0"/>
                <a:hlinkClick r:id="rId3">
                  <a:extLst>
                    <a:ext uri="{A12FA001-AC4F-418D-AE19-62706E023703}">
                      <ahyp:hlinkClr xmlns:ahyp="http://schemas.microsoft.com/office/drawing/2018/hyperlinkcolor" val="tx"/>
                    </a:ext>
                  </a:extLst>
                </a:hlinkClick>
              </a:rPr>
              <a:t>Create Host Pool</a:t>
            </a:r>
            <a:r>
              <a:rPr lang="en-US" sz="2800" b="0" spc="0" dirty="0">
                <a:ln>
                  <a:noFill/>
                </a:ln>
                <a:solidFill>
                  <a:schemeClr val="accent2">
                    <a:lumMod val="50000"/>
                    <a:lumOff val="50000"/>
                  </a:schemeClr>
                </a:solidFill>
                <a:latin typeface="Segoe UI"/>
                <a:ea typeface="Segoe UI" pitchFamily="34" charset="0"/>
              </a:rPr>
              <a:t> - </a:t>
            </a:r>
            <a:r>
              <a:rPr lang="en-US" sz="2800" b="0" spc="0" dirty="0">
                <a:ln>
                  <a:noFill/>
                </a:ln>
                <a:latin typeface="Segoe UI"/>
                <a:ea typeface="Segoe UI" pitchFamily="34" charset="0"/>
              </a:rPr>
              <a:t>Basics</a:t>
            </a:r>
            <a:endParaRPr lang="en-US" dirty="0"/>
          </a:p>
        </p:txBody>
      </p:sp>
      <p:pic>
        <p:nvPicPr>
          <p:cNvPr id="4" name="Picture 3">
            <a:extLst>
              <a:ext uri="{FF2B5EF4-FFF2-40B4-BE49-F238E27FC236}">
                <a16:creationId xmlns:a16="http://schemas.microsoft.com/office/drawing/2014/main" id="{4978AB9A-B57B-4D40-9EDD-730920CC2E54}"/>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l="2584" r="14831" b="16163"/>
          <a:stretch/>
        </p:blipFill>
        <p:spPr>
          <a:xfrm>
            <a:off x="5089214" y="130374"/>
            <a:ext cx="5248276" cy="1679768"/>
          </a:xfrm>
          <a:prstGeom prst="rect">
            <a:avLst/>
          </a:prstGeom>
          <a:ln>
            <a:solidFill>
              <a:schemeClr val="tx1"/>
            </a:solidFill>
          </a:ln>
        </p:spPr>
      </p:pic>
      <p:sp>
        <p:nvSpPr>
          <p:cNvPr id="3" name="Rectangle: Rounded Corners 2">
            <a:extLst>
              <a:ext uri="{FF2B5EF4-FFF2-40B4-BE49-F238E27FC236}">
                <a16:creationId xmlns:a16="http://schemas.microsoft.com/office/drawing/2014/main" id="{9FBB2BC1-DBE6-4206-828D-902C7A5A38DE}"/>
              </a:ext>
            </a:extLst>
          </p:cNvPr>
          <p:cNvSpPr/>
          <p:nvPr/>
        </p:nvSpPr>
        <p:spPr bwMode="auto">
          <a:xfrm>
            <a:off x="5184716" y="4187292"/>
            <a:ext cx="4530784" cy="181906"/>
          </a:xfrm>
          <a:prstGeom prst="round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a:gradFill>
                  <a:gsLst>
                    <a:gs pos="0">
                      <a:srgbClr val="FFFFFF"/>
                    </a:gs>
                    <a:gs pos="100000">
                      <a:srgbClr val="FFFFFF"/>
                    </a:gs>
                  </a:gsLst>
                  <a:lin ang="5400000" scaled="0"/>
                </a:gradFill>
                <a:ea typeface="Segoe UI" pitchFamily="34" charset="0"/>
                <a:cs typeface="Segoe UI" pitchFamily="34" charset="0"/>
              </a:rPr>
              <a:t>Insert Name of HostPool – same one you specified in PS1 Variables</a:t>
            </a:r>
          </a:p>
        </p:txBody>
      </p:sp>
      <p:sp>
        <p:nvSpPr>
          <p:cNvPr id="21" name="Rectangle: Rounded Corners 20">
            <a:extLst>
              <a:ext uri="{FF2B5EF4-FFF2-40B4-BE49-F238E27FC236}">
                <a16:creationId xmlns:a16="http://schemas.microsoft.com/office/drawing/2014/main" id="{3A1EE3AD-40B1-478F-ACB4-D4A777CF2E3E}"/>
              </a:ext>
            </a:extLst>
          </p:cNvPr>
          <p:cNvSpPr/>
          <p:nvPr/>
        </p:nvSpPr>
        <p:spPr bwMode="auto">
          <a:xfrm>
            <a:off x="5213291" y="5010218"/>
            <a:ext cx="4530784" cy="181906"/>
          </a:xfrm>
          <a:prstGeom prst="round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50" b="1" dirty="0">
                <a:gradFill>
                  <a:gsLst>
                    <a:gs pos="0">
                      <a:srgbClr val="FFFFFF"/>
                    </a:gs>
                    <a:gs pos="100000">
                      <a:srgbClr val="FFFFFF"/>
                    </a:gs>
                  </a:gsLst>
                  <a:lin ang="5400000" scaled="0"/>
                </a:gradFill>
                <a:ea typeface="Segoe UI" pitchFamily="34" charset="0"/>
                <a:cs typeface="Segoe UI" pitchFamily="34" charset="0"/>
              </a:rPr>
              <a:t>Fill in UPNs for Full Desktop </a:t>
            </a:r>
            <a:r>
              <a:rPr lang="en-US" sz="1050" b="1" dirty="0" err="1">
                <a:gradFill>
                  <a:gsLst>
                    <a:gs pos="0">
                      <a:srgbClr val="FFFFFF"/>
                    </a:gs>
                    <a:gs pos="100000">
                      <a:srgbClr val="FFFFFF"/>
                    </a:gs>
                  </a:gsLst>
                  <a:lin ang="5400000" scaled="0"/>
                </a:gradFill>
                <a:ea typeface="Segoe UI" pitchFamily="34" charset="0"/>
                <a:cs typeface="Segoe UI" pitchFamily="34" charset="0"/>
              </a:rPr>
              <a:t>HostPools</a:t>
            </a:r>
            <a:r>
              <a:rPr lang="en-US" sz="1050" b="1" dirty="0">
                <a:gradFill>
                  <a:gsLst>
                    <a:gs pos="0">
                      <a:srgbClr val="FFFFFF"/>
                    </a:gs>
                    <a:gs pos="100000">
                      <a:srgbClr val="FFFFFF"/>
                    </a:gs>
                  </a:gsLst>
                  <a:lin ang="5400000" scaled="0"/>
                </a:gradFill>
                <a:ea typeface="Segoe UI" pitchFamily="34" charset="0"/>
                <a:cs typeface="Segoe UI" pitchFamily="34" charset="0"/>
              </a:rPr>
              <a:t> – leave blank for App </a:t>
            </a:r>
            <a:r>
              <a:rPr lang="en-US" sz="1050" b="1" dirty="0" err="1">
                <a:gradFill>
                  <a:gsLst>
                    <a:gs pos="0">
                      <a:srgbClr val="FFFFFF"/>
                    </a:gs>
                    <a:gs pos="100000">
                      <a:srgbClr val="FFFFFF"/>
                    </a:gs>
                  </a:gsLst>
                  <a:lin ang="5400000" scaled="0"/>
                </a:gradFill>
                <a:ea typeface="Segoe UI" pitchFamily="34" charset="0"/>
                <a:cs typeface="Segoe UI" pitchFamily="34" charset="0"/>
              </a:rPr>
              <a:t>HostPools</a:t>
            </a:r>
            <a:endParaRPr lang="en-US" sz="1050" b="1" dirty="0">
              <a:gradFill>
                <a:gsLst>
                  <a:gs pos="0">
                    <a:srgbClr val="FFFFFF"/>
                  </a:gs>
                  <a:gs pos="100000">
                    <a:srgbClr val="FFFFFF"/>
                  </a:gs>
                </a:gsLst>
                <a:lin ang="5400000" scaled="0"/>
              </a:gradFill>
              <a:ea typeface="Segoe UI" pitchFamily="34" charset="0"/>
              <a:cs typeface="Segoe UI" pitchFamily="34" charset="0"/>
            </a:endParaRPr>
          </a:p>
        </p:txBody>
      </p:sp>
      <p:sp>
        <p:nvSpPr>
          <p:cNvPr id="23" name="Rectangle: Rounded Corners 22">
            <a:extLst>
              <a:ext uri="{FF2B5EF4-FFF2-40B4-BE49-F238E27FC236}">
                <a16:creationId xmlns:a16="http://schemas.microsoft.com/office/drawing/2014/main" id="{D57C1DA3-68E8-434D-AFD5-87249B13764C}"/>
              </a:ext>
            </a:extLst>
          </p:cNvPr>
          <p:cNvSpPr/>
          <p:nvPr/>
        </p:nvSpPr>
        <p:spPr bwMode="auto">
          <a:xfrm>
            <a:off x="5184716" y="2208463"/>
            <a:ext cx="4330759" cy="181905"/>
          </a:xfrm>
          <a:prstGeom prst="round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a:gradFill>
                  <a:gsLst>
                    <a:gs pos="0">
                      <a:srgbClr val="FFFFFF"/>
                    </a:gs>
                    <a:gs pos="100000">
                      <a:srgbClr val="FFFFFF"/>
                    </a:gs>
                  </a:gsLst>
                  <a:lin ang="5400000" scaled="0"/>
                </a:gradFill>
                <a:ea typeface="Segoe UI" pitchFamily="34" charset="0"/>
                <a:cs typeface="Segoe UI" pitchFamily="34" charset="0"/>
              </a:rPr>
              <a:t>Ensure Correct Sub is Showing</a:t>
            </a:r>
          </a:p>
        </p:txBody>
      </p:sp>
      <p:sp>
        <p:nvSpPr>
          <p:cNvPr id="24" name="Rectangle: Rounded Corners 23">
            <a:extLst>
              <a:ext uri="{FF2B5EF4-FFF2-40B4-BE49-F238E27FC236}">
                <a16:creationId xmlns:a16="http://schemas.microsoft.com/office/drawing/2014/main" id="{950090BA-09AC-4499-8E22-D4CBB3C56D86}"/>
              </a:ext>
            </a:extLst>
          </p:cNvPr>
          <p:cNvSpPr/>
          <p:nvPr/>
        </p:nvSpPr>
        <p:spPr bwMode="auto">
          <a:xfrm>
            <a:off x="5184716" y="2617378"/>
            <a:ext cx="4330759" cy="181905"/>
          </a:xfrm>
          <a:prstGeom prst="round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a:gradFill>
                  <a:gsLst>
                    <a:gs pos="0">
                      <a:srgbClr val="FFFFFF"/>
                    </a:gs>
                    <a:gs pos="100000">
                      <a:srgbClr val="FFFFFF"/>
                    </a:gs>
                  </a:gsLst>
                  <a:lin ang="5400000" scaled="0"/>
                </a:gradFill>
                <a:ea typeface="Segoe UI" pitchFamily="34" charset="0"/>
                <a:cs typeface="Segoe UI" pitchFamily="34" charset="0"/>
              </a:rPr>
              <a:t>Choose or create Proper RG</a:t>
            </a:r>
          </a:p>
        </p:txBody>
      </p:sp>
      <p:sp>
        <p:nvSpPr>
          <p:cNvPr id="25" name="Rectangle: Rounded Corners 24">
            <a:extLst>
              <a:ext uri="{FF2B5EF4-FFF2-40B4-BE49-F238E27FC236}">
                <a16:creationId xmlns:a16="http://schemas.microsoft.com/office/drawing/2014/main" id="{1379B5C6-D8DC-40DE-8710-316D1D8AC9AF}"/>
              </a:ext>
            </a:extLst>
          </p:cNvPr>
          <p:cNvSpPr/>
          <p:nvPr/>
        </p:nvSpPr>
        <p:spPr bwMode="auto">
          <a:xfrm>
            <a:off x="5184716" y="3631151"/>
            <a:ext cx="4330759" cy="156875"/>
          </a:xfrm>
          <a:prstGeom prst="round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a:gradFill>
                  <a:gsLst>
                    <a:gs pos="0">
                      <a:srgbClr val="FFFFFF"/>
                    </a:gs>
                    <a:gs pos="100000">
                      <a:srgbClr val="FFFFFF"/>
                    </a:gs>
                  </a:gsLst>
                  <a:lin ang="5400000" scaled="0"/>
                </a:gradFill>
                <a:ea typeface="Segoe UI" pitchFamily="34" charset="0"/>
                <a:cs typeface="Segoe UI" pitchFamily="34" charset="0"/>
              </a:rPr>
              <a:t>Ensure Correct Azure Region is Selected</a:t>
            </a:r>
          </a:p>
        </p:txBody>
      </p:sp>
      <p:pic>
        <p:nvPicPr>
          <p:cNvPr id="6" name="Picture 5">
            <a:extLst>
              <a:ext uri="{FF2B5EF4-FFF2-40B4-BE49-F238E27FC236}">
                <a16:creationId xmlns:a16="http://schemas.microsoft.com/office/drawing/2014/main" id="{277E68DE-02B3-4468-8658-9B667AD2E645}"/>
              </a:ext>
            </a:extLst>
          </p:cNvPr>
          <p:cNvPicPr>
            <a:picLocks noChangeAspect="1"/>
          </p:cNvPicPr>
          <p:nvPr/>
        </p:nvPicPr>
        <p:blipFill>
          <a:blip r:embed="rId5"/>
          <a:stretch>
            <a:fillRect/>
          </a:stretch>
        </p:blipFill>
        <p:spPr>
          <a:xfrm>
            <a:off x="3169443" y="1389881"/>
            <a:ext cx="5853113" cy="533767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33627574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xit" presetSubtype="0" fill="hold" nodeType="withEffect">
                                  <p:stCondLst>
                                    <p:cond delay="0"/>
                                  </p:stCondLst>
                                  <p:childTnLst>
                                    <p:set>
                                      <p:cBhvr>
                                        <p:cTn id="8" dur="1" fill="hold">
                                          <p:stCondLst>
                                            <p:cond delay="0"/>
                                          </p:stCondLst>
                                        </p:cTn>
                                        <p:tgtEl>
                                          <p:spTgt spid="6"/>
                                        </p:tgtEl>
                                        <p:attrNameLst>
                                          <p:attrName>style.visibility</p:attrName>
                                        </p:attrNameLst>
                                      </p:cBhvr>
                                      <p:to>
                                        <p:strVal val="hidden"/>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1"/>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21" grpId="0" animBg="1"/>
      <p:bldP spid="23" grpId="0" animBg="1"/>
      <p:bldP spid="24" grpId="0" animBg="1"/>
      <p:bldP spid="25"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B13E4D-1CEE-415D-A481-CA402539A360}"/>
              </a:ext>
            </a:extLst>
          </p:cNvPr>
          <p:cNvPicPr>
            <a:picLocks noChangeAspect="1"/>
          </p:cNvPicPr>
          <p:nvPr/>
        </p:nvPicPr>
        <p:blipFill>
          <a:blip r:embed="rId2"/>
          <a:stretch>
            <a:fillRect/>
          </a:stretch>
        </p:blipFill>
        <p:spPr>
          <a:xfrm>
            <a:off x="3107920" y="2495551"/>
            <a:ext cx="8915864" cy="2645490"/>
          </a:xfrm>
          <a:prstGeom prst="rect">
            <a:avLst/>
          </a:prstGeom>
        </p:spPr>
      </p:pic>
      <p:sp>
        <p:nvSpPr>
          <p:cNvPr id="2" name="Title 1">
            <a:extLst>
              <a:ext uri="{FF2B5EF4-FFF2-40B4-BE49-F238E27FC236}">
                <a16:creationId xmlns:a16="http://schemas.microsoft.com/office/drawing/2014/main" id="{0F42212D-9C0A-49B3-9E0B-17A669249E1B}"/>
              </a:ext>
            </a:extLst>
          </p:cNvPr>
          <p:cNvSpPr>
            <a:spLocks noGrp="1"/>
          </p:cNvSpPr>
          <p:nvPr>
            <p:ph type="title"/>
          </p:nvPr>
        </p:nvSpPr>
        <p:spPr>
          <a:xfrm>
            <a:off x="588263" y="457200"/>
            <a:ext cx="11018520" cy="430887"/>
          </a:xfrm>
        </p:spPr>
        <p:txBody>
          <a:bodyPr/>
          <a:lstStyle/>
          <a:p>
            <a:r>
              <a:rPr lang="en-US" sz="2800" b="0" spc="0" dirty="0">
                <a:ln>
                  <a:noFill/>
                </a:ln>
                <a:solidFill>
                  <a:schemeClr val="accent2">
                    <a:lumMod val="50000"/>
                    <a:lumOff val="50000"/>
                  </a:schemeClr>
                </a:solidFill>
                <a:latin typeface="Segoe UI"/>
                <a:ea typeface="Segoe UI" pitchFamily="34" charset="0"/>
                <a:hlinkClick r:id="rId3">
                  <a:extLst>
                    <a:ext uri="{A12FA001-AC4F-418D-AE19-62706E023703}">
                      <ahyp:hlinkClr xmlns:ahyp="http://schemas.microsoft.com/office/drawing/2018/hyperlinkcolor" val="tx"/>
                    </a:ext>
                  </a:extLst>
                </a:hlinkClick>
              </a:rPr>
              <a:t>Create Host Pool</a:t>
            </a:r>
            <a:r>
              <a:rPr lang="en-US" sz="2800" spc="0" dirty="0">
                <a:ln>
                  <a:noFill/>
                </a:ln>
                <a:solidFill>
                  <a:schemeClr val="accent2">
                    <a:lumMod val="50000"/>
                    <a:lumOff val="50000"/>
                  </a:schemeClr>
                </a:solidFill>
                <a:latin typeface="Segoe UI"/>
                <a:ea typeface="Segoe UI" pitchFamily="34" charset="0"/>
              </a:rPr>
              <a:t> - </a:t>
            </a:r>
            <a:r>
              <a:rPr lang="en-US" sz="2800" spc="0" dirty="0">
                <a:ln>
                  <a:noFill/>
                </a:ln>
                <a:latin typeface="Segoe UI"/>
                <a:ea typeface="Segoe UI" pitchFamily="34" charset="0"/>
              </a:rPr>
              <a:t>Configure virtual machines</a:t>
            </a:r>
            <a:endParaRPr lang="en-US" dirty="0"/>
          </a:p>
        </p:txBody>
      </p:sp>
      <p:sp>
        <p:nvSpPr>
          <p:cNvPr id="10" name="Arrow: Right 9">
            <a:extLst>
              <a:ext uri="{FF2B5EF4-FFF2-40B4-BE49-F238E27FC236}">
                <a16:creationId xmlns:a16="http://schemas.microsoft.com/office/drawing/2014/main" id="{10B5EF23-3588-447F-981F-F0B7BFAEA50A}"/>
              </a:ext>
            </a:extLst>
          </p:cNvPr>
          <p:cNvSpPr/>
          <p:nvPr/>
        </p:nvSpPr>
        <p:spPr bwMode="auto">
          <a:xfrm rot="20262469">
            <a:off x="3081808" y="4761402"/>
            <a:ext cx="3401838" cy="1235667"/>
          </a:xfrm>
          <a:prstGeom prst="rightArrow">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a:gradFill>
                  <a:gsLst>
                    <a:gs pos="0">
                      <a:srgbClr val="FFFFFF"/>
                    </a:gs>
                    <a:gs pos="100000">
                      <a:srgbClr val="FFFFFF"/>
                    </a:gs>
                  </a:gsLst>
                  <a:lin ang="5400000" scaled="0"/>
                </a:gradFill>
                <a:ea typeface="Segoe UI" pitchFamily="34" charset="0"/>
                <a:cs typeface="Segoe UI" pitchFamily="34" charset="0"/>
              </a:rPr>
              <a:t>AD Name for VMs – will be appended with -0, -1, -2, </a:t>
            </a:r>
            <a:r>
              <a:rPr lang="en-US" sz="1200" b="1" dirty="0" err="1">
                <a:gradFill>
                  <a:gsLst>
                    <a:gs pos="0">
                      <a:srgbClr val="FFFFFF"/>
                    </a:gs>
                    <a:gs pos="100000">
                      <a:srgbClr val="FFFFFF"/>
                    </a:gs>
                  </a:gsLst>
                  <a:lin ang="5400000" scaled="0"/>
                </a:gradFill>
                <a:ea typeface="Segoe UI" pitchFamily="34" charset="0"/>
                <a:cs typeface="Segoe UI" pitchFamily="34" charset="0"/>
              </a:rPr>
              <a:t>etc</a:t>
            </a:r>
            <a:r>
              <a:rPr lang="en-US" sz="1200" b="1" dirty="0">
                <a:gradFill>
                  <a:gsLst>
                    <a:gs pos="0">
                      <a:srgbClr val="FFFFFF"/>
                    </a:gs>
                    <a:gs pos="100000">
                      <a:srgbClr val="FFFFFF"/>
                    </a:gs>
                  </a:gsLst>
                  <a:lin ang="5400000" scaled="0"/>
                </a:gradFill>
                <a:ea typeface="Segoe UI" pitchFamily="34" charset="0"/>
                <a:cs typeface="Segoe UI" pitchFamily="34" charset="0"/>
              </a:rPr>
              <a:t>…</a:t>
            </a:r>
          </a:p>
        </p:txBody>
      </p:sp>
      <p:sp>
        <p:nvSpPr>
          <p:cNvPr id="20" name="Rectangle: Rounded Corners 19">
            <a:extLst>
              <a:ext uri="{FF2B5EF4-FFF2-40B4-BE49-F238E27FC236}">
                <a16:creationId xmlns:a16="http://schemas.microsoft.com/office/drawing/2014/main" id="{AEE018F2-68CF-4792-99C0-3D408C5CE52F}"/>
              </a:ext>
            </a:extLst>
          </p:cNvPr>
          <p:cNvSpPr/>
          <p:nvPr/>
        </p:nvSpPr>
        <p:spPr bwMode="auto">
          <a:xfrm>
            <a:off x="6275679" y="3145126"/>
            <a:ext cx="2811171" cy="232562"/>
          </a:xfrm>
          <a:prstGeom prst="round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a:gradFill>
                  <a:gsLst>
                    <a:gs pos="0">
                      <a:srgbClr val="FFFFFF"/>
                    </a:gs>
                    <a:gs pos="100000">
                      <a:srgbClr val="FFFFFF"/>
                    </a:gs>
                  </a:gsLst>
                  <a:lin ang="5400000" scaled="0"/>
                </a:gradFill>
                <a:ea typeface="Segoe UI" pitchFamily="34" charset="0"/>
                <a:cs typeface="Segoe UI" pitchFamily="34" charset="0"/>
              </a:rPr>
              <a:t>Change to 20 for POC Purposes</a:t>
            </a:r>
          </a:p>
        </p:txBody>
      </p:sp>
      <p:sp>
        <p:nvSpPr>
          <p:cNvPr id="11" name="Arrow: Left 10">
            <a:extLst>
              <a:ext uri="{FF2B5EF4-FFF2-40B4-BE49-F238E27FC236}">
                <a16:creationId xmlns:a16="http://schemas.microsoft.com/office/drawing/2014/main" id="{D256D348-FCBE-4118-89E7-9AC0106294DE}"/>
              </a:ext>
            </a:extLst>
          </p:cNvPr>
          <p:cNvSpPr/>
          <p:nvPr/>
        </p:nvSpPr>
        <p:spPr bwMode="auto">
          <a:xfrm>
            <a:off x="8096250" y="3455595"/>
            <a:ext cx="3424808" cy="1066799"/>
          </a:xfrm>
          <a:prstGeom prst="leftArrow">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a:gradFill>
                  <a:gsLst>
                    <a:gs pos="0">
                      <a:srgbClr val="FFFFFF"/>
                    </a:gs>
                    <a:gs pos="100000">
                      <a:srgbClr val="FFFFFF"/>
                    </a:gs>
                  </a:gsLst>
                  <a:lin ang="5400000" scaled="0"/>
                </a:gradFill>
                <a:ea typeface="Segoe UI" pitchFamily="34" charset="0"/>
                <a:cs typeface="Segoe UI" pitchFamily="34" charset="0"/>
              </a:rPr>
              <a:t>Should change to 2 VMs here; can change to VMs to GPU-enabled if needed</a:t>
            </a:r>
          </a:p>
        </p:txBody>
      </p:sp>
    </p:spTree>
    <p:extLst>
      <p:ext uri="{BB962C8B-B14F-4D97-AF65-F5344CB8AC3E}">
        <p14:creationId xmlns:p14="http://schemas.microsoft.com/office/powerpoint/2010/main" val="3381059975"/>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6431951-6CA9-4311-B89F-D8DA8FC11686}"/>
              </a:ext>
            </a:extLst>
          </p:cNvPr>
          <p:cNvPicPr>
            <a:picLocks noChangeAspect="1"/>
          </p:cNvPicPr>
          <p:nvPr/>
        </p:nvPicPr>
        <p:blipFill>
          <a:blip r:embed="rId2"/>
          <a:stretch>
            <a:fillRect/>
          </a:stretch>
        </p:blipFill>
        <p:spPr>
          <a:xfrm>
            <a:off x="3507816" y="1239253"/>
            <a:ext cx="7292880" cy="5472487"/>
          </a:xfrm>
          <a:prstGeom prst="rect">
            <a:avLst/>
          </a:prstGeom>
        </p:spPr>
      </p:pic>
      <p:sp>
        <p:nvSpPr>
          <p:cNvPr id="20" name="Arrow: Right 19">
            <a:extLst>
              <a:ext uri="{FF2B5EF4-FFF2-40B4-BE49-F238E27FC236}">
                <a16:creationId xmlns:a16="http://schemas.microsoft.com/office/drawing/2014/main" id="{61EBE049-66B1-4AC3-844A-E80AB2E7D7DC}"/>
              </a:ext>
            </a:extLst>
          </p:cNvPr>
          <p:cNvSpPr/>
          <p:nvPr/>
        </p:nvSpPr>
        <p:spPr bwMode="auto">
          <a:xfrm>
            <a:off x="6035113" y="1050309"/>
            <a:ext cx="2105025" cy="800323"/>
          </a:xfrm>
          <a:prstGeom prst="rightArrow">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a:gradFill>
                  <a:gsLst>
                    <a:gs pos="0">
                      <a:srgbClr val="FFFFFF"/>
                    </a:gs>
                    <a:gs pos="100000">
                      <a:srgbClr val="FFFFFF"/>
                    </a:gs>
                  </a:gsLst>
                  <a:lin ang="5400000" scaled="0"/>
                </a:gradFill>
                <a:ea typeface="Segoe UI" pitchFamily="34" charset="0"/>
                <a:cs typeface="Segoe UI" pitchFamily="34" charset="0"/>
              </a:rPr>
              <a:t>Leave Default as-is</a:t>
            </a:r>
          </a:p>
        </p:txBody>
      </p:sp>
      <p:sp>
        <p:nvSpPr>
          <p:cNvPr id="23" name="Rectangle: Rounded Corners 22">
            <a:extLst>
              <a:ext uri="{FF2B5EF4-FFF2-40B4-BE49-F238E27FC236}">
                <a16:creationId xmlns:a16="http://schemas.microsoft.com/office/drawing/2014/main" id="{FFBA2702-4319-4B73-B9B0-731C41C20E1D}"/>
              </a:ext>
            </a:extLst>
          </p:cNvPr>
          <p:cNvSpPr/>
          <p:nvPr/>
        </p:nvSpPr>
        <p:spPr bwMode="auto">
          <a:xfrm>
            <a:off x="6172448" y="2904516"/>
            <a:ext cx="2105025" cy="189938"/>
          </a:xfrm>
          <a:prstGeom prst="round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a:gradFill>
                  <a:gsLst>
                    <a:gs pos="0">
                      <a:srgbClr val="FFFFFF"/>
                    </a:gs>
                    <a:gs pos="100000">
                      <a:srgbClr val="FFFFFF"/>
                    </a:gs>
                  </a:gsLst>
                  <a:lin ang="5400000" scaled="0"/>
                </a:gradFill>
                <a:ea typeface="Segoe UI" pitchFamily="34" charset="0"/>
                <a:cs typeface="Segoe UI" pitchFamily="34" charset="0"/>
              </a:rPr>
              <a:t>UPN for Domain Join Account</a:t>
            </a:r>
          </a:p>
        </p:txBody>
      </p:sp>
      <p:sp>
        <p:nvSpPr>
          <p:cNvPr id="25" name="Rectangle: Rounded Corners 24">
            <a:extLst>
              <a:ext uri="{FF2B5EF4-FFF2-40B4-BE49-F238E27FC236}">
                <a16:creationId xmlns:a16="http://schemas.microsoft.com/office/drawing/2014/main" id="{E4F957BC-6F0E-41D3-947F-6D8DD3DD5F80}"/>
              </a:ext>
            </a:extLst>
          </p:cNvPr>
          <p:cNvSpPr/>
          <p:nvPr/>
        </p:nvSpPr>
        <p:spPr bwMode="auto">
          <a:xfrm>
            <a:off x="6183320" y="3693743"/>
            <a:ext cx="2105025" cy="189938"/>
          </a:xfrm>
          <a:prstGeom prst="round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a:gradFill>
                  <a:gsLst>
                    <a:gs pos="0">
                      <a:srgbClr val="FFFFFF"/>
                    </a:gs>
                    <a:gs pos="100000">
                      <a:srgbClr val="FFFFFF"/>
                    </a:gs>
                  </a:gsLst>
                  <a:lin ang="5400000" scaled="0"/>
                </a:gradFill>
                <a:ea typeface="Segoe UI" pitchFamily="34" charset="0"/>
                <a:cs typeface="Segoe UI" pitchFamily="34" charset="0"/>
              </a:rPr>
              <a:t>Pwd for Domain Join Account</a:t>
            </a:r>
          </a:p>
        </p:txBody>
      </p:sp>
      <p:sp>
        <p:nvSpPr>
          <p:cNvPr id="30" name="Rectangle: Rounded Corners 29">
            <a:extLst>
              <a:ext uri="{FF2B5EF4-FFF2-40B4-BE49-F238E27FC236}">
                <a16:creationId xmlns:a16="http://schemas.microsoft.com/office/drawing/2014/main" id="{11CC774D-BFBE-4CB7-90CB-B184E59FC6E0}"/>
              </a:ext>
            </a:extLst>
          </p:cNvPr>
          <p:cNvSpPr/>
          <p:nvPr/>
        </p:nvSpPr>
        <p:spPr bwMode="auto">
          <a:xfrm>
            <a:off x="6158523" y="5817630"/>
            <a:ext cx="2105025" cy="189938"/>
          </a:xfrm>
          <a:prstGeom prst="round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100" b="1" dirty="0">
                <a:gradFill>
                  <a:gsLst>
                    <a:gs pos="0">
                      <a:srgbClr val="FFFFFF"/>
                    </a:gs>
                    <a:gs pos="100000">
                      <a:srgbClr val="FFFFFF"/>
                    </a:gs>
                  </a:gsLst>
                  <a:lin ang="5400000" scaled="0"/>
                </a:gradFill>
                <a:ea typeface="Segoe UI" pitchFamily="34" charset="0"/>
                <a:cs typeface="Segoe UI" pitchFamily="34" charset="0"/>
              </a:rPr>
              <a:t>Select VNet used for POC</a:t>
            </a:r>
          </a:p>
        </p:txBody>
      </p:sp>
      <p:sp>
        <p:nvSpPr>
          <p:cNvPr id="31" name="Rectangle: Rounded Corners 30">
            <a:extLst>
              <a:ext uri="{FF2B5EF4-FFF2-40B4-BE49-F238E27FC236}">
                <a16:creationId xmlns:a16="http://schemas.microsoft.com/office/drawing/2014/main" id="{4F7419FD-2A6B-441E-AC6C-A29ADCA6CDDD}"/>
              </a:ext>
            </a:extLst>
          </p:cNvPr>
          <p:cNvSpPr/>
          <p:nvPr/>
        </p:nvSpPr>
        <p:spPr bwMode="auto">
          <a:xfrm>
            <a:off x="6168725" y="6402514"/>
            <a:ext cx="2105025" cy="189938"/>
          </a:xfrm>
          <a:prstGeom prst="round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100" b="1" dirty="0">
                <a:gradFill>
                  <a:gsLst>
                    <a:gs pos="0">
                      <a:srgbClr val="FFFFFF"/>
                    </a:gs>
                    <a:gs pos="100000">
                      <a:srgbClr val="FFFFFF"/>
                    </a:gs>
                  </a:gsLst>
                  <a:lin ang="5400000" scaled="0"/>
                </a:gradFill>
                <a:ea typeface="Segoe UI" pitchFamily="34" charset="0"/>
                <a:cs typeface="Segoe UI" pitchFamily="34" charset="0"/>
              </a:rPr>
              <a:t>Select Subnet used for POC</a:t>
            </a:r>
          </a:p>
        </p:txBody>
      </p:sp>
      <p:sp>
        <p:nvSpPr>
          <p:cNvPr id="32" name="Rectangle: Rounded Corners 31">
            <a:extLst>
              <a:ext uri="{FF2B5EF4-FFF2-40B4-BE49-F238E27FC236}">
                <a16:creationId xmlns:a16="http://schemas.microsoft.com/office/drawing/2014/main" id="{BE072880-6779-439D-9D91-E68B44C61336}"/>
              </a:ext>
            </a:extLst>
          </p:cNvPr>
          <p:cNvSpPr/>
          <p:nvPr/>
        </p:nvSpPr>
        <p:spPr bwMode="auto">
          <a:xfrm>
            <a:off x="6180757" y="3296366"/>
            <a:ext cx="2105025" cy="189938"/>
          </a:xfrm>
          <a:prstGeom prst="round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a:gradFill>
                  <a:gsLst>
                    <a:gs pos="0">
                      <a:srgbClr val="FFFFFF"/>
                    </a:gs>
                    <a:gs pos="100000">
                      <a:srgbClr val="FFFFFF"/>
                    </a:gs>
                  </a:gsLst>
                  <a:lin ang="5400000" scaled="0"/>
                </a:gradFill>
                <a:ea typeface="Segoe UI" pitchFamily="34" charset="0"/>
                <a:cs typeface="Segoe UI" pitchFamily="34" charset="0"/>
              </a:rPr>
              <a:t>Pwd for Domain Join Account</a:t>
            </a:r>
          </a:p>
        </p:txBody>
      </p:sp>
      <p:sp>
        <p:nvSpPr>
          <p:cNvPr id="33" name="Arrow: Left 32">
            <a:extLst>
              <a:ext uri="{FF2B5EF4-FFF2-40B4-BE49-F238E27FC236}">
                <a16:creationId xmlns:a16="http://schemas.microsoft.com/office/drawing/2014/main" id="{5B6B5E98-AA54-4565-A18B-486AEF07DC0E}"/>
              </a:ext>
            </a:extLst>
          </p:cNvPr>
          <p:cNvSpPr/>
          <p:nvPr/>
        </p:nvSpPr>
        <p:spPr bwMode="auto">
          <a:xfrm>
            <a:off x="7508283" y="3958571"/>
            <a:ext cx="2105025" cy="742694"/>
          </a:xfrm>
          <a:prstGeom prst="leftArrow">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a:gradFill>
                  <a:gsLst>
                    <a:gs pos="0">
                      <a:srgbClr val="FFFFFF"/>
                    </a:gs>
                    <a:gs pos="100000">
                      <a:srgbClr val="FFFFFF"/>
                    </a:gs>
                  </a:gsLst>
                  <a:lin ang="5400000" scaled="0"/>
                </a:gradFill>
                <a:ea typeface="Segoe UI" pitchFamily="34" charset="0"/>
                <a:cs typeface="Segoe UI" pitchFamily="34" charset="0"/>
              </a:rPr>
              <a:t>Change to Yes</a:t>
            </a:r>
          </a:p>
        </p:txBody>
      </p:sp>
      <p:sp>
        <p:nvSpPr>
          <p:cNvPr id="12" name="Oval 11">
            <a:extLst>
              <a:ext uri="{FF2B5EF4-FFF2-40B4-BE49-F238E27FC236}">
                <a16:creationId xmlns:a16="http://schemas.microsoft.com/office/drawing/2014/main" id="{8637A75C-33B3-4983-8F8E-91BC1028C58D}"/>
              </a:ext>
            </a:extLst>
          </p:cNvPr>
          <p:cNvSpPr/>
          <p:nvPr/>
        </p:nvSpPr>
        <p:spPr bwMode="auto">
          <a:xfrm>
            <a:off x="6749717" y="4155040"/>
            <a:ext cx="758566" cy="337589"/>
          </a:xfrm>
          <a:prstGeom prst="ellipse">
            <a:avLst/>
          </a:prstGeom>
          <a:noFill/>
          <a:ln w="57150">
            <a:solidFill>
              <a:srgbClr val="00A24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4" name="Arrow: Left 33">
            <a:extLst>
              <a:ext uri="{FF2B5EF4-FFF2-40B4-BE49-F238E27FC236}">
                <a16:creationId xmlns:a16="http://schemas.microsoft.com/office/drawing/2014/main" id="{8E3F7680-9299-4977-AFB0-814010EBF264}"/>
              </a:ext>
            </a:extLst>
          </p:cNvPr>
          <p:cNvSpPr/>
          <p:nvPr/>
        </p:nvSpPr>
        <p:spPr bwMode="auto">
          <a:xfrm>
            <a:off x="9911809" y="1661100"/>
            <a:ext cx="2105025" cy="1156012"/>
          </a:xfrm>
          <a:prstGeom prst="leftArrow">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a:gradFill>
                  <a:gsLst>
                    <a:gs pos="0">
                      <a:srgbClr val="FFFFFF"/>
                    </a:gs>
                    <a:gs pos="100000">
                      <a:srgbClr val="FFFFFF"/>
                    </a:gs>
                  </a:gsLst>
                  <a:lin ang="5400000" scaled="0"/>
                </a:gradFill>
                <a:ea typeface="Segoe UI" pitchFamily="34" charset="0"/>
                <a:cs typeface="Segoe UI" pitchFamily="34" charset="0"/>
              </a:rPr>
              <a:t>Ensure this is the version showing</a:t>
            </a:r>
          </a:p>
        </p:txBody>
      </p:sp>
      <p:sp>
        <p:nvSpPr>
          <p:cNvPr id="37" name="Title 1">
            <a:extLst>
              <a:ext uri="{FF2B5EF4-FFF2-40B4-BE49-F238E27FC236}">
                <a16:creationId xmlns:a16="http://schemas.microsoft.com/office/drawing/2014/main" id="{09174BB3-A298-4036-AD68-E311BD56DC1F}"/>
              </a:ext>
            </a:extLst>
          </p:cNvPr>
          <p:cNvSpPr>
            <a:spLocks noGrp="1"/>
          </p:cNvSpPr>
          <p:nvPr>
            <p:ph type="title"/>
          </p:nvPr>
        </p:nvSpPr>
        <p:spPr>
          <a:xfrm>
            <a:off x="588263" y="457200"/>
            <a:ext cx="11018520" cy="430887"/>
          </a:xfrm>
        </p:spPr>
        <p:txBody>
          <a:bodyPr/>
          <a:lstStyle/>
          <a:p>
            <a:r>
              <a:rPr lang="en-US" sz="2800" b="0" spc="0" dirty="0">
                <a:ln>
                  <a:noFill/>
                </a:ln>
                <a:solidFill>
                  <a:schemeClr val="accent2">
                    <a:lumMod val="50000"/>
                    <a:lumOff val="50000"/>
                  </a:schemeClr>
                </a:solidFill>
                <a:latin typeface="Segoe UI"/>
                <a:ea typeface="Segoe UI" pitchFamily="34" charset="0"/>
                <a:hlinkClick r:id="rId3">
                  <a:extLst>
                    <a:ext uri="{A12FA001-AC4F-418D-AE19-62706E023703}">
                      <ahyp:hlinkClr xmlns:ahyp="http://schemas.microsoft.com/office/drawing/2018/hyperlinkcolor" val="tx"/>
                    </a:ext>
                  </a:extLst>
                </a:hlinkClick>
              </a:rPr>
              <a:t>Create Host Pool</a:t>
            </a:r>
            <a:r>
              <a:rPr lang="en-US" sz="2800" spc="0" dirty="0">
                <a:ln>
                  <a:noFill/>
                </a:ln>
                <a:solidFill>
                  <a:schemeClr val="accent2">
                    <a:lumMod val="50000"/>
                    <a:lumOff val="50000"/>
                  </a:schemeClr>
                </a:solidFill>
                <a:latin typeface="Segoe UI"/>
                <a:ea typeface="Segoe UI" pitchFamily="34" charset="0"/>
              </a:rPr>
              <a:t> - </a:t>
            </a:r>
            <a:r>
              <a:rPr lang="en-US" sz="2800" spc="0" dirty="0">
                <a:ln>
                  <a:noFill/>
                </a:ln>
                <a:latin typeface="Segoe UI"/>
                <a:ea typeface="Segoe UI" pitchFamily="34" charset="0"/>
              </a:rPr>
              <a:t>Virtual machine settings</a:t>
            </a:r>
            <a:endParaRPr lang="en-US" dirty="0"/>
          </a:p>
        </p:txBody>
      </p:sp>
      <p:sp>
        <p:nvSpPr>
          <p:cNvPr id="38" name="TextBox 37">
            <a:extLst>
              <a:ext uri="{FF2B5EF4-FFF2-40B4-BE49-F238E27FC236}">
                <a16:creationId xmlns:a16="http://schemas.microsoft.com/office/drawing/2014/main" id="{F2917334-3FA1-42C0-AFD0-9A85409EEFEF}"/>
              </a:ext>
            </a:extLst>
          </p:cNvPr>
          <p:cNvSpPr txBox="1"/>
          <p:nvPr/>
        </p:nvSpPr>
        <p:spPr>
          <a:xfrm>
            <a:off x="8263548" y="12081"/>
            <a:ext cx="3928452" cy="960263"/>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Option 1: Using a Non-Customized, Gallery Image</a:t>
            </a:r>
          </a:p>
        </p:txBody>
      </p:sp>
      <p:sp>
        <p:nvSpPr>
          <p:cNvPr id="16" name="Rectangle: Rounded Corners 15">
            <a:extLst>
              <a:ext uri="{FF2B5EF4-FFF2-40B4-BE49-F238E27FC236}">
                <a16:creationId xmlns:a16="http://schemas.microsoft.com/office/drawing/2014/main" id="{9E653D91-D80C-4D0D-BACF-FE0A9B0AECFB}"/>
              </a:ext>
            </a:extLst>
          </p:cNvPr>
          <p:cNvSpPr/>
          <p:nvPr/>
        </p:nvSpPr>
        <p:spPr bwMode="auto">
          <a:xfrm>
            <a:off x="6158522" y="4627303"/>
            <a:ext cx="4417236" cy="204459"/>
          </a:xfrm>
          <a:prstGeom prst="round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100" b="1" dirty="0" err="1">
                <a:gradFill>
                  <a:gsLst>
                    <a:gs pos="0">
                      <a:srgbClr val="FFFFFF"/>
                    </a:gs>
                    <a:gs pos="100000">
                      <a:srgbClr val="FFFFFF"/>
                    </a:gs>
                  </a:gsLst>
                  <a:lin ang="5400000" scaled="0"/>
                </a:gradFill>
                <a:ea typeface="Segoe UI" pitchFamily="34" charset="0"/>
                <a:cs typeface="Segoe UI" pitchFamily="34" charset="0"/>
              </a:rPr>
              <a:t>Fqdn</a:t>
            </a:r>
            <a:r>
              <a:rPr lang="en-US" sz="1100" b="1" dirty="0">
                <a:gradFill>
                  <a:gsLst>
                    <a:gs pos="0">
                      <a:srgbClr val="FFFFFF"/>
                    </a:gs>
                    <a:gs pos="100000">
                      <a:srgbClr val="FFFFFF"/>
                    </a:gs>
                  </a:gsLst>
                  <a:lin ang="5400000" scaled="0"/>
                </a:gradFill>
                <a:ea typeface="Segoe UI" pitchFamily="34" charset="0"/>
                <a:cs typeface="Segoe UI" pitchFamily="34" charset="0"/>
              </a:rPr>
              <a:t> of AD domain NOT </a:t>
            </a:r>
            <a:r>
              <a:rPr lang="en-US" sz="1100" b="1" dirty="0" err="1">
                <a:gradFill>
                  <a:gsLst>
                    <a:gs pos="0">
                      <a:srgbClr val="FFFFFF"/>
                    </a:gs>
                    <a:gs pos="100000">
                      <a:srgbClr val="FFFFFF"/>
                    </a:gs>
                  </a:gsLst>
                  <a:lin ang="5400000" scaled="0"/>
                </a:gradFill>
                <a:ea typeface="Segoe UI" pitchFamily="34" charset="0"/>
                <a:cs typeface="Segoe UI" pitchFamily="34" charset="0"/>
              </a:rPr>
              <a:t>NetBios</a:t>
            </a:r>
            <a:r>
              <a:rPr lang="en-US" sz="1100" b="1" dirty="0">
                <a:gradFill>
                  <a:gsLst>
                    <a:gs pos="0">
                      <a:srgbClr val="FFFFFF"/>
                    </a:gs>
                    <a:gs pos="100000">
                      <a:srgbClr val="FFFFFF"/>
                    </a:gs>
                  </a:gsLst>
                  <a:lin ang="5400000" scaled="0"/>
                </a:gradFill>
                <a:ea typeface="Segoe UI" pitchFamily="34" charset="0"/>
                <a:cs typeface="Segoe UI" pitchFamily="34" charset="0"/>
              </a:rPr>
              <a:t> name (e.g. </a:t>
            </a:r>
            <a:r>
              <a:rPr lang="en-US" sz="1200" b="1" dirty="0">
                <a:gradFill>
                  <a:gsLst>
                    <a:gs pos="0">
                      <a:srgbClr val="FFFFFF"/>
                    </a:gs>
                    <a:gs pos="100000">
                      <a:srgbClr val="FFFFFF"/>
                    </a:gs>
                  </a:gsLst>
                  <a:lin ang="5400000" scaled="0"/>
                </a:gradFill>
                <a:ea typeface="Segoe UI" pitchFamily="34" charset="0"/>
                <a:cs typeface="Segoe UI" pitchFamily="34" charset="0"/>
              </a:rPr>
              <a:t>onpremad.client.edu</a:t>
            </a:r>
            <a:r>
              <a:rPr lang="en-US" sz="1100" b="1" dirty="0">
                <a:gradFill>
                  <a:gsLst>
                    <a:gs pos="0">
                      <a:srgbClr val="FFFFFF"/>
                    </a:gs>
                    <a:gs pos="100000">
                      <a:srgbClr val="FFFFFF"/>
                    </a:gs>
                  </a:gsLst>
                  <a:lin ang="5400000" scaled="0"/>
                </a:gradFill>
                <a:ea typeface="Segoe UI" pitchFamily="34" charset="0"/>
                <a:cs typeface="Segoe UI" pitchFamily="34" charset="0"/>
              </a:rPr>
              <a:t>)</a:t>
            </a:r>
          </a:p>
        </p:txBody>
      </p:sp>
      <p:sp>
        <p:nvSpPr>
          <p:cNvPr id="17" name="Rectangle: Rounded Corners 16">
            <a:extLst>
              <a:ext uri="{FF2B5EF4-FFF2-40B4-BE49-F238E27FC236}">
                <a16:creationId xmlns:a16="http://schemas.microsoft.com/office/drawing/2014/main" id="{C0075FC7-4F12-4348-B84C-C087DBA505A6}"/>
              </a:ext>
            </a:extLst>
          </p:cNvPr>
          <p:cNvSpPr/>
          <p:nvPr/>
        </p:nvSpPr>
        <p:spPr bwMode="auto">
          <a:xfrm>
            <a:off x="6168724" y="4980206"/>
            <a:ext cx="4503286" cy="253385"/>
          </a:xfrm>
          <a:prstGeom prst="round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900" b="1" dirty="0">
                <a:gradFill>
                  <a:gsLst>
                    <a:gs pos="0">
                      <a:srgbClr val="FFFFFF"/>
                    </a:gs>
                    <a:gs pos="100000">
                      <a:srgbClr val="FFFFFF"/>
                    </a:gs>
                  </a:gsLst>
                  <a:lin ang="5400000" scaled="0"/>
                </a:gradFill>
                <a:ea typeface="Segoe UI" pitchFamily="34" charset="0"/>
                <a:cs typeface="Segoe UI" pitchFamily="34" charset="0"/>
              </a:rPr>
              <a:t>Distinguished name of OU (e.g. </a:t>
            </a:r>
            <a:r>
              <a:rPr lang="en-US" sz="900" b="1" i="1" dirty="0"/>
              <a:t>OU=</a:t>
            </a:r>
            <a:r>
              <a:rPr lang="en-US" sz="900" b="1" i="1" dirty="0" err="1"/>
              <a:t>Users,OU</a:t>
            </a:r>
            <a:r>
              <a:rPr lang="en-US" sz="900" b="1" i="1" dirty="0"/>
              <a:t>=Company_1OU,DC=Company_1,DC=internal)</a:t>
            </a:r>
            <a:endParaRPr lang="en-US" sz="900" b="1"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89098925"/>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70CDD81-3FDC-4265-BCCA-35D6E1240BEC}"/>
              </a:ext>
            </a:extLst>
          </p:cNvPr>
          <p:cNvPicPr>
            <a:picLocks noChangeAspect="1"/>
          </p:cNvPicPr>
          <p:nvPr/>
        </p:nvPicPr>
        <p:blipFill>
          <a:blip r:embed="rId2"/>
          <a:stretch>
            <a:fillRect/>
          </a:stretch>
        </p:blipFill>
        <p:spPr>
          <a:xfrm>
            <a:off x="3929427" y="1045577"/>
            <a:ext cx="6333510" cy="5713928"/>
          </a:xfrm>
          <a:prstGeom prst="rect">
            <a:avLst/>
          </a:prstGeom>
        </p:spPr>
      </p:pic>
      <p:sp>
        <p:nvSpPr>
          <p:cNvPr id="2" name="Title 1">
            <a:extLst>
              <a:ext uri="{FF2B5EF4-FFF2-40B4-BE49-F238E27FC236}">
                <a16:creationId xmlns:a16="http://schemas.microsoft.com/office/drawing/2014/main" id="{0F42212D-9C0A-49B3-9E0B-17A669249E1B}"/>
              </a:ext>
            </a:extLst>
          </p:cNvPr>
          <p:cNvSpPr>
            <a:spLocks noGrp="1"/>
          </p:cNvSpPr>
          <p:nvPr>
            <p:ph type="title"/>
          </p:nvPr>
        </p:nvSpPr>
        <p:spPr>
          <a:xfrm>
            <a:off x="588263" y="457200"/>
            <a:ext cx="11018520" cy="430887"/>
          </a:xfrm>
        </p:spPr>
        <p:txBody>
          <a:bodyPr/>
          <a:lstStyle/>
          <a:p>
            <a:r>
              <a:rPr lang="en-US" sz="2800" b="0" spc="0" dirty="0">
                <a:ln>
                  <a:noFill/>
                </a:ln>
                <a:solidFill>
                  <a:schemeClr val="accent2">
                    <a:lumMod val="50000"/>
                    <a:lumOff val="50000"/>
                  </a:schemeClr>
                </a:solidFill>
                <a:latin typeface="Segoe UI"/>
                <a:ea typeface="Segoe UI" pitchFamily="34" charset="0"/>
                <a:hlinkClick r:id="rId3">
                  <a:extLst>
                    <a:ext uri="{A12FA001-AC4F-418D-AE19-62706E023703}">
                      <ahyp:hlinkClr xmlns:ahyp="http://schemas.microsoft.com/office/drawing/2018/hyperlinkcolor" val="tx"/>
                    </a:ext>
                  </a:extLst>
                </a:hlinkClick>
              </a:rPr>
              <a:t>Create Host Pool</a:t>
            </a:r>
            <a:r>
              <a:rPr lang="en-US" sz="2800" spc="0" dirty="0">
                <a:ln>
                  <a:noFill/>
                </a:ln>
                <a:solidFill>
                  <a:schemeClr val="accent2">
                    <a:lumMod val="50000"/>
                    <a:lumOff val="50000"/>
                  </a:schemeClr>
                </a:solidFill>
                <a:latin typeface="Segoe UI"/>
                <a:ea typeface="Segoe UI" pitchFamily="34" charset="0"/>
              </a:rPr>
              <a:t> - </a:t>
            </a:r>
            <a:r>
              <a:rPr lang="en-US" sz="2800" spc="0" dirty="0">
                <a:ln>
                  <a:noFill/>
                </a:ln>
                <a:latin typeface="Segoe UI"/>
                <a:ea typeface="Segoe UI" pitchFamily="34" charset="0"/>
              </a:rPr>
              <a:t>Virtual machine settings</a:t>
            </a:r>
            <a:endParaRPr lang="en-US" dirty="0"/>
          </a:p>
        </p:txBody>
      </p:sp>
      <p:sp>
        <p:nvSpPr>
          <p:cNvPr id="3" name="TextBox 2">
            <a:extLst>
              <a:ext uri="{FF2B5EF4-FFF2-40B4-BE49-F238E27FC236}">
                <a16:creationId xmlns:a16="http://schemas.microsoft.com/office/drawing/2014/main" id="{1D52CF1E-C36D-4E21-BC0C-6D3D5952DA29}"/>
              </a:ext>
            </a:extLst>
          </p:cNvPr>
          <p:cNvSpPr txBox="1"/>
          <p:nvPr/>
        </p:nvSpPr>
        <p:spPr>
          <a:xfrm>
            <a:off x="7955523" y="-50731"/>
            <a:ext cx="4236477" cy="960263"/>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Option 2: Using a Customized, Managed Image</a:t>
            </a:r>
          </a:p>
        </p:txBody>
      </p:sp>
      <p:sp>
        <p:nvSpPr>
          <p:cNvPr id="20" name="Arrow: Right 19">
            <a:extLst>
              <a:ext uri="{FF2B5EF4-FFF2-40B4-BE49-F238E27FC236}">
                <a16:creationId xmlns:a16="http://schemas.microsoft.com/office/drawing/2014/main" id="{61EBE049-66B1-4AC3-844A-E80AB2E7D7DC}"/>
              </a:ext>
            </a:extLst>
          </p:cNvPr>
          <p:cNvSpPr/>
          <p:nvPr/>
        </p:nvSpPr>
        <p:spPr bwMode="auto">
          <a:xfrm>
            <a:off x="4824864" y="842827"/>
            <a:ext cx="2235222" cy="800323"/>
          </a:xfrm>
          <a:prstGeom prst="rightArrow">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050" b="1" dirty="0">
                <a:gradFill>
                  <a:gsLst>
                    <a:gs pos="0">
                      <a:srgbClr val="FFFFFF"/>
                    </a:gs>
                    <a:gs pos="100000">
                      <a:srgbClr val="FFFFFF"/>
                    </a:gs>
                  </a:gsLst>
                  <a:lin ang="5400000" scaled="0"/>
                </a:gradFill>
                <a:ea typeface="Segoe UI" pitchFamily="34" charset="0"/>
                <a:cs typeface="Segoe UI" pitchFamily="34" charset="0"/>
              </a:rPr>
              <a:t>Change to Managed Image</a:t>
            </a:r>
          </a:p>
        </p:txBody>
      </p:sp>
      <p:sp>
        <p:nvSpPr>
          <p:cNvPr id="23" name="Rectangle: Rounded Corners 22">
            <a:extLst>
              <a:ext uri="{FF2B5EF4-FFF2-40B4-BE49-F238E27FC236}">
                <a16:creationId xmlns:a16="http://schemas.microsoft.com/office/drawing/2014/main" id="{FFBA2702-4319-4B73-B9B0-731C41C20E1D}"/>
              </a:ext>
            </a:extLst>
          </p:cNvPr>
          <p:cNvSpPr/>
          <p:nvPr/>
        </p:nvSpPr>
        <p:spPr bwMode="auto">
          <a:xfrm>
            <a:off x="6243637" y="3462477"/>
            <a:ext cx="2105025" cy="155098"/>
          </a:xfrm>
          <a:prstGeom prst="round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a:gradFill>
                  <a:gsLst>
                    <a:gs pos="0">
                      <a:srgbClr val="FFFFFF"/>
                    </a:gs>
                    <a:gs pos="100000">
                      <a:srgbClr val="FFFFFF"/>
                    </a:gs>
                  </a:gsLst>
                  <a:lin ang="5400000" scaled="0"/>
                </a:gradFill>
                <a:ea typeface="Segoe UI" pitchFamily="34" charset="0"/>
                <a:cs typeface="Segoe UI" pitchFamily="34" charset="0"/>
              </a:rPr>
              <a:t>UPN for Domain Join Account</a:t>
            </a:r>
          </a:p>
        </p:txBody>
      </p:sp>
      <p:sp>
        <p:nvSpPr>
          <p:cNvPr id="25" name="Rectangle: Rounded Corners 24">
            <a:extLst>
              <a:ext uri="{FF2B5EF4-FFF2-40B4-BE49-F238E27FC236}">
                <a16:creationId xmlns:a16="http://schemas.microsoft.com/office/drawing/2014/main" id="{E4F957BC-6F0E-41D3-947F-6D8DD3DD5F80}"/>
              </a:ext>
            </a:extLst>
          </p:cNvPr>
          <p:cNvSpPr/>
          <p:nvPr/>
        </p:nvSpPr>
        <p:spPr bwMode="auto">
          <a:xfrm>
            <a:off x="6243521" y="4135765"/>
            <a:ext cx="2105025" cy="155098"/>
          </a:xfrm>
          <a:prstGeom prst="round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100" b="1" dirty="0">
                <a:gradFill>
                  <a:gsLst>
                    <a:gs pos="0">
                      <a:srgbClr val="FFFFFF"/>
                    </a:gs>
                    <a:gs pos="100000">
                      <a:srgbClr val="FFFFFF"/>
                    </a:gs>
                  </a:gsLst>
                  <a:lin ang="5400000" scaled="0"/>
                </a:gradFill>
                <a:ea typeface="Segoe UI" pitchFamily="34" charset="0"/>
                <a:cs typeface="Segoe UI" pitchFamily="34" charset="0"/>
              </a:rPr>
              <a:t>Pwd for Domain Join Account</a:t>
            </a:r>
          </a:p>
        </p:txBody>
      </p:sp>
      <p:sp>
        <p:nvSpPr>
          <p:cNvPr id="30" name="Rectangle: Rounded Corners 29">
            <a:extLst>
              <a:ext uri="{FF2B5EF4-FFF2-40B4-BE49-F238E27FC236}">
                <a16:creationId xmlns:a16="http://schemas.microsoft.com/office/drawing/2014/main" id="{11CC774D-BFBE-4CB7-90CB-B184E59FC6E0}"/>
              </a:ext>
            </a:extLst>
          </p:cNvPr>
          <p:cNvSpPr/>
          <p:nvPr/>
        </p:nvSpPr>
        <p:spPr bwMode="auto">
          <a:xfrm>
            <a:off x="6228528" y="5997723"/>
            <a:ext cx="2105025" cy="167980"/>
          </a:xfrm>
          <a:prstGeom prst="round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100" b="1" dirty="0">
                <a:gradFill>
                  <a:gsLst>
                    <a:gs pos="0">
                      <a:srgbClr val="FFFFFF"/>
                    </a:gs>
                    <a:gs pos="100000">
                      <a:srgbClr val="FFFFFF"/>
                    </a:gs>
                  </a:gsLst>
                  <a:lin ang="5400000" scaled="0"/>
                </a:gradFill>
                <a:ea typeface="Segoe UI" pitchFamily="34" charset="0"/>
                <a:cs typeface="Segoe UI" pitchFamily="34" charset="0"/>
              </a:rPr>
              <a:t>Select VNet used for POC</a:t>
            </a:r>
          </a:p>
        </p:txBody>
      </p:sp>
      <p:sp>
        <p:nvSpPr>
          <p:cNvPr id="31" name="Rectangle: Rounded Corners 30">
            <a:extLst>
              <a:ext uri="{FF2B5EF4-FFF2-40B4-BE49-F238E27FC236}">
                <a16:creationId xmlns:a16="http://schemas.microsoft.com/office/drawing/2014/main" id="{4F7419FD-2A6B-441E-AC6C-A29ADCA6CDDD}"/>
              </a:ext>
            </a:extLst>
          </p:cNvPr>
          <p:cNvSpPr/>
          <p:nvPr/>
        </p:nvSpPr>
        <p:spPr bwMode="auto">
          <a:xfrm>
            <a:off x="6182572" y="6498477"/>
            <a:ext cx="2150981" cy="195529"/>
          </a:xfrm>
          <a:prstGeom prst="round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100" b="1" dirty="0">
                <a:gradFill>
                  <a:gsLst>
                    <a:gs pos="0">
                      <a:srgbClr val="FFFFFF"/>
                    </a:gs>
                    <a:gs pos="100000">
                      <a:srgbClr val="FFFFFF"/>
                    </a:gs>
                  </a:gsLst>
                  <a:lin ang="5400000" scaled="0"/>
                </a:gradFill>
                <a:ea typeface="Segoe UI" pitchFamily="34" charset="0"/>
                <a:cs typeface="Segoe UI" pitchFamily="34" charset="0"/>
              </a:rPr>
              <a:t>Select Subnet used for POC</a:t>
            </a:r>
          </a:p>
        </p:txBody>
      </p:sp>
      <p:sp>
        <p:nvSpPr>
          <p:cNvPr id="33" name="Arrow: Left 32">
            <a:extLst>
              <a:ext uri="{FF2B5EF4-FFF2-40B4-BE49-F238E27FC236}">
                <a16:creationId xmlns:a16="http://schemas.microsoft.com/office/drawing/2014/main" id="{5B6B5E98-AA54-4565-A18B-486AEF07DC0E}"/>
              </a:ext>
            </a:extLst>
          </p:cNvPr>
          <p:cNvSpPr/>
          <p:nvPr/>
        </p:nvSpPr>
        <p:spPr bwMode="auto">
          <a:xfrm>
            <a:off x="7452449" y="4286236"/>
            <a:ext cx="2105025" cy="723235"/>
          </a:xfrm>
          <a:prstGeom prst="leftArrow">
            <a:avLst>
              <a:gd name="adj1" fmla="val 50000"/>
              <a:gd name="adj2" fmla="val 91590"/>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050" b="1" dirty="0">
                <a:gradFill>
                  <a:gsLst>
                    <a:gs pos="0">
                      <a:srgbClr val="FFFFFF"/>
                    </a:gs>
                    <a:gs pos="100000">
                      <a:srgbClr val="FFFFFF"/>
                    </a:gs>
                  </a:gsLst>
                  <a:lin ang="5400000" scaled="0"/>
                </a:gradFill>
                <a:ea typeface="Segoe UI" pitchFamily="34" charset="0"/>
                <a:cs typeface="Segoe UI" pitchFamily="34" charset="0"/>
              </a:rPr>
              <a:t>Change to Yes</a:t>
            </a:r>
          </a:p>
        </p:txBody>
      </p:sp>
      <p:sp>
        <p:nvSpPr>
          <p:cNvPr id="12" name="Oval 11">
            <a:extLst>
              <a:ext uri="{FF2B5EF4-FFF2-40B4-BE49-F238E27FC236}">
                <a16:creationId xmlns:a16="http://schemas.microsoft.com/office/drawing/2014/main" id="{8637A75C-33B3-4983-8F8E-91BC1028C58D}"/>
              </a:ext>
            </a:extLst>
          </p:cNvPr>
          <p:cNvSpPr/>
          <p:nvPr/>
        </p:nvSpPr>
        <p:spPr bwMode="auto">
          <a:xfrm>
            <a:off x="6746986" y="4570121"/>
            <a:ext cx="658490" cy="260441"/>
          </a:xfrm>
          <a:prstGeom prst="ellipse">
            <a:avLst/>
          </a:prstGeom>
          <a:noFill/>
          <a:ln w="57150">
            <a:solidFill>
              <a:srgbClr val="00A24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Rounded Corners 14">
            <a:extLst>
              <a:ext uri="{FF2B5EF4-FFF2-40B4-BE49-F238E27FC236}">
                <a16:creationId xmlns:a16="http://schemas.microsoft.com/office/drawing/2014/main" id="{DC885B7A-48AF-484F-AE44-BFB9DA9D1788}"/>
              </a:ext>
            </a:extLst>
          </p:cNvPr>
          <p:cNvSpPr/>
          <p:nvPr/>
        </p:nvSpPr>
        <p:spPr bwMode="auto">
          <a:xfrm>
            <a:off x="6248537" y="3800928"/>
            <a:ext cx="2105025" cy="155098"/>
          </a:xfrm>
          <a:prstGeom prst="round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100" b="1" dirty="0">
                <a:gradFill>
                  <a:gsLst>
                    <a:gs pos="0">
                      <a:srgbClr val="FFFFFF"/>
                    </a:gs>
                    <a:gs pos="100000">
                      <a:srgbClr val="FFFFFF"/>
                    </a:gs>
                  </a:gsLst>
                  <a:lin ang="5400000" scaled="0"/>
                </a:gradFill>
                <a:ea typeface="Segoe UI" pitchFamily="34" charset="0"/>
                <a:cs typeface="Segoe UI" pitchFamily="34" charset="0"/>
              </a:rPr>
              <a:t>Pwd for Domain Join Account</a:t>
            </a:r>
          </a:p>
        </p:txBody>
      </p:sp>
      <p:sp>
        <p:nvSpPr>
          <p:cNvPr id="16" name="Rectangle: Rounded Corners 15">
            <a:extLst>
              <a:ext uri="{FF2B5EF4-FFF2-40B4-BE49-F238E27FC236}">
                <a16:creationId xmlns:a16="http://schemas.microsoft.com/office/drawing/2014/main" id="{839278B1-741C-4D95-8918-1C7354294442}"/>
              </a:ext>
            </a:extLst>
          </p:cNvPr>
          <p:cNvSpPr/>
          <p:nvPr/>
        </p:nvSpPr>
        <p:spPr bwMode="auto">
          <a:xfrm>
            <a:off x="6246162" y="1519754"/>
            <a:ext cx="3490913" cy="155098"/>
          </a:xfrm>
          <a:prstGeom prst="round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a:gradFill>
                  <a:gsLst>
                    <a:gs pos="0">
                      <a:srgbClr val="FFFFFF"/>
                    </a:gs>
                    <a:gs pos="100000">
                      <a:srgbClr val="FFFFFF"/>
                    </a:gs>
                  </a:gsLst>
                  <a:lin ang="5400000" scaled="0"/>
                </a:gradFill>
                <a:ea typeface="Segoe UI" pitchFamily="34" charset="0"/>
                <a:cs typeface="Segoe UI" pitchFamily="34" charset="0"/>
              </a:rPr>
              <a:t>Paste Image Name shown on Images Node</a:t>
            </a:r>
          </a:p>
        </p:txBody>
      </p:sp>
      <p:sp>
        <p:nvSpPr>
          <p:cNvPr id="17" name="Rectangle: Rounded Corners 16">
            <a:extLst>
              <a:ext uri="{FF2B5EF4-FFF2-40B4-BE49-F238E27FC236}">
                <a16:creationId xmlns:a16="http://schemas.microsoft.com/office/drawing/2014/main" id="{B8258340-1B87-46B2-B0C0-36695080E982}"/>
              </a:ext>
            </a:extLst>
          </p:cNvPr>
          <p:cNvSpPr/>
          <p:nvPr/>
        </p:nvSpPr>
        <p:spPr bwMode="auto">
          <a:xfrm>
            <a:off x="6245718" y="1855056"/>
            <a:ext cx="3490913" cy="155098"/>
          </a:xfrm>
          <a:prstGeom prst="round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a:gradFill>
                  <a:gsLst>
                    <a:gs pos="0">
                      <a:srgbClr val="FFFFFF"/>
                    </a:gs>
                    <a:gs pos="100000">
                      <a:srgbClr val="FFFFFF"/>
                    </a:gs>
                  </a:gsLst>
                  <a:lin ang="5400000" scaled="0"/>
                </a:gradFill>
                <a:ea typeface="Segoe UI" pitchFamily="34" charset="0"/>
                <a:cs typeface="Segoe UI" pitchFamily="34" charset="0"/>
              </a:rPr>
              <a:t>Paste Image RG shown on Images Node</a:t>
            </a:r>
          </a:p>
        </p:txBody>
      </p:sp>
      <p:sp>
        <p:nvSpPr>
          <p:cNvPr id="18" name="Rectangle: Rounded Corners 17">
            <a:extLst>
              <a:ext uri="{FF2B5EF4-FFF2-40B4-BE49-F238E27FC236}">
                <a16:creationId xmlns:a16="http://schemas.microsoft.com/office/drawing/2014/main" id="{E4FF8AC1-DB61-457B-96BC-CBD716CCC84A}"/>
              </a:ext>
            </a:extLst>
          </p:cNvPr>
          <p:cNvSpPr/>
          <p:nvPr/>
        </p:nvSpPr>
        <p:spPr bwMode="auto">
          <a:xfrm>
            <a:off x="6179564" y="4937125"/>
            <a:ext cx="3932978" cy="185316"/>
          </a:xfrm>
          <a:prstGeom prst="round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50" b="1" dirty="0" err="1">
                <a:gradFill>
                  <a:gsLst>
                    <a:gs pos="0">
                      <a:srgbClr val="FFFFFF"/>
                    </a:gs>
                    <a:gs pos="100000">
                      <a:srgbClr val="FFFFFF"/>
                    </a:gs>
                  </a:gsLst>
                  <a:lin ang="5400000" scaled="0"/>
                </a:gradFill>
                <a:ea typeface="Segoe UI" pitchFamily="34" charset="0"/>
                <a:cs typeface="Segoe UI" pitchFamily="34" charset="0"/>
              </a:rPr>
              <a:t>Fqdn</a:t>
            </a:r>
            <a:r>
              <a:rPr lang="en-US" sz="1050" b="1" dirty="0">
                <a:gradFill>
                  <a:gsLst>
                    <a:gs pos="0">
                      <a:srgbClr val="FFFFFF"/>
                    </a:gs>
                    <a:gs pos="100000">
                      <a:srgbClr val="FFFFFF"/>
                    </a:gs>
                  </a:gsLst>
                  <a:lin ang="5400000" scaled="0"/>
                </a:gradFill>
                <a:ea typeface="Segoe UI" pitchFamily="34" charset="0"/>
                <a:cs typeface="Segoe UI" pitchFamily="34" charset="0"/>
              </a:rPr>
              <a:t> of AD NOT </a:t>
            </a:r>
            <a:r>
              <a:rPr lang="en-US" sz="1050" b="1" dirty="0" err="1">
                <a:gradFill>
                  <a:gsLst>
                    <a:gs pos="0">
                      <a:srgbClr val="FFFFFF"/>
                    </a:gs>
                    <a:gs pos="100000">
                      <a:srgbClr val="FFFFFF"/>
                    </a:gs>
                  </a:gsLst>
                  <a:lin ang="5400000" scaled="0"/>
                </a:gradFill>
                <a:ea typeface="Segoe UI" pitchFamily="34" charset="0"/>
                <a:cs typeface="Segoe UI" pitchFamily="34" charset="0"/>
              </a:rPr>
              <a:t>NetBios</a:t>
            </a:r>
            <a:r>
              <a:rPr lang="en-US" sz="1050" b="1" dirty="0">
                <a:gradFill>
                  <a:gsLst>
                    <a:gs pos="0">
                      <a:srgbClr val="FFFFFF"/>
                    </a:gs>
                    <a:gs pos="100000">
                      <a:srgbClr val="FFFFFF"/>
                    </a:gs>
                  </a:gsLst>
                  <a:lin ang="5400000" scaled="0"/>
                </a:gradFill>
                <a:ea typeface="Segoe UI" pitchFamily="34" charset="0"/>
                <a:cs typeface="Segoe UI" pitchFamily="34" charset="0"/>
              </a:rPr>
              <a:t> name (e.g. </a:t>
            </a:r>
            <a:r>
              <a:rPr lang="en-US" sz="1100" b="1" dirty="0">
                <a:gradFill>
                  <a:gsLst>
                    <a:gs pos="0">
                      <a:srgbClr val="FFFFFF"/>
                    </a:gs>
                    <a:gs pos="100000">
                      <a:srgbClr val="FFFFFF"/>
                    </a:gs>
                  </a:gsLst>
                  <a:lin ang="5400000" scaled="0"/>
                </a:gradFill>
                <a:ea typeface="Segoe UI" pitchFamily="34" charset="0"/>
                <a:cs typeface="Segoe UI" pitchFamily="34" charset="0"/>
              </a:rPr>
              <a:t>onpremad.client.edu</a:t>
            </a:r>
            <a:r>
              <a:rPr lang="en-US" sz="1050" b="1" dirty="0">
                <a:gradFill>
                  <a:gsLst>
                    <a:gs pos="0">
                      <a:srgbClr val="FFFFFF"/>
                    </a:gs>
                    <a:gs pos="100000">
                      <a:srgbClr val="FFFFFF"/>
                    </a:gs>
                  </a:gsLst>
                  <a:lin ang="5400000" scaled="0"/>
                </a:gradFill>
                <a:ea typeface="Segoe UI" pitchFamily="34" charset="0"/>
                <a:cs typeface="Segoe UI" pitchFamily="34" charset="0"/>
              </a:rPr>
              <a:t>)</a:t>
            </a:r>
          </a:p>
        </p:txBody>
      </p:sp>
      <p:sp>
        <p:nvSpPr>
          <p:cNvPr id="19" name="Rectangle: Rounded Corners 18">
            <a:extLst>
              <a:ext uri="{FF2B5EF4-FFF2-40B4-BE49-F238E27FC236}">
                <a16:creationId xmlns:a16="http://schemas.microsoft.com/office/drawing/2014/main" id="{EB74E81A-DCE7-4100-82DA-3042908C4A9C}"/>
              </a:ext>
            </a:extLst>
          </p:cNvPr>
          <p:cNvSpPr/>
          <p:nvPr/>
        </p:nvSpPr>
        <p:spPr bwMode="auto">
          <a:xfrm>
            <a:off x="6182572" y="5249634"/>
            <a:ext cx="3932978" cy="219785"/>
          </a:xfrm>
          <a:prstGeom prst="round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900" b="1" dirty="0">
                <a:gradFill>
                  <a:gsLst>
                    <a:gs pos="0">
                      <a:srgbClr val="FFFFFF"/>
                    </a:gs>
                    <a:gs pos="100000">
                      <a:srgbClr val="FFFFFF"/>
                    </a:gs>
                  </a:gsLst>
                  <a:lin ang="5400000" scaled="0"/>
                </a:gradFill>
                <a:ea typeface="Segoe UI" pitchFamily="34" charset="0"/>
                <a:cs typeface="Segoe UI" pitchFamily="34" charset="0"/>
              </a:rPr>
              <a:t>DN of OU (e.g. </a:t>
            </a:r>
            <a:r>
              <a:rPr lang="en-US" sz="900" b="1" i="1" dirty="0"/>
              <a:t>OU=</a:t>
            </a:r>
            <a:r>
              <a:rPr lang="en-US" sz="900" b="1" i="1" dirty="0" err="1"/>
              <a:t>Users,OU</a:t>
            </a:r>
            <a:r>
              <a:rPr lang="en-US" sz="900" b="1" i="1" dirty="0"/>
              <a:t>=Company_1OU,DC=Company_1,DC=internal)</a:t>
            </a:r>
            <a:endParaRPr lang="en-US" sz="900" b="1"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77812843"/>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42212D-9C0A-49B3-9E0B-17A669249E1B}"/>
              </a:ext>
            </a:extLst>
          </p:cNvPr>
          <p:cNvSpPr>
            <a:spLocks noGrp="1"/>
          </p:cNvSpPr>
          <p:nvPr>
            <p:ph type="title"/>
          </p:nvPr>
        </p:nvSpPr>
        <p:spPr>
          <a:xfrm>
            <a:off x="588263" y="457200"/>
            <a:ext cx="11018520" cy="430887"/>
          </a:xfrm>
        </p:spPr>
        <p:txBody>
          <a:bodyPr/>
          <a:lstStyle/>
          <a:p>
            <a:r>
              <a:rPr lang="en-US" sz="2800" b="0" spc="0" dirty="0">
                <a:ln>
                  <a:noFill/>
                </a:ln>
                <a:solidFill>
                  <a:schemeClr val="accent2">
                    <a:lumMod val="50000"/>
                    <a:lumOff val="50000"/>
                  </a:schemeClr>
                </a:solidFill>
                <a:latin typeface="Segoe UI"/>
                <a:ea typeface="Segoe UI" pitchFamily="34" charset="0"/>
                <a:hlinkClick r:id="rId2">
                  <a:extLst>
                    <a:ext uri="{A12FA001-AC4F-418D-AE19-62706E023703}">
                      <ahyp:hlinkClr xmlns:ahyp="http://schemas.microsoft.com/office/drawing/2018/hyperlinkcolor" val="tx"/>
                    </a:ext>
                  </a:extLst>
                </a:hlinkClick>
              </a:rPr>
              <a:t>Create Host Pool</a:t>
            </a:r>
            <a:r>
              <a:rPr lang="en-US" sz="2800" spc="0" dirty="0">
                <a:ln>
                  <a:noFill/>
                </a:ln>
                <a:solidFill>
                  <a:schemeClr val="accent2">
                    <a:lumMod val="50000"/>
                    <a:lumOff val="50000"/>
                  </a:schemeClr>
                </a:solidFill>
                <a:latin typeface="Segoe UI"/>
                <a:ea typeface="Segoe UI" pitchFamily="34" charset="0"/>
              </a:rPr>
              <a:t> - </a:t>
            </a:r>
            <a:r>
              <a:rPr lang="en-US" sz="2800" spc="0" dirty="0">
                <a:ln>
                  <a:noFill/>
                </a:ln>
                <a:latin typeface="Segoe UI"/>
                <a:ea typeface="Segoe UI" pitchFamily="34" charset="0"/>
              </a:rPr>
              <a:t>Windows Virtual Desktop information</a:t>
            </a:r>
            <a:endParaRPr lang="en-US" dirty="0"/>
          </a:p>
        </p:txBody>
      </p:sp>
      <p:pic>
        <p:nvPicPr>
          <p:cNvPr id="4" name="Picture 3">
            <a:extLst>
              <a:ext uri="{FF2B5EF4-FFF2-40B4-BE49-F238E27FC236}">
                <a16:creationId xmlns:a16="http://schemas.microsoft.com/office/drawing/2014/main" id="{C24AC103-4E63-4615-B06A-B63365410A95}"/>
              </a:ext>
            </a:extLst>
          </p:cNvPr>
          <p:cNvPicPr>
            <a:picLocks noChangeAspect="1"/>
          </p:cNvPicPr>
          <p:nvPr/>
        </p:nvPicPr>
        <p:blipFill>
          <a:blip r:embed="rId3"/>
          <a:stretch>
            <a:fillRect/>
          </a:stretch>
        </p:blipFill>
        <p:spPr>
          <a:xfrm>
            <a:off x="2462212" y="1452562"/>
            <a:ext cx="7534275" cy="3952875"/>
          </a:xfrm>
          <a:prstGeom prst="rect">
            <a:avLst/>
          </a:prstGeom>
        </p:spPr>
      </p:pic>
      <p:sp>
        <p:nvSpPr>
          <p:cNvPr id="8" name="Rectangle: Rounded Corners 7">
            <a:extLst>
              <a:ext uri="{FF2B5EF4-FFF2-40B4-BE49-F238E27FC236}">
                <a16:creationId xmlns:a16="http://schemas.microsoft.com/office/drawing/2014/main" id="{16D539A4-A2E3-430D-B9E1-07E7B148D8E6}"/>
              </a:ext>
            </a:extLst>
          </p:cNvPr>
          <p:cNvSpPr/>
          <p:nvPr/>
        </p:nvSpPr>
        <p:spPr bwMode="auto">
          <a:xfrm>
            <a:off x="5224461" y="2143845"/>
            <a:ext cx="3281364" cy="180255"/>
          </a:xfrm>
          <a:prstGeom prst="round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a:gradFill>
                  <a:gsLst>
                    <a:gs pos="0">
                      <a:srgbClr val="FFFFFF"/>
                    </a:gs>
                    <a:gs pos="100000">
                      <a:srgbClr val="FFFFFF"/>
                    </a:gs>
                  </a:gsLst>
                  <a:lin ang="5400000" scaled="0"/>
                </a:gradFill>
                <a:ea typeface="Segoe UI" pitchFamily="34" charset="0"/>
                <a:cs typeface="Segoe UI" pitchFamily="34" charset="0"/>
              </a:rPr>
              <a:t>Name of WVD Tenant Created Previously</a:t>
            </a:r>
          </a:p>
        </p:txBody>
      </p:sp>
      <p:sp>
        <p:nvSpPr>
          <p:cNvPr id="9" name="Arrow: Left 8">
            <a:extLst>
              <a:ext uri="{FF2B5EF4-FFF2-40B4-BE49-F238E27FC236}">
                <a16:creationId xmlns:a16="http://schemas.microsoft.com/office/drawing/2014/main" id="{4CE1AD17-1AAE-41A2-AAD7-C04F84F06619}"/>
              </a:ext>
            </a:extLst>
          </p:cNvPr>
          <p:cNvSpPr/>
          <p:nvPr/>
        </p:nvSpPr>
        <p:spPr bwMode="auto">
          <a:xfrm>
            <a:off x="6653256" y="1258215"/>
            <a:ext cx="2128794" cy="798465"/>
          </a:xfrm>
          <a:prstGeom prst="leftArrow">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a:gradFill>
                  <a:gsLst>
                    <a:gs pos="0">
                      <a:srgbClr val="FFFFFF"/>
                    </a:gs>
                    <a:gs pos="100000">
                      <a:srgbClr val="FFFFFF"/>
                    </a:gs>
                  </a:gsLst>
                  <a:lin ang="5400000" scaled="0"/>
                </a:gradFill>
                <a:ea typeface="Segoe UI" pitchFamily="34" charset="0"/>
                <a:cs typeface="Segoe UI" pitchFamily="34" charset="0"/>
              </a:rPr>
              <a:t>Do NOT Change</a:t>
            </a:r>
          </a:p>
        </p:txBody>
      </p:sp>
      <p:sp>
        <p:nvSpPr>
          <p:cNvPr id="5" name="Arrow: Left 4">
            <a:extLst>
              <a:ext uri="{FF2B5EF4-FFF2-40B4-BE49-F238E27FC236}">
                <a16:creationId xmlns:a16="http://schemas.microsoft.com/office/drawing/2014/main" id="{08B0593E-04FB-436E-9B4E-26E43C72FD91}"/>
              </a:ext>
            </a:extLst>
          </p:cNvPr>
          <p:cNvSpPr/>
          <p:nvPr/>
        </p:nvSpPr>
        <p:spPr bwMode="auto">
          <a:xfrm>
            <a:off x="7019924" y="2335065"/>
            <a:ext cx="3712369" cy="904156"/>
          </a:xfrm>
          <a:prstGeom prst="leftArrow">
            <a:avLst/>
          </a:prstGeom>
          <a:solidFill>
            <a:srgbClr val="00A249"/>
          </a:solidFill>
          <a:ln>
            <a:solidFill>
              <a:srgbClr val="00A24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100" dirty="0">
                <a:gradFill>
                  <a:gsLst>
                    <a:gs pos="0">
                      <a:srgbClr val="FFFFFF"/>
                    </a:gs>
                    <a:gs pos="100000">
                      <a:srgbClr val="FFFFFF"/>
                    </a:gs>
                  </a:gsLst>
                  <a:lin ang="5400000" scaled="0"/>
                </a:gradFill>
                <a:ea typeface="Segoe UI" pitchFamily="34" charset="0"/>
                <a:cs typeface="Segoe UI" pitchFamily="34" charset="0"/>
              </a:rPr>
              <a:t>Toggle depending on which we are using in the POC/Lab</a:t>
            </a:r>
          </a:p>
        </p:txBody>
      </p:sp>
      <p:pic>
        <p:nvPicPr>
          <p:cNvPr id="6" name="Picture 5">
            <a:extLst>
              <a:ext uri="{FF2B5EF4-FFF2-40B4-BE49-F238E27FC236}">
                <a16:creationId xmlns:a16="http://schemas.microsoft.com/office/drawing/2014/main" id="{03A759FD-DC74-4AC3-BD52-D7DFA7E6F643}"/>
              </a:ext>
            </a:extLst>
          </p:cNvPr>
          <p:cNvPicPr>
            <a:picLocks noChangeAspect="1"/>
          </p:cNvPicPr>
          <p:nvPr/>
        </p:nvPicPr>
        <p:blipFill>
          <a:blip r:embed="rId4"/>
          <a:stretch>
            <a:fillRect/>
          </a:stretch>
        </p:blipFill>
        <p:spPr>
          <a:xfrm>
            <a:off x="4301108" y="4413921"/>
            <a:ext cx="7524750" cy="2371725"/>
          </a:xfrm>
          <a:prstGeom prst="rect">
            <a:avLst/>
          </a:prstGeom>
          <a:ln>
            <a:solidFill>
              <a:schemeClr val="tx1"/>
            </a:solidFill>
          </a:ln>
        </p:spPr>
      </p:pic>
      <p:sp>
        <p:nvSpPr>
          <p:cNvPr id="10" name="Rectangle 9">
            <a:extLst>
              <a:ext uri="{FF2B5EF4-FFF2-40B4-BE49-F238E27FC236}">
                <a16:creationId xmlns:a16="http://schemas.microsoft.com/office/drawing/2014/main" id="{D6B0B77B-8627-4841-A02C-38724B095AF6}"/>
              </a:ext>
            </a:extLst>
          </p:cNvPr>
          <p:cNvSpPr/>
          <p:nvPr/>
        </p:nvSpPr>
        <p:spPr bwMode="auto">
          <a:xfrm>
            <a:off x="588263" y="5219700"/>
            <a:ext cx="2459737" cy="1400175"/>
          </a:xfrm>
          <a:prstGeom prst="rect">
            <a:avLst/>
          </a:prstGeom>
          <a:solidFill>
            <a:srgbClr val="00A24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Fill in relevant info for either solution</a:t>
            </a:r>
          </a:p>
        </p:txBody>
      </p:sp>
      <p:cxnSp>
        <p:nvCxnSpPr>
          <p:cNvPr id="12" name="Straight Arrow Connector 11">
            <a:extLst>
              <a:ext uri="{FF2B5EF4-FFF2-40B4-BE49-F238E27FC236}">
                <a16:creationId xmlns:a16="http://schemas.microsoft.com/office/drawing/2014/main" id="{8188C38C-A965-41C2-BCC5-C0DF43217641}"/>
              </a:ext>
            </a:extLst>
          </p:cNvPr>
          <p:cNvCxnSpPr>
            <a:cxnSpLocks/>
          </p:cNvCxnSpPr>
          <p:nvPr/>
        </p:nvCxnSpPr>
        <p:spPr>
          <a:xfrm flipV="1">
            <a:off x="2867025" y="3667125"/>
            <a:ext cx="2019871" cy="1674019"/>
          </a:xfrm>
          <a:prstGeom prst="straightConnector1">
            <a:avLst/>
          </a:prstGeom>
          <a:ln w="57150">
            <a:solidFill>
              <a:srgbClr val="00A249"/>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440C1DC1-22D3-49C4-AF67-CC55D1D461EF}"/>
              </a:ext>
            </a:extLst>
          </p:cNvPr>
          <p:cNvCxnSpPr>
            <a:cxnSpLocks/>
          </p:cNvCxnSpPr>
          <p:nvPr/>
        </p:nvCxnSpPr>
        <p:spPr>
          <a:xfrm flipV="1">
            <a:off x="2962275" y="5686425"/>
            <a:ext cx="3479006" cy="204788"/>
          </a:xfrm>
          <a:prstGeom prst="straightConnector1">
            <a:avLst/>
          </a:prstGeom>
          <a:ln w="57150">
            <a:solidFill>
              <a:srgbClr val="00A249"/>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71744049"/>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42212D-9C0A-49B3-9E0B-17A669249E1B}"/>
              </a:ext>
            </a:extLst>
          </p:cNvPr>
          <p:cNvSpPr>
            <a:spLocks noGrp="1"/>
          </p:cNvSpPr>
          <p:nvPr>
            <p:ph type="title"/>
          </p:nvPr>
        </p:nvSpPr>
        <p:spPr>
          <a:xfrm>
            <a:off x="588263" y="457200"/>
            <a:ext cx="11018520" cy="430887"/>
          </a:xfrm>
        </p:spPr>
        <p:txBody>
          <a:bodyPr/>
          <a:lstStyle/>
          <a:p>
            <a:r>
              <a:rPr lang="en-US" sz="2800" b="0" spc="0" dirty="0">
                <a:ln>
                  <a:noFill/>
                </a:ln>
                <a:solidFill>
                  <a:schemeClr val="accent2">
                    <a:lumMod val="50000"/>
                    <a:lumOff val="50000"/>
                  </a:schemeClr>
                </a:solidFill>
                <a:latin typeface="Segoe UI"/>
                <a:ea typeface="Segoe UI" pitchFamily="34" charset="0"/>
                <a:hlinkClick r:id="rId2">
                  <a:extLst>
                    <a:ext uri="{A12FA001-AC4F-418D-AE19-62706E023703}">
                      <ahyp:hlinkClr xmlns:ahyp="http://schemas.microsoft.com/office/drawing/2018/hyperlinkcolor" val="tx"/>
                    </a:ext>
                  </a:extLst>
                </a:hlinkClick>
              </a:rPr>
              <a:t>Create Host Pool</a:t>
            </a:r>
            <a:r>
              <a:rPr lang="en-US" sz="2800" b="0" spc="0" dirty="0">
                <a:ln>
                  <a:noFill/>
                </a:ln>
                <a:solidFill>
                  <a:schemeClr val="accent2">
                    <a:lumMod val="50000"/>
                    <a:lumOff val="50000"/>
                  </a:schemeClr>
                </a:solidFill>
                <a:latin typeface="Segoe UI"/>
                <a:ea typeface="Segoe UI" pitchFamily="34" charset="0"/>
              </a:rPr>
              <a:t>  </a:t>
            </a:r>
            <a:r>
              <a:rPr lang="en-US" sz="2800" b="0" spc="0" dirty="0">
                <a:ln>
                  <a:noFill/>
                </a:ln>
                <a:latin typeface="Segoe UI"/>
                <a:ea typeface="Segoe UI" pitchFamily="34" charset="0"/>
              </a:rPr>
              <a:t>- Validation &amp; </a:t>
            </a:r>
            <a:r>
              <a:rPr lang="en-US" sz="2800" spc="0" dirty="0">
                <a:ln>
                  <a:noFill/>
                </a:ln>
                <a:latin typeface="Segoe UI"/>
                <a:ea typeface="Segoe UI" pitchFamily="34" charset="0"/>
              </a:rPr>
              <a:t>Create Step</a:t>
            </a:r>
            <a:endParaRPr lang="en-US" dirty="0"/>
          </a:p>
        </p:txBody>
      </p:sp>
      <p:pic>
        <p:nvPicPr>
          <p:cNvPr id="3" name="Picture 2">
            <a:extLst>
              <a:ext uri="{FF2B5EF4-FFF2-40B4-BE49-F238E27FC236}">
                <a16:creationId xmlns:a16="http://schemas.microsoft.com/office/drawing/2014/main" id="{8C4DB916-02AC-43A8-8B3F-7B49BA37E0E9}"/>
              </a:ext>
            </a:extLst>
          </p:cNvPr>
          <p:cNvPicPr>
            <a:picLocks noChangeAspect="1"/>
          </p:cNvPicPr>
          <p:nvPr/>
        </p:nvPicPr>
        <p:blipFill>
          <a:blip r:embed="rId3"/>
          <a:stretch>
            <a:fillRect/>
          </a:stretch>
        </p:blipFill>
        <p:spPr>
          <a:xfrm>
            <a:off x="1042987" y="1457325"/>
            <a:ext cx="8505825" cy="2952750"/>
          </a:xfrm>
          <a:prstGeom prst="rect">
            <a:avLst/>
          </a:prstGeom>
        </p:spPr>
      </p:pic>
      <p:pic>
        <p:nvPicPr>
          <p:cNvPr id="11" name="Picture 10">
            <a:extLst>
              <a:ext uri="{FF2B5EF4-FFF2-40B4-BE49-F238E27FC236}">
                <a16:creationId xmlns:a16="http://schemas.microsoft.com/office/drawing/2014/main" id="{0F1D5248-A203-4441-9E6B-D890A46A17E3}"/>
              </a:ext>
            </a:extLst>
          </p:cNvPr>
          <p:cNvPicPr>
            <a:picLocks noChangeAspect="1"/>
          </p:cNvPicPr>
          <p:nvPr/>
        </p:nvPicPr>
        <p:blipFill>
          <a:blip r:embed="rId4"/>
          <a:stretch>
            <a:fillRect/>
          </a:stretch>
        </p:blipFill>
        <p:spPr>
          <a:xfrm>
            <a:off x="1042987" y="4800600"/>
            <a:ext cx="6943725" cy="666750"/>
          </a:xfrm>
          <a:prstGeom prst="rect">
            <a:avLst/>
          </a:prstGeom>
        </p:spPr>
      </p:pic>
      <p:sp>
        <p:nvSpPr>
          <p:cNvPr id="5" name="Oval 4">
            <a:extLst>
              <a:ext uri="{FF2B5EF4-FFF2-40B4-BE49-F238E27FC236}">
                <a16:creationId xmlns:a16="http://schemas.microsoft.com/office/drawing/2014/main" id="{5AA5BD25-2FB9-4D5E-8282-AAF5240C2BBE}"/>
              </a:ext>
            </a:extLst>
          </p:cNvPr>
          <p:cNvSpPr/>
          <p:nvPr/>
        </p:nvSpPr>
        <p:spPr bwMode="auto">
          <a:xfrm>
            <a:off x="1042987" y="4909629"/>
            <a:ext cx="1146760" cy="491046"/>
          </a:xfrm>
          <a:prstGeom prst="ellipse">
            <a:avLst/>
          </a:prstGeom>
          <a:noFill/>
          <a:ln w="57150">
            <a:solidFill>
              <a:srgbClr val="00A24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454395878"/>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B9C3C7B-4DA2-4CFD-9C5F-1DB752F507CC}"/>
              </a:ext>
            </a:extLst>
          </p:cNvPr>
          <p:cNvGrpSpPr/>
          <p:nvPr/>
        </p:nvGrpSpPr>
        <p:grpSpPr>
          <a:xfrm>
            <a:off x="339258" y="352425"/>
            <a:ext cx="5853958" cy="5980299"/>
            <a:chOff x="339258" y="352425"/>
            <a:chExt cx="5461467" cy="5015615"/>
          </a:xfrm>
        </p:grpSpPr>
        <p:sp>
          <p:nvSpPr>
            <p:cNvPr id="43" name="Title 2">
              <a:extLst>
                <a:ext uri="{FF2B5EF4-FFF2-40B4-BE49-F238E27FC236}">
                  <a16:creationId xmlns:a16="http://schemas.microsoft.com/office/drawing/2014/main" id="{1AC8DCD5-7336-4144-BD62-6B176A569E3E}"/>
                </a:ext>
              </a:extLst>
            </p:cNvPr>
            <p:cNvSpPr txBox="1">
              <a:spLocks/>
            </p:cNvSpPr>
            <p:nvPr/>
          </p:nvSpPr>
          <p:spPr>
            <a:xfrm>
              <a:off x="588263" y="895350"/>
              <a:ext cx="5212462" cy="492443"/>
            </a:xfrm>
            <a:prstGeom prst="rect">
              <a:avLst/>
            </a:prstGeom>
          </p:spPr>
          <p:txBody>
            <a:bodyPr lIns="0" tIns="0" rIns="0" bIns="0"/>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4000" b="0" i="0" u="none" strike="noStrike" kern="1200" cap="none" spc="-50" normalizeH="0" baseline="0" noProof="0" dirty="0">
                  <a:ln w="3175">
                    <a:noFill/>
                  </a:ln>
                  <a:effectLst/>
                  <a:uLnTx/>
                  <a:uFillTx/>
                  <a:latin typeface="Segoe UI Semibold"/>
                  <a:ea typeface="+mn-ea"/>
                  <a:cs typeface="Segoe UI" pitchFamily="34" charset="0"/>
                </a:rPr>
                <a:t>Azure Bastion</a:t>
              </a:r>
            </a:p>
          </p:txBody>
        </p:sp>
        <p:sp>
          <p:nvSpPr>
            <p:cNvPr id="45" name="Rectangle 44">
              <a:extLst>
                <a:ext uri="{FF2B5EF4-FFF2-40B4-BE49-F238E27FC236}">
                  <a16:creationId xmlns:a16="http://schemas.microsoft.com/office/drawing/2014/main" id="{2D794782-2B60-43A1-81C6-58D6CDB1F23F}"/>
                </a:ext>
              </a:extLst>
            </p:cNvPr>
            <p:cNvSpPr/>
            <p:nvPr/>
          </p:nvSpPr>
          <p:spPr>
            <a:xfrm>
              <a:off x="588263" y="1442197"/>
              <a:ext cx="4431412" cy="696949"/>
            </a:xfrm>
            <a:prstGeom prst="rect">
              <a:avLst/>
            </a:prstGeom>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w="3175">
                    <a:noFill/>
                  </a:ln>
                  <a:effectLst/>
                  <a:uLnTx/>
                  <a:uFillTx/>
                  <a:latin typeface="Segoe UI Semibold"/>
                  <a:ea typeface="+mn-ea"/>
                  <a:cs typeface="Segoe UI" pitchFamily="34" charset="0"/>
                </a:rPr>
                <a:t>Secure and seamless RDP and SSH access to virtual machines – Leverage this for direct VM Login (bypasses WVD PaaS layer)</a:t>
              </a:r>
            </a:p>
          </p:txBody>
        </p:sp>
        <p:grpSp>
          <p:nvGrpSpPr>
            <p:cNvPr id="48" name="Group 47">
              <a:extLst>
                <a:ext uri="{FF2B5EF4-FFF2-40B4-BE49-F238E27FC236}">
                  <a16:creationId xmlns:a16="http://schemas.microsoft.com/office/drawing/2014/main" id="{97B010A6-6DE5-4394-9E83-EF0BC2F6CC43}"/>
                </a:ext>
              </a:extLst>
            </p:cNvPr>
            <p:cNvGrpSpPr/>
            <p:nvPr/>
          </p:nvGrpSpPr>
          <p:grpSpPr>
            <a:xfrm>
              <a:off x="588263" y="2273576"/>
              <a:ext cx="4336162" cy="346249"/>
              <a:chOff x="655532" y="2032094"/>
              <a:chExt cx="4336162" cy="346249"/>
            </a:xfrm>
          </p:grpSpPr>
          <p:sp>
            <p:nvSpPr>
              <p:cNvPr id="49" name="Rectangle 48">
                <a:extLst>
                  <a:ext uri="{FF2B5EF4-FFF2-40B4-BE49-F238E27FC236}">
                    <a16:creationId xmlns:a16="http://schemas.microsoft.com/office/drawing/2014/main" id="{9627FF71-B6B4-433F-A210-BCA00FE329A8}"/>
                  </a:ext>
                </a:extLst>
              </p:cNvPr>
              <p:cNvSpPr/>
              <p:nvPr/>
            </p:nvSpPr>
            <p:spPr bwMode="auto">
              <a:xfrm>
                <a:off x="655532" y="2032094"/>
                <a:ext cx="391454" cy="346249"/>
              </a:xfrm>
              <a:prstGeom prst="rect">
                <a:avLst/>
              </a:prstGeom>
              <a:solidFill>
                <a:schemeClr val="tx1">
                  <a:alpha val="10000"/>
                </a:schemeClr>
              </a:solidFill>
              <a:ln w="15875">
                <a:solidFill>
                  <a:schemeClr val="tx1"/>
                </a:solidFill>
                <a:miter lim="800000"/>
                <a:headEnd type="none" w="med" len="med"/>
                <a:tailEnd type="none" w="med" len="med"/>
              </a:ln>
              <a:effectLst>
                <a:outerShdw blurRad="1270000" sx="101000" sy="101000" algn="ctr" rotWithShape="0">
                  <a:srgbClr val="000000">
                    <a:alpha val="43137"/>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100" normalizeH="0" baseline="0" noProof="0">
                    <a:ln>
                      <a:noFill/>
                    </a:ln>
                    <a:solidFill>
                      <a:schemeClr val="tx1"/>
                    </a:solidFill>
                    <a:effectLst/>
                    <a:uLnTx/>
                    <a:uFillTx/>
                    <a:latin typeface="Segoe UI"/>
                    <a:ea typeface="+mn-ea"/>
                    <a:cs typeface="Segoe UI" pitchFamily="34" charset="0"/>
                  </a:rPr>
                  <a:t>GA</a:t>
                </a:r>
              </a:p>
            </p:txBody>
          </p:sp>
          <p:cxnSp>
            <p:nvCxnSpPr>
              <p:cNvPr id="50" name="Straight Connector 49">
                <a:extLst>
                  <a:ext uri="{FF2B5EF4-FFF2-40B4-BE49-F238E27FC236}">
                    <a16:creationId xmlns:a16="http://schemas.microsoft.com/office/drawing/2014/main" id="{D60A457F-1F16-4B57-960C-4D354559B054}"/>
                  </a:ext>
                </a:extLst>
              </p:cNvPr>
              <p:cNvCxnSpPr>
                <a:cxnSpLocks/>
              </p:cNvCxnSpPr>
              <p:nvPr/>
            </p:nvCxnSpPr>
            <p:spPr>
              <a:xfrm>
                <a:off x="1038831" y="2207682"/>
                <a:ext cx="3952863" cy="0"/>
              </a:xfrm>
              <a:prstGeom prst="line">
                <a:avLst/>
              </a:prstGeom>
              <a:ln w="158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51" name="Text Placeholder 1">
              <a:extLst>
                <a:ext uri="{FF2B5EF4-FFF2-40B4-BE49-F238E27FC236}">
                  <a16:creationId xmlns:a16="http://schemas.microsoft.com/office/drawing/2014/main" id="{5AE21D7A-5717-4B73-BA2F-64F7A998D602}"/>
                </a:ext>
              </a:extLst>
            </p:cNvPr>
            <p:cNvSpPr txBox="1">
              <a:spLocks/>
            </p:cNvSpPr>
            <p:nvPr/>
          </p:nvSpPr>
          <p:spPr>
            <a:xfrm>
              <a:off x="528919" y="2877095"/>
              <a:ext cx="5035355" cy="2490945"/>
            </a:xfrm>
            <a:prstGeom prst="rect">
              <a:avLst/>
            </a:prstGeom>
          </p:spPr>
          <p:txBody>
            <a:bodyPr wrap="square" lIns="0" tIns="0" rIns="0" bIns="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1200"/>
                </a:spcBef>
                <a:spcAft>
                  <a:spcPts val="300"/>
                </a:spcAft>
                <a:defRPr/>
              </a:pPr>
              <a:r>
                <a:rPr kumimoji="0" lang="en-US" sz="2400" b="0" i="0" u="none" strike="noStrike" kern="1200" cap="none" spc="0"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rPr>
                <a:t>RDP/SSH to your VMs using HTML5 standards-based web-browser, directly in Azure Portal</a:t>
              </a:r>
            </a:p>
            <a:p>
              <a:pPr>
                <a:spcBef>
                  <a:spcPts val="1200"/>
                </a:spcBef>
                <a:spcAft>
                  <a:spcPts val="300"/>
                </a:spcAft>
                <a:defRPr/>
              </a:pPr>
              <a:r>
                <a:rPr lang="en-US" sz="2400" dirty="0">
                  <a:solidFill>
                    <a:schemeClr val="tx1"/>
                  </a:solidFill>
                  <a:latin typeface="Segoe UI" panose="020B0502040204020203" pitchFamily="34" charset="0"/>
                </a:rPr>
                <a:t>Resources can be accessed without public IP addresses</a:t>
              </a:r>
            </a:p>
            <a:p>
              <a:pPr>
                <a:spcBef>
                  <a:spcPts val="1200"/>
                </a:spcBef>
                <a:spcAft>
                  <a:spcPts val="300"/>
                </a:spcAft>
                <a:defRPr/>
              </a:pPr>
              <a:r>
                <a:rPr lang="en-US" sz="2400" dirty="0">
                  <a:solidFill>
                    <a:schemeClr val="tx1"/>
                  </a:solidFill>
                  <a:latin typeface="Segoe UI" panose="020B0502040204020203" pitchFamily="34" charset="0"/>
                </a:rPr>
                <a:t>Supported Azure resources include VMs, VM Scale Sets, Dev-Test Labs</a:t>
              </a:r>
            </a:p>
          </p:txBody>
        </p:sp>
        <p:pic>
          <p:nvPicPr>
            <p:cNvPr id="62" name="Picture 61" descr="A picture containing knife&#10;&#10;Description automatically generated">
              <a:extLst>
                <a:ext uri="{FF2B5EF4-FFF2-40B4-BE49-F238E27FC236}">
                  <a16:creationId xmlns:a16="http://schemas.microsoft.com/office/drawing/2014/main" id="{70ACC022-15F5-486A-855A-806C3AC2C681}"/>
                </a:ext>
              </a:extLst>
            </p:cNvPr>
            <p:cNvPicPr>
              <a:picLocks noChangeAspect="1"/>
            </p:cNvPicPr>
            <p:nvPr/>
          </p:nvPicPr>
          <p:blipFill>
            <a:blip r:embed="rId2"/>
            <a:stretch>
              <a:fillRect/>
            </a:stretch>
          </p:blipFill>
          <p:spPr>
            <a:xfrm>
              <a:off x="339258" y="352425"/>
              <a:ext cx="908606" cy="523875"/>
            </a:xfrm>
            <a:prstGeom prst="rect">
              <a:avLst/>
            </a:prstGeom>
          </p:spPr>
        </p:pic>
      </p:grpSp>
      <p:grpSp>
        <p:nvGrpSpPr>
          <p:cNvPr id="3" name="Group 2">
            <a:extLst>
              <a:ext uri="{FF2B5EF4-FFF2-40B4-BE49-F238E27FC236}">
                <a16:creationId xmlns:a16="http://schemas.microsoft.com/office/drawing/2014/main" id="{3DF5FC08-1416-41EC-830C-DE5FF2F24B8F}"/>
              </a:ext>
            </a:extLst>
          </p:cNvPr>
          <p:cNvGrpSpPr/>
          <p:nvPr/>
        </p:nvGrpSpPr>
        <p:grpSpPr>
          <a:xfrm>
            <a:off x="6034688" y="865134"/>
            <a:ext cx="5870149" cy="5164325"/>
            <a:chOff x="5931325" y="865134"/>
            <a:chExt cx="5870149" cy="5164325"/>
          </a:xfrm>
        </p:grpSpPr>
        <p:sp>
          <p:nvSpPr>
            <p:cNvPr id="6" name="Rectangle 5">
              <a:extLst>
                <a:ext uri="{FF2B5EF4-FFF2-40B4-BE49-F238E27FC236}">
                  <a16:creationId xmlns:a16="http://schemas.microsoft.com/office/drawing/2014/main" id="{C67AE30E-F056-4C07-BB84-15D172D593E4}"/>
                </a:ext>
              </a:extLst>
            </p:cNvPr>
            <p:cNvSpPr/>
            <p:nvPr/>
          </p:nvSpPr>
          <p:spPr>
            <a:xfrm>
              <a:off x="10239926" y="1339782"/>
              <a:ext cx="1235720" cy="3824825"/>
            </a:xfrm>
            <a:prstGeom prst="rect">
              <a:avLst/>
            </a:prstGeom>
            <a:solidFill>
              <a:schemeClr val="tx1"/>
            </a:solidFill>
            <a:ln>
              <a:solidFill>
                <a:schemeClr val="bg1"/>
              </a:solidFill>
              <a:headEnd type="none" w="med" len="med"/>
              <a:tailEnd type="none" w="med" len="med"/>
            </a:ln>
            <a:effectLst>
              <a:outerShdw blurRad="88900" dist="381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0" numCol="1" rtlCol="0" anchor="b"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chemeClr val="tx1"/>
                </a:solidFill>
                <a:effectLst/>
                <a:uLnTx/>
                <a:uFillTx/>
                <a:latin typeface="Segoe UI"/>
                <a:ea typeface="+mn-ea"/>
                <a:cs typeface="+mn-cs"/>
              </a:endParaRPr>
            </a:p>
          </p:txBody>
        </p:sp>
        <p:sp>
          <p:nvSpPr>
            <p:cNvPr id="7" name="Rectangle 6">
              <a:extLst>
                <a:ext uri="{FF2B5EF4-FFF2-40B4-BE49-F238E27FC236}">
                  <a16:creationId xmlns:a16="http://schemas.microsoft.com/office/drawing/2014/main" id="{982C9E86-B9BA-463E-906F-FD4DEC6A1588}"/>
                </a:ext>
              </a:extLst>
            </p:cNvPr>
            <p:cNvSpPr/>
            <p:nvPr/>
          </p:nvSpPr>
          <p:spPr>
            <a:xfrm>
              <a:off x="5931325" y="3751984"/>
              <a:ext cx="1422056"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Semibold"/>
                  <a:ea typeface="+mn-ea"/>
                  <a:cs typeface="Segoe UI" panose="020B0502040204020203" pitchFamily="34" charset="0"/>
                </a:rPr>
                <a:t>Azure Portal</a:t>
              </a:r>
            </a:p>
          </p:txBody>
        </p:sp>
        <p:sp>
          <p:nvSpPr>
            <p:cNvPr id="8" name="Rectangle 7">
              <a:extLst>
                <a:ext uri="{FF2B5EF4-FFF2-40B4-BE49-F238E27FC236}">
                  <a16:creationId xmlns:a16="http://schemas.microsoft.com/office/drawing/2014/main" id="{6C7EA00E-CEAB-4A9E-B76F-460663F45F5F}"/>
                </a:ext>
              </a:extLst>
            </p:cNvPr>
            <p:cNvSpPr/>
            <p:nvPr/>
          </p:nvSpPr>
          <p:spPr>
            <a:xfrm>
              <a:off x="8199550" y="2804268"/>
              <a:ext cx="1533736" cy="523220"/>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rPr>
                <a:t>Remote Protocol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rPr>
                <a:t>(RDP, SSH, et al)</a:t>
              </a:r>
            </a:p>
          </p:txBody>
        </p:sp>
        <p:sp>
          <p:nvSpPr>
            <p:cNvPr id="9" name="Rectangle 8">
              <a:extLst>
                <a:ext uri="{FF2B5EF4-FFF2-40B4-BE49-F238E27FC236}">
                  <a16:creationId xmlns:a16="http://schemas.microsoft.com/office/drawing/2014/main" id="{90B5CB2E-DDA0-48D5-8F9F-9B886CE7C729}"/>
                </a:ext>
              </a:extLst>
            </p:cNvPr>
            <p:cNvSpPr/>
            <p:nvPr/>
          </p:nvSpPr>
          <p:spPr>
            <a:xfrm>
              <a:off x="6810762" y="4247592"/>
              <a:ext cx="540288"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Semibold"/>
                  <a:ea typeface="+mn-ea"/>
                  <a:cs typeface="Segoe UI" panose="020B0502040204020203" pitchFamily="34" charset="0"/>
                </a:rPr>
                <a:t>SSL</a:t>
              </a:r>
            </a:p>
          </p:txBody>
        </p:sp>
        <p:sp>
          <p:nvSpPr>
            <p:cNvPr id="11" name="Rectangle 10">
              <a:extLst>
                <a:ext uri="{FF2B5EF4-FFF2-40B4-BE49-F238E27FC236}">
                  <a16:creationId xmlns:a16="http://schemas.microsoft.com/office/drawing/2014/main" id="{F62216B6-4501-41B4-A60E-5CC758D69D9C}"/>
                </a:ext>
              </a:extLst>
            </p:cNvPr>
            <p:cNvSpPr/>
            <p:nvPr/>
          </p:nvSpPr>
          <p:spPr>
            <a:xfrm>
              <a:off x="6665487" y="4543170"/>
              <a:ext cx="830688" cy="52322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Semibold"/>
                  <a:ea typeface="+mn-ea"/>
                  <a:cs typeface="Segoe UI" panose="020B0502040204020203" pitchFamily="34" charset="0"/>
                </a:rPr>
                <a:t>443, </a:t>
              </a:r>
              <a:br>
                <a:rPr kumimoji="0" lang="en-US" sz="1400" b="0" i="0" u="none" strike="noStrike" kern="1200" cap="none" spc="0" normalizeH="0" baseline="0" noProof="0">
                  <a:ln>
                    <a:noFill/>
                  </a:ln>
                  <a:effectLst/>
                  <a:uLnTx/>
                  <a:uFillTx/>
                  <a:latin typeface="Segoe UI Semibold"/>
                  <a:ea typeface="+mn-ea"/>
                  <a:cs typeface="Segoe UI" panose="020B0502040204020203" pitchFamily="34" charset="0"/>
                </a:rPr>
              </a:br>
              <a:r>
                <a:rPr kumimoji="0" lang="en-US" sz="1400" b="0" i="0" u="none" strike="noStrike" kern="1200" cap="none" spc="0" normalizeH="0" baseline="0" noProof="0">
                  <a:ln>
                    <a:noFill/>
                  </a:ln>
                  <a:effectLst/>
                  <a:uLnTx/>
                  <a:uFillTx/>
                  <a:latin typeface="Segoe UI Semibold"/>
                  <a:ea typeface="+mn-ea"/>
                  <a:cs typeface="Segoe UI" panose="020B0502040204020203" pitchFamily="34" charset="0"/>
                </a:rPr>
                <a:t>Internet</a:t>
              </a:r>
            </a:p>
          </p:txBody>
        </p:sp>
        <p:sp>
          <p:nvSpPr>
            <p:cNvPr id="12" name="TextBox 11">
              <a:extLst>
                <a:ext uri="{FF2B5EF4-FFF2-40B4-BE49-F238E27FC236}">
                  <a16:creationId xmlns:a16="http://schemas.microsoft.com/office/drawing/2014/main" id="{5309B331-7DD9-49C6-8A58-FC094C12B591}"/>
                </a:ext>
              </a:extLst>
            </p:cNvPr>
            <p:cNvSpPr txBox="1"/>
            <p:nvPr/>
          </p:nvSpPr>
          <p:spPr>
            <a:xfrm>
              <a:off x="7867877" y="5285493"/>
              <a:ext cx="1719868"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err="1">
                  <a:ln>
                    <a:noFill/>
                  </a:ln>
                  <a:effectLst/>
                  <a:uLnTx/>
                  <a:uFillTx/>
                  <a:latin typeface="Segoe UI Semibold"/>
                  <a:ea typeface="+mn-ea"/>
                  <a:cs typeface="Segoe UI" panose="020B0502040204020203" pitchFamily="34" charset="0"/>
                </a:rPr>
                <a:t>AzureBastionSubnet</a:t>
              </a:r>
              <a:endParaRPr kumimoji="0" lang="en-US" sz="1400" b="0" i="0" u="none" strike="noStrike" kern="1200" cap="none" spc="0" normalizeH="0" baseline="0" noProof="0">
                <a:ln>
                  <a:noFill/>
                </a:ln>
                <a:effectLst/>
                <a:uLnTx/>
                <a:uFillTx/>
                <a:latin typeface="Segoe UI Semibold"/>
                <a:ea typeface="+mn-ea"/>
                <a:cs typeface="Segoe UI" panose="020B0502040204020203" pitchFamily="34" charset="0"/>
              </a:endParaRPr>
            </a:p>
          </p:txBody>
        </p:sp>
        <p:pic>
          <p:nvPicPr>
            <p:cNvPr id="14" name="Graphic 13">
              <a:extLst>
                <a:ext uri="{FF2B5EF4-FFF2-40B4-BE49-F238E27FC236}">
                  <a16:creationId xmlns:a16="http://schemas.microsoft.com/office/drawing/2014/main" id="{18B88D5C-5D4E-4306-ABC3-C3796331B995}"/>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6171716" y="3038772"/>
              <a:ext cx="911080" cy="911078"/>
            </a:xfrm>
            <a:prstGeom prst="rect">
              <a:avLst/>
            </a:prstGeom>
          </p:spPr>
        </p:pic>
        <p:sp>
          <p:nvSpPr>
            <p:cNvPr id="15" name="Rectangle 14">
              <a:extLst>
                <a:ext uri="{FF2B5EF4-FFF2-40B4-BE49-F238E27FC236}">
                  <a16:creationId xmlns:a16="http://schemas.microsoft.com/office/drawing/2014/main" id="{0F6CA84E-F721-4579-9202-2820C62B90BA}"/>
                </a:ext>
              </a:extLst>
            </p:cNvPr>
            <p:cNvSpPr/>
            <p:nvPr/>
          </p:nvSpPr>
          <p:spPr>
            <a:xfrm>
              <a:off x="7760926" y="1704891"/>
              <a:ext cx="1972360" cy="523220"/>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rPr>
                <a:t>Port: 3389/22</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rPr>
                <a:t>“</a:t>
              </a:r>
              <a:r>
                <a:rPr kumimoji="0" lang="en-US" sz="1400" b="0" i="0" u="none" strike="noStrike" kern="1200" cap="none" spc="0" normalizeH="0" baseline="0" noProof="0" err="1">
                  <a:ln>
                    <a:noFill/>
                  </a:ln>
                  <a:effectLst/>
                  <a:uLnTx/>
                  <a:uFillTx/>
                  <a:latin typeface="Segoe UI" panose="020B0502040204020203" pitchFamily="34" charset="0"/>
                  <a:ea typeface="+mn-ea"/>
                  <a:cs typeface="Segoe UI" panose="020B0502040204020203" pitchFamily="34" charset="0"/>
                </a:rPr>
                <a:t>AzureBastionSubnet</a:t>
              </a:r>
              <a:r>
                <a:rPr kumimoji="0" lang="en-US" sz="1400" b="0"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rPr>
                <a:t>”</a:t>
              </a:r>
            </a:p>
          </p:txBody>
        </p:sp>
        <p:sp>
          <p:nvSpPr>
            <p:cNvPr id="17" name="Rectangle 16">
              <a:extLst>
                <a:ext uri="{FF2B5EF4-FFF2-40B4-BE49-F238E27FC236}">
                  <a16:creationId xmlns:a16="http://schemas.microsoft.com/office/drawing/2014/main" id="{8D4B807D-8BF7-4E5F-B92D-488A30534368}"/>
                </a:ext>
              </a:extLst>
            </p:cNvPr>
            <p:cNvSpPr/>
            <p:nvPr/>
          </p:nvSpPr>
          <p:spPr>
            <a:xfrm>
              <a:off x="7681195" y="981074"/>
              <a:ext cx="4120279" cy="4822141"/>
            </a:xfrm>
            <a:prstGeom prst="rect">
              <a:avLst/>
            </a:prstGeom>
            <a:ln w="25400" cap="rnd">
              <a:solidFill>
                <a:schemeClr val="tx1"/>
              </a:solidFill>
              <a:prstDash val="sysDot"/>
              <a:headEnd type="none" w="lg" len="lg"/>
              <a:tailEnd type="none" w="lg" len="lg"/>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Segoe UI" pitchFamily="34" charset="0"/>
              </a:endParaRPr>
            </a:p>
          </p:txBody>
        </p:sp>
        <p:sp>
          <p:nvSpPr>
            <p:cNvPr id="18" name="Rectangle 17">
              <a:extLst>
                <a:ext uri="{FF2B5EF4-FFF2-40B4-BE49-F238E27FC236}">
                  <a16:creationId xmlns:a16="http://schemas.microsoft.com/office/drawing/2014/main" id="{ED6C3A67-A8C0-4189-853A-591C178D1A2B}"/>
                </a:ext>
              </a:extLst>
            </p:cNvPr>
            <p:cNvSpPr/>
            <p:nvPr/>
          </p:nvSpPr>
          <p:spPr>
            <a:xfrm>
              <a:off x="10656264" y="5670914"/>
              <a:ext cx="626100" cy="2912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Segoe UI"/>
                <a:ea typeface="+mn-ea"/>
                <a:cs typeface="+mn-cs"/>
              </a:endParaRPr>
            </a:p>
          </p:txBody>
        </p:sp>
        <p:sp>
          <p:nvSpPr>
            <p:cNvPr id="19" name="TextBox 18">
              <a:extLst>
                <a:ext uri="{FF2B5EF4-FFF2-40B4-BE49-F238E27FC236}">
                  <a16:creationId xmlns:a16="http://schemas.microsoft.com/office/drawing/2014/main" id="{6ACC9EF4-8A91-4AC4-B843-93154D9B4295}"/>
                </a:ext>
              </a:extLst>
            </p:cNvPr>
            <p:cNvSpPr txBox="1"/>
            <p:nvPr/>
          </p:nvSpPr>
          <p:spPr>
            <a:xfrm>
              <a:off x="9997852" y="5285493"/>
              <a:ext cx="1719868"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Semibold"/>
                  <a:ea typeface="+mn-ea"/>
                  <a:cs typeface="Segoe UI" panose="020B0502040204020203" pitchFamily="34" charset="0"/>
                </a:rPr>
                <a:t>Target VM Subnet(s)</a:t>
              </a:r>
            </a:p>
          </p:txBody>
        </p:sp>
        <p:sp>
          <p:nvSpPr>
            <p:cNvPr id="20" name="Rectangle 19">
              <a:extLst>
                <a:ext uri="{FF2B5EF4-FFF2-40B4-BE49-F238E27FC236}">
                  <a16:creationId xmlns:a16="http://schemas.microsoft.com/office/drawing/2014/main" id="{EF90267C-6E73-4DF8-9DFF-06D8B9C760B1}"/>
                </a:ext>
              </a:extLst>
            </p:cNvPr>
            <p:cNvSpPr/>
            <p:nvPr/>
          </p:nvSpPr>
          <p:spPr>
            <a:xfrm>
              <a:off x="8600251" y="1403749"/>
              <a:ext cx="1133035" cy="307777"/>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Semibold"/>
                  <a:ea typeface="+mn-ea"/>
                  <a:cs typeface="Segoe UI" panose="020B0502040204020203" pitchFamily="34" charset="0"/>
                </a:rPr>
                <a:t>Private IP</a:t>
              </a:r>
            </a:p>
          </p:txBody>
        </p:sp>
        <p:grpSp>
          <p:nvGrpSpPr>
            <p:cNvPr id="21" name="Group 20">
              <a:extLst>
                <a:ext uri="{FF2B5EF4-FFF2-40B4-BE49-F238E27FC236}">
                  <a16:creationId xmlns:a16="http://schemas.microsoft.com/office/drawing/2014/main" id="{A9A31FC1-C194-40E7-B16A-061DE70DAAE9}"/>
                </a:ext>
              </a:extLst>
            </p:cNvPr>
            <p:cNvGrpSpPr/>
            <p:nvPr/>
          </p:nvGrpSpPr>
          <p:grpSpPr>
            <a:xfrm>
              <a:off x="10244494" y="1701278"/>
              <a:ext cx="1226584" cy="837215"/>
              <a:chOff x="10115392" y="1272653"/>
              <a:chExt cx="1226584" cy="837215"/>
            </a:xfrm>
          </p:grpSpPr>
          <p:sp>
            <p:nvSpPr>
              <p:cNvPr id="22" name="TextBox 21">
                <a:extLst>
                  <a:ext uri="{FF2B5EF4-FFF2-40B4-BE49-F238E27FC236}">
                    <a16:creationId xmlns:a16="http://schemas.microsoft.com/office/drawing/2014/main" id="{4C523FB6-EEC1-43F7-9025-E3F7A97BE0AC}"/>
                  </a:ext>
                </a:extLst>
              </p:cNvPr>
              <p:cNvSpPr txBox="1"/>
              <p:nvPr/>
            </p:nvSpPr>
            <p:spPr>
              <a:xfrm>
                <a:off x="10115392" y="1802091"/>
                <a:ext cx="1226584" cy="307777"/>
              </a:xfrm>
              <a:prstGeom prst="rect">
                <a:avLst/>
              </a:prstGeom>
              <a:noFill/>
            </p:spPr>
            <p:txBody>
              <a:bodyPr wrap="square" lIns="0" tIns="9144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Semibold"/>
                    <a:ea typeface="+mn-ea"/>
                    <a:cs typeface="Segoe UI" panose="020B0502040204020203" pitchFamily="34" charset="0"/>
                  </a:rPr>
                  <a:t>Azure VM</a:t>
                </a:r>
              </a:p>
            </p:txBody>
          </p:sp>
          <p:pic>
            <p:nvPicPr>
              <p:cNvPr id="23" name="Graphic 22">
                <a:extLst>
                  <a:ext uri="{FF2B5EF4-FFF2-40B4-BE49-F238E27FC236}">
                    <a16:creationId xmlns:a16="http://schemas.microsoft.com/office/drawing/2014/main" id="{430D5784-AB3A-4336-A0DC-6D54F08D64E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446132" y="1272653"/>
                <a:ext cx="565105" cy="565105"/>
              </a:xfrm>
              <a:prstGeom prst="rect">
                <a:avLst/>
              </a:prstGeom>
            </p:spPr>
          </p:pic>
        </p:grpSp>
        <p:grpSp>
          <p:nvGrpSpPr>
            <p:cNvPr id="24" name="Group 23">
              <a:extLst>
                <a:ext uri="{FF2B5EF4-FFF2-40B4-BE49-F238E27FC236}">
                  <a16:creationId xmlns:a16="http://schemas.microsoft.com/office/drawing/2014/main" id="{66AF9FF2-5DF2-442A-AA61-D4E084E0004A}"/>
                </a:ext>
              </a:extLst>
            </p:cNvPr>
            <p:cNvGrpSpPr/>
            <p:nvPr/>
          </p:nvGrpSpPr>
          <p:grpSpPr>
            <a:xfrm>
              <a:off x="10244494" y="2895599"/>
              <a:ext cx="1226584" cy="838882"/>
              <a:chOff x="10115392" y="2563149"/>
              <a:chExt cx="1226584" cy="838882"/>
            </a:xfrm>
          </p:grpSpPr>
          <p:sp>
            <p:nvSpPr>
              <p:cNvPr id="25" name="TextBox 24">
                <a:extLst>
                  <a:ext uri="{FF2B5EF4-FFF2-40B4-BE49-F238E27FC236}">
                    <a16:creationId xmlns:a16="http://schemas.microsoft.com/office/drawing/2014/main" id="{69691F1C-8991-407F-9E10-98A8109F90CD}"/>
                  </a:ext>
                </a:extLst>
              </p:cNvPr>
              <p:cNvSpPr txBox="1"/>
              <p:nvPr/>
            </p:nvSpPr>
            <p:spPr>
              <a:xfrm>
                <a:off x="10115392" y="3094254"/>
                <a:ext cx="1226584" cy="307777"/>
              </a:xfrm>
              <a:prstGeom prst="rect">
                <a:avLst/>
              </a:prstGeom>
              <a:noFill/>
            </p:spPr>
            <p:txBody>
              <a:bodyPr wrap="square" lIns="0" tIns="9144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Semibold"/>
                    <a:ea typeface="+mn-ea"/>
                    <a:cs typeface="Segoe UI" panose="020B0502040204020203" pitchFamily="34" charset="0"/>
                  </a:rPr>
                  <a:t>Azure VM</a:t>
                </a:r>
              </a:p>
            </p:txBody>
          </p:sp>
          <p:pic>
            <p:nvPicPr>
              <p:cNvPr id="26" name="Graphic 25">
                <a:extLst>
                  <a:ext uri="{FF2B5EF4-FFF2-40B4-BE49-F238E27FC236}">
                    <a16:creationId xmlns:a16="http://schemas.microsoft.com/office/drawing/2014/main" id="{99D0C358-8846-442F-9521-F034F3DC551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446132" y="2563149"/>
                <a:ext cx="565105" cy="565105"/>
              </a:xfrm>
              <a:prstGeom prst="rect">
                <a:avLst/>
              </a:prstGeom>
            </p:spPr>
          </p:pic>
        </p:grpSp>
        <p:grpSp>
          <p:nvGrpSpPr>
            <p:cNvPr id="27" name="Group 26">
              <a:extLst>
                <a:ext uri="{FF2B5EF4-FFF2-40B4-BE49-F238E27FC236}">
                  <a16:creationId xmlns:a16="http://schemas.microsoft.com/office/drawing/2014/main" id="{C8F6E128-D95C-4F44-B471-061A9ADA7630}"/>
                </a:ext>
              </a:extLst>
            </p:cNvPr>
            <p:cNvGrpSpPr/>
            <p:nvPr/>
          </p:nvGrpSpPr>
          <p:grpSpPr>
            <a:xfrm>
              <a:off x="10244494" y="4091587"/>
              <a:ext cx="1226584" cy="831839"/>
              <a:chOff x="10115392" y="3688362"/>
              <a:chExt cx="1226584" cy="831839"/>
            </a:xfrm>
          </p:grpSpPr>
          <p:sp>
            <p:nvSpPr>
              <p:cNvPr id="28" name="TextBox 27">
                <a:extLst>
                  <a:ext uri="{FF2B5EF4-FFF2-40B4-BE49-F238E27FC236}">
                    <a16:creationId xmlns:a16="http://schemas.microsoft.com/office/drawing/2014/main" id="{DA4AA6DC-E2A6-42ED-95B2-73EB3B103226}"/>
                  </a:ext>
                </a:extLst>
              </p:cNvPr>
              <p:cNvSpPr txBox="1"/>
              <p:nvPr/>
            </p:nvSpPr>
            <p:spPr>
              <a:xfrm>
                <a:off x="10115392" y="4212424"/>
                <a:ext cx="1226584" cy="307777"/>
              </a:xfrm>
              <a:prstGeom prst="rect">
                <a:avLst/>
              </a:prstGeom>
              <a:noFill/>
            </p:spPr>
            <p:txBody>
              <a:bodyPr wrap="square" lIns="0" tIns="9144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Semibold"/>
                    <a:ea typeface="+mn-ea"/>
                    <a:cs typeface="Segoe UI" panose="020B0502040204020203" pitchFamily="34" charset="0"/>
                  </a:rPr>
                  <a:t>Azure VM</a:t>
                </a:r>
              </a:p>
            </p:txBody>
          </p:sp>
          <p:pic>
            <p:nvPicPr>
              <p:cNvPr id="29" name="Graphic 28">
                <a:extLst>
                  <a:ext uri="{FF2B5EF4-FFF2-40B4-BE49-F238E27FC236}">
                    <a16:creationId xmlns:a16="http://schemas.microsoft.com/office/drawing/2014/main" id="{D1058F06-8380-49E8-A938-078B2B93B79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446132" y="3688362"/>
                <a:ext cx="565105" cy="565105"/>
              </a:xfrm>
              <a:prstGeom prst="rect">
                <a:avLst/>
              </a:prstGeom>
            </p:spPr>
          </p:pic>
        </p:grpSp>
        <p:pic>
          <p:nvPicPr>
            <p:cNvPr id="34" name="Picture 82">
              <a:extLst>
                <a:ext uri="{FF2B5EF4-FFF2-40B4-BE49-F238E27FC236}">
                  <a16:creationId xmlns:a16="http://schemas.microsoft.com/office/drawing/2014/main" id="{E4D88604-4493-4196-A701-87EA238FA88A}"/>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10752062" y="5573565"/>
              <a:ext cx="455894" cy="455894"/>
            </a:xfrm>
            <a:prstGeom prst="rect">
              <a:avLst/>
            </a:prstGeom>
          </p:spPr>
        </p:pic>
        <p:pic>
          <p:nvPicPr>
            <p:cNvPr id="35" name="Graphic 34">
              <a:extLst>
                <a:ext uri="{FF2B5EF4-FFF2-40B4-BE49-F238E27FC236}">
                  <a16:creationId xmlns:a16="http://schemas.microsoft.com/office/drawing/2014/main" id="{FB7FA529-A84D-4DFA-B19C-7C209C6B252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349458" y="1417725"/>
              <a:ext cx="556388" cy="556388"/>
            </a:xfrm>
            <a:prstGeom prst="rect">
              <a:avLst/>
            </a:prstGeom>
          </p:spPr>
        </p:pic>
        <p:cxnSp>
          <p:nvCxnSpPr>
            <p:cNvPr id="36" name="Connector: Elbow 35">
              <a:extLst>
                <a:ext uri="{FF2B5EF4-FFF2-40B4-BE49-F238E27FC236}">
                  <a16:creationId xmlns:a16="http://schemas.microsoft.com/office/drawing/2014/main" id="{6008ABEB-396A-4151-B272-BD33ADB17BBD}"/>
                </a:ext>
              </a:extLst>
            </p:cNvPr>
            <p:cNvCxnSpPr>
              <a:cxnSpLocks/>
            </p:cNvCxnSpPr>
            <p:nvPr/>
          </p:nvCxnSpPr>
          <p:spPr>
            <a:xfrm rot="5400000">
              <a:off x="8119972" y="2846530"/>
              <a:ext cx="2945142" cy="433885"/>
            </a:xfrm>
            <a:prstGeom prst="bentConnector3">
              <a:avLst>
                <a:gd name="adj1" fmla="val 99967"/>
              </a:avLst>
            </a:prstGeom>
            <a:ln w="19050">
              <a:solidFill>
                <a:schemeClr val="accent2"/>
              </a:solidFill>
              <a:headEnd type="none"/>
              <a:tailEnd type="arrow" w="lg" len="med"/>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1DE4EECC-AD79-448C-849B-8FB969E4FEEF}"/>
                </a:ext>
              </a:extLst>
            </p:cNvPr>
            <p:cNvCxnSpPr>
              <a:cxnSpLocks/>
              <a:endCxn id="40" idx="1"/>
            </p:cNvCxnSpPr>
            <p:nvPr/>
          </p:nvCxnSpPr>
          <p:spPr>
            <a:xfrm flipV="1">
              <a:off x="9799961" y="1590901"/>
              <a:ext cx="238337" cy="2244"/>
            </a:xfrm>
            <a:prstGeom prst="straightConnector1">
              <a:avLst/>
            </a:prstGeom>
            <a:ln w="19050">
              <a:solidFill>
                <a:schemeClr val="accent2"/>
              </a:solidFill>
              <a:headEnd type="none"/>
              <a:tailEnd type="arrow" w="lg" len="med"/>
            </a:ln>
          </p:spPr>
          <p:style>
            <a:lnRef idx="1">
              <a:schemeClr val="accent1"/>
            </a:lnRef>
            <a:fillRef idx="0">
              <a:schemeClr val="accent1"/>
            </a:fillRef>
            <a:effectRef idx="0">
              <a:schemeClr val="accent1"/>
            </a:effectRef>
            <a:fontRef idx="minor">
              <a:schemeClr val="tx1"/>
            </a:fontRef>
          </p:style>
        </p:cxnSp>
        <p:cxnSp>
          <p:nvCxnSpPr>
            <p:cNvPr id="38" name="Connector: Elbow 37">
              <a:extLst>
                <a:ext uri="{FF2B5EF4-FFF2-40B4-BE49-F238E27FC236}">
                  <a16:creationId xmlns:a16="http://schemas.microsoft.com/office/drawing/2014/main" id="{5E763688-4CE2-404E-A2D7-C4BC3331BABA}"/>
                </a:ext>
              </a:extLst>
            </p:cNvPr>
            <p:cNvCxnSpPr>
              <a:cxnSpLocks/>
            </p:cNvCxnSpPr>
            <p:nvPr/>
          </p:nvCxnSpPr>
          <p:spPr>
            <a:xfrm rot="10800000">
              <a:off x="6624253" y="4087263"/>
              <a:ext cx="1458255" cy="435934"/>
            </a:xfrm>
            <a:prstGeom prst="bentConnector3">
              <a:avLst>
                <a:gd name="adj1" fmla="val 99969"/>
              </a:avLst>
            </a:prstGeom>
            <a:ln w="19050">
              <a:solidFill>
                <a:schemeClr val="tx1"/>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pic>
          <p:nvPicPr>
            <p:cNvPr id="39" name="Graphic 38">
              <a:extLst>
                <a:ext uri="{FF2B5EF4-FFF2-40B4-BE49-F238E27FC236}">
                  <a16:creationId xmlns:a16="http://schemas.microsoft.com/office/drawing/2014/main" id="{D4024F82-AC22-4213-98D6-FA00BD700F1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493742" y="4333100"/>
              <a:ext cx="372171" cy="372171"/>
            </a:xfrm>
            <a:prstGeom prst="rect">
              <a:avLst/>
            </a:prstGeom>
          </p:spPr>
        </p:pic>
        <p:pic>
          <p:nvPicPr>
            <p:cNvPr id="40" name="Graphic 39">
              <a:extLst>
                <a:ext uri="{FF2B5EF4-FFF2-40B4-BE49-F238E27FC236}">
                  <a16:creationId xmlns:a16="http://schemas.microsoft.com/office/drawing/2014/main" id="{20604027-4413-4677-8063-FB0A8A1ABCA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038298" y="1404815"/>
              <a:ext cx="372171" cy="372171"/>
            </a:xfrm>
            <a:prstGeom prst="rect">
              <a:avLst/>
            </a:prstGeom>
          </p:spPr>
        </p:pic>
        <p:sp>
          <p:nvSpPr>
            <p:cNvPr id="16" name="TextBox 15">
              <a:extLst>
                <a:ext uri="{FF2B5EF4-FFF2-40B4-BE49-F238E27FC236}">
                  <a16:creationId xmlns:a16="http://schemas.microsoft.com/office/drawing/2014/main" id="{DDFDE191-8C4D-4BE0-B581-E890D14E6339}"/>
                </a:ext>
              </a:extLst>
            </p:cNvPr>
            <p:cNvSpPr txBox="1"/>
            <p:nvPr/>
          </p:nvSpPr>
          <p:spPr>
            <a:xfrm>
              <a:off x="8715831" y="865134"/>
              <a:ext cx="2241408" cy="215444"/>
            </a:xfrm>
            <a:prstGeom prst="rect">
              <a:avLst/>
            </a:prstGeom>
            <a:solidFill>
              <a:schemeClr val="bg1"/>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Semibold"/>
                  <a:ea typeface="+mn-ea"/>
                  <a:cs typeface="Segoe UI" panose="020B0502040204020203" pitchFamily="34" charset="0"/>
                </a:rPr>
                <a:t>Customer’s Virtual Network</a:t>
              </a:r>
            </a:p>
          </p:txBody>
        </p:sp>
        <p:grpSp>
          <p:nvGrpSpPr>
            <p:cNvPr id="56" name="Group 55">
              <a:extLst>
                <a:ext uri="{FF2B5EF4-FFF2-40B4-BE49-F238E27FC236}">
                  <a16:creationId xmlns:a16="http://schemas.microsoft.com/office/drawing/2014/main" id="{234E2D92-A896-4F5D-AE68-E5828D267E27}"/>
                </a:ext>
              </a:extLst>
            </p:cNvPr>
            <p:cNvGrpSpPr/>
            <p:nvPr/>
          </p:nvGrpSpPr>
          <p:grpSpPr>
            <a:xfrm>
              <a:off x="6528523" y="2114550"/>
              <a:ext cx="540288" cy="924222"/>
              <a:chOff x="6547573" y="2114550"/>
              <a:chExt cx="540288" cy="924222"/>
            </a:xfrm>
          </p:grpSpPr>
          <p:sp>
            <p:nvSpPr>
              <p:cNvPr id="13" name="Rectangle 12">
                <a:extLst>
                  <a:ext uri="{FF2B5EF4-FFF2-40B4-BE49-F238E27FC236}">
                    <a16:creationId xmlns:a16="http://schemas.microsoft.com/office/drawing/2014/main" id="{3423218C-E9B2-4466-9C4D-78A52F1E5A74}"/>
                  </a:ext>
                </a:extLst>
              </p:cNvPr>
              <p:cNvSpPr/>
              <p:nvPr/>
            </p:nvSpPr>
            <p:spPr>
              <a:xfrm>
                <a:off x="6547573" y="2445856"/>
                <a:ext cx="540288"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Segoe UI Semibold"/>
                    <a:ea typeface="+mn-ea"/>
                    <a:cs typeface="Segoe UI" panose="020B0502040204020203" pitchFamily="34" charset="0"/>
                  </a:rPr>
                  <a:t>SSL</a:t>
                </a:r>
              </a:p>
            </p:txBody>
          </p:sp>
          <p:cxnSp>
            <p:nvCxnSpPr>
              <p:cNvPr id="54" name="Straight Connector 53">
                <a:extLst>
                  <a:ext uri="{FF2B5EF4-FFF2-40B4-BE49-F238E27FC236}">
                    <a16:creationId xmlns:a16="http://schemas.microsoft.com/office/drawing/2014/main" id="{A1414888-E7BB-4755-92A3-6499B3D950E9}"/>
                  </a:ext>
                </a:extLst>
              </p:cNvPr>
              <p:cNvCxnSpPr>
                <a:cxnSpLocks/>
              </p:cNvCxnSpPr>
              <p:nvPr/>
            </p:nvCxnSpPr>
            <p:spPr>
              <a:xfrm>
                <a:off x="6627256" y="2114550"/>
                <a:ext cx="0" cy="924222"/>
              </a:xfrm>
              <a:prstGeom prst="line">
                <a:avLst/>
              </a:prstGeom>
              <a:ln w="19050">
                <a:solidFill>
                  <a:schemeClr val="tx1"/>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64" name="Group 63">
              <a:extLst>
                <a:ext uri="{FF2B5EF4-FFF2-40B4-BE49-F238E27FC236}">
                  <a16:creationId xmlns:a16="http://schemas.microsoft.com/office/drawing/2014/main" id="{F4FF7517-3067-4FFD-8775-80525824078E}"/>
                </a:ext>
              </a:extLst>
            </p:cNvPr>
            <p:cNvGrpSpPr/>
            <p:nvPr/>
          </p:nvGrpSpPr>
          <p:grpSpPr>
            <a:xfrm>
              <a:off x="8102692" y="3897031"/>
              <a:ext cx="1250239" cy="1267576"/>
              <a:chOff x="8102692" y="3897031"/>
              <a:chExt cx="1250239" cy="1267576"/>
            </a:xfrm>
          </p:grpSpPr>
          <p:sp>
            <p:nvSpPr>
              <p:cNvPr id="31" name="Rectangle 30">
                <a:extLst>
                  <a:ext uri="{FF2B5EF4-FFF2-40B4-BE49-F238E27FC236}">
                    <a16:creationId xmlns:a16="http://schemas.microsoft.com/office/drawing/2014/main" id="{739FDC2A-F746-465E-985D-079E8F996636}"/>
                  </a:ext>
                </a:extLst>
              </p:cNvPr>
              <p:cNvSpPr/>
              <p:nvPr/>
            </p:nvSpPr>
            <p:spPr bwMode="auto">
              <a:xfrm>
                <a:off x="8102692" y="3897031"/>
                <a:ext cx="1250239" cy="1267576"/>
              </a:xfrm>
              <a:prstGeom prst="rect">
                <a:avLst/>
              </a:prstGeom>
              <a:solidFill>
                <a:schemeClr val="tx1"/>
              </a:solidFill>
              <a:ln>
                <a:solidFill>
                  <a:schemeClr val="bg1"/>
                </a:solidFill>
                <a:headEnd type="none" w="med" len="med"/>
                <a:tailEnd type="none" w="med" len="med"/>
              </a:ln>
              <a:effectLst>
                <a:outerShdw blurRad="88900" dist="381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0" numCol="1" rtlCol="0" anchor="b"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err="1">
                  <a:ln>
                    <a:noFill/>
                  </a:ln>
                  <a:solidFill>
                    <a:schemeClr val="tx1"/>
                  </a:solidFill>
                  <a:effectLst/>
                  <a:uLnTx/>
                  <a:uFillTx/>
                  <a:latin typeface="Segoe UI"/>
                  <a:ea typeface="+mn-ea"/>
                  <a:cs typeface="+mn-cs"/>
                </a:endParaRPr>
              </a:p>
            </p:txBody>
          </p:sp>
          <p:sp>
            <p:nvSpPr>
              <p:cNvPr id="32" name="TextBox 31">
                <a:extLst>
                  <a:ext uri="{FF2B5EF4-FFF2-40B4-BE49-F238E27FC236}">
                    <a16:creationId xmlns:a16="http://schemas.microsoft.com/office/drawing/2014/main" id="{0A088E9B-C070-489D-A255-2228F414CAC4}"/>
                  </a:ext>
                </a:extLst>
              </p:cNvPr>
              <p:cNvSpPr txBox="1"/>
              <p:nvPr/>
            </p:nvSpPr>
            <p:spPr>
              <a:xfrm>
                <a:off x="8113809" y="4832002"/>
                <a:ext cx="1163709" cy="151213"/>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Semibold"/>
                    <a:ea typeface="+mn-ea"/>
                    <a:cs typeface="Segoe UI" panose="020B0502040204020203" pitchFamily="34" charset="0"/>
                  </a:rPr>
                  <a:t>Azure Bastion</a:t>
                </a:r>
              </a:p>
            </p:txBody>
          </p:sp>
          <p:pic>
            <p:nvPicPr>
              <p:cNvPr id="63" name="Picture 62" descr="A picture containing knife&#10;&#10;Description automatically generated">
                <a:extLst>
                  <a:ext uri="{FF2B5EF4-FFF2-40B4-BE49-F238E27FC236}">
                    <a16:creationId xmlns:a16="http://schemas.microsoft.com/office/drawing/2014/main" id="{E1C04B50-D82A-4201-9651-62E251465742}"/>
                  </a:ext>
                </a:extLst>
              </p:cNvPr>
              <p:cNvPicPr>
                <a:picLocks noChangeAspect="1"/>
              </p:cNvPicPr>
              <p:nvPr/>
            </p:nvPicPr>
            <p:blipFill>
              <a:blip r:embed="rId2"/>
              <a:stretch>
                <a:fillRect/>
              </a:stretch>
            </p:blipFill>
            <p:spPr>
              <a:xfrm>
                <a:off x="8178104" y="4097893"/>
                <a:ext cx="1099414" cy="633889"/>
              </a:xfrm>
              <a:prstGeom prst="rect">
                <a:avLst/>
              </a:prstGeom>
            </p:spPr>
          </p:pic>
        </p:grpSp>
      </p:grpSp>
    </p:spTree>
    <p:extLst>
      <p:ext uri="{BB962C8B-B14F-4D97-AF65-F5344CB8AC3E}">
        <p14:creationId xmlns:p14="http://schemas.microsoft.com/office/powerpoint/2010/main" val="28997912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400"/>
                                        <p:tgtEl>
                                          <p:spTgt spid="2"/>
                                        </p:tgtEl>
                                      </p:cBhvr>
                                    </p:animEffect>
                                  </p:childTnLst>
                                </p:cTn>
                              </p:par>
                              <p:par>
                                <p:cTn id="8" presetID="42" presetClass="path" presetSubtype="0" decel="100000" fill="hold" nodeType="withEffect">
                                  <p:stCondLst>
                                    <p:cond delay="0"/>
                                  </p:stCondLst>
                                  <p:childTnLst>
                                    <p:animMotion origin="layout" path="M -1.04167E-6 7.40741E-7 L -1.04167E-6 0.04028 " pathEditMode="relative" rAng="0" ptsTypes="AA">
                                      <p:cBhvr>
                                        <p:cTn id="9" dur="400" spd="-100000" fill="hold"/>
                                        <p:tgtEl>
                                          <p:spTgt spid="2"/>
                                        </p:tgtEl>
                                        <p:attrNameLst>
                                          <p:attrName>ppt_x</p:attrName>
                                          <p:attrName>ppt_y</p:attrName>
                                        </p:attrNameLst>
                                      </p:cBhvr>
                                      <p:rCtr x="0" y="2014"/>
                                    </p:animMotion>
                                  </p:childTnLst>
                                </p:cTn>
                              </p:par>
                              <p:par>
                                <p:cTn id="10" presetID="10" presetClass="entr" presetSubtype="0" fill="hold"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400"/>
                                        <p:tgtEl>
                                          <p:spTgt spid="3"/>
                                        </p:tgtEl>
                                      </p:cBhvr>
                                    </p:animEffect>
                                  </p:childTnLst>
                                </p:cTn>
                              </p:par>
                              <p:par>
                                <p:cTn id="13" presetID="42" presetClass="path" presetSubtype="0" decel="100000" fill="hold" nodeType="withEffect">
                                  <p:stCondLst>
                                    <p:cond delay="0"/>
                                  </p:stCondLst>
                                  <p:childTnLst>
                                    <p:animMotion origin="layout" path="M -1.04167E-6 7.40741E-7 L -1.04167E-6 0.04028 " pathEditMode="relative" rAng="0" ptsTypes="AA">
                                      <p:cBhvr>
                                        <p:cTn id="14" dur="400" spd="-100000" fill="hold"/>
                                        <p:tgtEl>
                                          <p:spTgt spid="3"/>
                                        </p:tgtEl>
                                        <p:attrNameLst>
                                          <p:attrName>ppt_x</p:attrName>
                                          <p:attrName>ppt_y</p:attrName>
                                        </p:attrNameLst>
                                      </p:cBhvr>
                                      <p:rCtr x="0" y="201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B888B1-F9E0-4427-9531-D08EECF4C14D}"/>
              </a:ext>
            </a:extLst>
          </p:cNvPr>
          <p:cNvSpPr>
            <a:spLocks noGrp="1"/>
          </p:cNvSpPr>
          <p:nvPr>
            <p:ph type="title"/>
          </p:nvPr>
        </p:nvSpPr>
        <p:spPr/>
        <p:txBody>
          <a:bodyPr/>
          <a:lstStyle/>
          <a:p>
            <a:r>
              <a:rPr lang="en-US" dirty="0"/>
              <a:t>Add FSLogix </a:t>
            </a:r>
            <a:r>
              <a:rPr lang="en-US" dirty="0" err="1"/>
              <a:t>Regedits</a:t>
            </a:r>
            <a:r>
              <a:rPr lang="en-US" dirty="0"/>
              <a:t> to Host Pool Systems</a:t>
            </a:r>
          </a:p>
        </p:txBody>
      </p:sp>
      <p:sp>
        <p:nvSpPr>
          <p:cNvPr id="3" name="Text Placeholder 2">
            <a:extLst>
              <a:ext uri="{FF2B5EF4-FFF2-40B4-BE49-F238E27FC236}">
                <a16:creationId xmlns:a16="http://schemas.microsoft.com/office/drawing/2014/main" id="{51C22ADF-3034-48B9-93EF-AD10E39E728A}"/>
              </a:ext>
            </a:extLst>
          </p:cNvPr>
          <p:cNvSpPr>
            <a:spLocks noGrp="1"/>
          </p:cNvSpPr>
          <p:nvPr>
            <p:ph type="body" sz="quarter" idx="10"/>
          </p:nvPr>
        </p:nvSpPr>
        <p:spPr>
          <a:xfrm>
            <a:off x="269303" y="1187644"/>
            <a:ext cx="11655078" cy="461665"/>
          </a:xfrm>
        </p:spPr>
        <p:txBody>
          <a:bodyPr/>
          <a:lstStyle/>
          <a:p>
            <a:r>
              <a:rPr lang="en-US" sz="2000" dirty="0">
                <a:hlinkClick r:id="rId2"/>
              </a:rPr>
              <a:t>https://docs.microsoft.com/en-us/azure/virtual-desktop/create-host-pools-user-profile</a:t>
            </a:r>
            <a:endParaRPr lang="en-US" sz="2000" dirty="0"/>
          </a:p>
        </p:txBody>
      </p:sp>
      <p:pic>
        <p:nvPicPr>
          <p:cNvPr id="4" name="Picture 3">
            <a:extLst>
              <a:ext uri="{FF2B5EF4-FFF2-40B4-BE49-F238E27FC236}">
                <a16:creationId xmlns:a16="http://schemas.microsoft.com/office/drawing/2014/main" id="{81B795BE-33EA-4CA9-BA83-A0EC100C8481}"/>
              </a:ext>
            </a:extLst>
          </p:cNvPr>
          <p:cNvPicPr>
            <a:picLocks noChangeAspect="1"/>
          </p:cNvPicPr>
          <p:nvPr/>
        </p:nvPicPr>
        <p:blipFill>
          <a:blip r:embed="rId3"/>
          <a:stretch>
            <a:fillRect/>
          </a:stretch>
        </p:blipFill>
        <p:spPr>
          <a:xfrm>
            <a:off x="280951" y="1939530"/>
            <a:ext cx="7485070" cy="4660515"/>
          </a:xfrm>
          <a:prstGeom prst="rect">
            <a:avLst/>
          </a:prstGeom>
        </p:spPr>
      </p:pic>
      <p:sp>
        <p:nvSpPr>
          <p:cNvPr id="5" name="TextBox 4">
            <a:extLst>
              <a:ext uri="{FF2B5EF4-FFF2-40B4-BE49-F238E27FC236}">
                <a16:creationId xmlns:a16="http://schemas.microsoft.com/office/drawing/2014/main" id="{5A5D7B0A-0C10-439B-87C0-09EDC578C34A}"/>
              </a:ext>
            </a:extLst>
          </p:cNvPr>
          <p:cNvSpPr txBox="1"/>
          <p:nvPr/>
        </p:nvSpPr>
        <p:spPr>
          <a:xfrm>
            <a:off x="7851746" y="1939530"/>
            <a:ext cx="4000500" cy="5155257"/>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Once created, RDP to each VM directly using Bastion Host (previous slide)</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Install x64 version of </a:t>
            </a:r>
            <a:r>
              <a:rPr lang="en-US" sz="2000" b="1" u="sng" dirty="0">
                <a:gradFill>
                  <a:gsLst>
                    <a:gs pos="2917">
                      <a:schemeClr val="tx1"/>
                    </a:gs>
                    <a:gs pos="30000">
                      <a:schemeClr val="tx1"/>
                    </a:gs>
                  </a:gsLst>
                  <a:lin ang="5400000" scaled="0"/>
                </a:gradFill>
              </a:rPr>
              <a:t>FSLogixAppsSetup.exe</a:t>
            </a:r>
            <a:r>
              <a:rPr lang="en-US" sz="2000" b="1" dirty="0">
                <a:gradFill>
                  <a:gsLst>
                    <a:gs pos="2917">
                      <a:schemeClr val="tx1"/>
                    </a:gs>
                    <a:gs pos="30000">
                      <a:schemeClr val="tx1"/>
                    </a:gs>
                  </a:gsLst>
                  <a:lin ang="5400000" scaled="0"/>
                </a:gradFill>
              </a:rPr>
              <a:t> </a:t>
            </a:r>
            <a:r>
              <a:rPr lang="en-US" sz="2000" dirty="0">
                <a:gradFill>
                  <a:gsLst>
                    <a:gs pos="2917">
                      <a:schemeClr val="tx1"/>
                    </a:gs>
                    <a:gs pos="30000">
                      <a:schemeClr val="tx1"/>
                    </a:gs>
                  </a:gsLst>
                  <a:lin ang="5400000" scaled="0"/>
                </a:gradFill>
              </a:rPr>
              <a:t>if needed</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Edit Registry Entries shown</a:t>
            </a:r>
          </a:p>
          <a:p>
            <a:pPr marL="800083"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rPr>
              <a:t>“Enabled” turns on FSLogix agent (you may have to manually install FSL if non-customized VM)</a:t>
            </a:r>
          </a:p>
          <a:p>
            <a:pPr marL="800083" lvl="1" indent="-342900">
              <a:lnSpc>
                <a:spcPct val="90000"/>
              </a:lnSpc>
              <a:spcAft>
                <a:spcPts val="600"/>
              </a:spcAft>
              <a:buFont typeface="Arial" panose="020B0604020202020204" pitchFamily="34" charset="0"/>
              <a:buChar char="•"/>
            </a:pPr>
            <a:r>
              <a:rPr lang="en-US" sz="1600" dirty="0" err="1">
                <a:gradFill>
                  <a:gsLst>
                    <a:gs pos="2917">
                      <a:schemeClr val="tx1"/>
                    </a:gs>
                    <a:gs pos="30000">
                      <a:schemeClr val="tx1"/>
                    </a:gs>
                  </a:gsLst>
                  <a:lin ang="5400000" scaled="0"/>
                </a:gradFill>
              </a:rPr>
              <a:t>VHDLocations</a:t>
            </a:r>
            <a:r>
              <a:rPr lang="en-US" sz="1600" dirty="0">
                <a:gradFill>
                  <a:gsLst>
                    <a:gs pos="2917">
                      <a:schemeClr val="tx1"/>
                    </a:gs>
                    <a:gs pos="30000">
                      <a:schemeClr val="tx1"/>
                    </a:gs>
                  </a:gsLst>
                  <a:lin ang="5400000" scaled="0"/>
                </a:gradFill>
              </a:rPr>
              <a:t> points to UNC of WVD Profiles for this specific VM</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Next slide: Best Practices</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Reboot the VM</a:t>
            </a:r>
          </a:p>
          <a:p>
            <a:pPr>
              <a:lnSpc>
                <a:spcPct val="90000"/>
              </a:lnSpc>
              <a:spcAft>
                <a:spcPts val="600"/>
              </a:spcAft>
            </a:pPr>
            <a:endParaRPr lang="en-US" sz="2000" dirty="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351202095"/>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1E5B6F-794F-440A-8C6B-A95892CF5F8A}"/>
              </a:ext>
            </a:extLst>
          </p:cNvPr>
          <p:cNvSpPr>
            <a:spLocks noGrp="1"/>
          </p:cNvSpPr>
          <p:nvPr>
            <p:ph type="title"/>
          </p:nvPr>
        </p:nvSpPr>
        <p:spPr/>
        <p:txBody>
          <a:bodyPr/>
          <a:lstStyle/>
          <a:p>
            <a:r>
              <a:rPr lang="en-US" dirty="0"/>
              <a:t>FSLogix Profile per HostPool</a:t>
            </a:r>
          </a:p>
        </p:txBody>
      </p:sp>
      <p:pic>
        <p:nvPicPr>
          <p:cNvPr id="4" name="Picture 3">
            <a:extLst>
              <a:ext uri="{FF2B5EF4-FFF2-40B4-BE49-F238E27FC236}">
                <a16:creationId xmlns:a16="http://schemas.microsoft.com/office/drawing/2014/main" id="{28842A68-BC02-4F25-89BC-8504DEBB4365}"/>
              </a:ext>
            </a:extLst>
          </p:cNvPr>
          <p:cNvPicPr>
            <a:picLocks noChangeAspect="1"/>
          </p:cNvPicPr>
          <p:nvPr/>
        </p:nvPicPr>
        <p:blipFill>
          <a:blip r:embed="rId2"/>
          <a:stretch>
            <a:fillRect/>
          </a:stretch>
        </p:blipFill>
        <p:spPr>
          <a:xfrm>
            <a:off x="1924768" y="5702371"/>
            <a:ext cx="1520387" cy="875014"/>
          </a:xfrm>
          <a:prstGeom prst="rect">
            <a:avLst/>
          </a:prstGeom>
        </p:spPr>
      </p:pic>
      <p:sp>
        <p:nvSpPr>
          <p:cNvPr id="5" name="Rectangle 4">
            <a:extLst>
              <a:ext uri="{FF2B5EF4-FFF2-40B4-BE49-F238E27FC236}">
                <a16:creationId xmlns:a16="http://schemas.microsoft.com/office/drawing/2014/main" id="{8919327F-AFF6-47C4-AE4C-866146732A45}"/>
              </a:ext>
            </a:extLst>
          </p:cNvPr>
          <p:cNvSpPr/>
          <p:nvPr/>
        </p:nvSpPr>
        <p:spPr bwMode="auto">
          <a:xfrm>
            <a:off x="1164115" y="3621509"/>
            <a:ext cx="1712285" cy="1457864"/>
          </a:xfrm>
          <a:prstGeom prst="rect">
            <a:avLst/>
          </a:prstGeom>
          <a:solidFill>
            <a:schemeClr val="accent3">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b="1" u="sng" dirty="0">
                <a:solidFill>
                  <a:schemeClr val="tx2"/>
                </a:solidFill>
              </a:rPr>
              <a:t>Desktop1</a:t>
            </a:r>
            <a:r>
              <a:rPr lang="en-US" sz="1600" dirty="0">
                <a:solidFill>
                  <a:schemeClr val="tx2"/>
                </a:solidFill>
              </a:rPr>
              <a:t> Host Pool</a:t>
            </a:r>
          </a:p>
        </p:txBody>
      </p:sp>
      <p:pic>
        <p:nvPicPr>
          <p:cNvPr id="6" name="Virtual machines">
            <a:extLst>
              <a:ext uri="{FF2B5EF4-FFF2-40B4-BE49-F238E27FC236}">
                <a16:creationId xmlns:a16="http://schemas.microsoft.com/office/drawing/2014/main" id="{18C1E300-3B07-4B27-882C-03EFBBCF24BB}"/>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1294910" y="4497830"/>
            <a:ext cx="468965" cy="436611"/>
          </a:xfrm>
          <a:prstGeom prst="rect">
            <a:avLst/>
          </a:prstGeom>
        </p:spPr>
      </p:pic>
      <p:pic>
        <p:nvPicPr>
          <p:cNvPr id="7" name="Virtual machines">
            <a:extLst>
              <a:ext uri="{FF2B5EF4-FFF2-40B4-BE49-F238E27FC236}">
                <a16:creationId xmlns:a16="http://schemas.microsoft.com/office/drawing/2014/main" id="{0E1CA004-48E3-4576-B533-A06B80AF5D68}"/>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2288517" y="4497830"/>
            <a:ext cx="468965" cy="436611"/>
          </a:xfrm>
          <a:prstGeom prst="rect">
            <a:avLst/>
          </a:prstGeom>
        </p:spPr>
      </p:pic>
      <p:pic>
        <p:nvPicPr>
          <p:cNvPr id="8" name="Virtual machines">
            <a:extLst>
              <a:ext uri="{FF2B5EF4-FFF2-40B4-BE49-F238E27FC236}">
                <a16:creationId xmlns:a16="http://schemas.microsoft.com/office/drawing/2014/main" id="{0153207E-7757-4E6F-91C8-C093ABF11008}"/>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2288515" y="3729978"/>
            <a:ext cx="468965" cy="436611"/>
          </a:xfrm>
          <a:prstGeom prst="rect">
            <a:avLst/>
          </a:prstGeom>
        </p:spPr>
      </p:pic>
      <p:pic>
        <p:nvPicPr>
          <p:cNvPr id="9" name="Virtual machines">
            <a:extLst>
              <a:ext uri="{FF2B5EF4-FFF2-40B4-BE49-F238E27FC236}">
                <a16:creationId xmlns:a16="http://schemas.microsoft.com/office/drawing/2014/main" id="{97CB0291-404E-4410-BC09-268D92F5B4A8}"/>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1294909" y="3729978"/>
            <a:ext cx="468965" cy="436611"/>
          </a:xfrm>
          <a:prstGeom prst="rect">
            <a:avLst/>
          </a:prstGeom>
        </p:spPr>
      </p:pic>
      <p:sp>
        <p:nvSpPr>
          <p:cNvPr id="10" name="Rectangle 9">
            <a:extLst>
              <a:ext uri="{FF2B5EF4-FFF2-40B4-BE49-F238E27FC236}">
                <a16:creationId xmlns:a16="http://schemas.microsoft.com/office/drawing/2014/main" id="{0D67E6FC-B03A-4DE8-8947-86645B0BC93A}"/>
              </a:ext>
            </a:extLst>
          </p:cNvPr>
          <p:cNvSpPr/>
          <p:nvPr/>
        </p:nvSpPr>
        <p:spPr bwMode="auto">
          <a:xfrm>
            <a:off x="9868419" y="2187536"/>
            <a:ext cx="1712285" cy="1457864"/>
          </a:xfrm>
          <a:prstGeom prst="rect">
            <a:avLst/>
          </a:prstGeom>
          <a:solidFill>
            <a:srgbClr val="FFB9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b="1" u="sng" dirty="0">
                <a:solidFill>
                  <a:schemeClr val="tx2"/>
                </a:solidFill>
              </a:rPr>
              <a:t>Apps2</a:t>
            </a:r>
            <a:r>
              <a:rPr lang="en-US" sz="1600" dirty="0">
                <a:solidFill>
                  <a:schemeClr val="tx2"/>
                </a:solidFill>
              </a:rPr>
              <a:t> Host Pool</a:t>
            </a:r>
          </a:p>
        </p:txBody>
      </p:sp>
      <p:pic>
        <p:nvPicPr>
          <p:cNvPr id="11" name="Virtual machines">
            <a:extLst>
              <a:ext uri="{FF2B5EF4-FFF2-40B4-BE49-F238E27FC236}">
                <a16:creationId xmlns:a16="http://schemas.microsoft.com/office/drawing/2014/main" id="{AF498FFC-2753-48D3-A8F7-27F4F0467FEA}"/>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9999214" y="3063857"/>
            <a:ext cx="468965" cy="436611"/>
          </a:xfrm>
          <a:prstGeom prst="rect">
            <a:avLst/>
          </a:prstGeom>
        </p:spPr>
      </p:pic>
      <p:pic>
        <p:nvPicPr>
          <p:cNvPr id="12" name="Virtual machines">
            <a:extLst>
              <a:ext uri="{FF2B5EF4-FFF2-40B4-BE49-F238E27FC236}">
                <a16:creationId xmlns:a16="http://schemas.microsoft.com/office/drawing/2014/main" id="{97250A51-6908-455B-A958-CFD44C61E6CF}"/>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10992821" y="3063857"/>
            <a:ext cx="468965" cy="436611"/>
          </a:xfrm>
          <a:prstGeom prst="rect">
            <a:avLst/>
          </a:prstGeom>
        </p:spPr>
      </p:pic>
      <p:pic>
        <p:nvPicPr>
          <p:cNvPr id="13" name="Virtual machines">
            <a:extLst>
              <a:ext uri="{FF2B5EF4-FFF2-40B4-BE49-F238E27FC236}">
                <a16:creationId xmlns:a16="http://schemas.microsoft.com/office/drawing/2014/main" id="{2D932F89-529C-491D-ABB4-0B37FDA42556}"/>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10992819" y="2296005"/>
            <a:ext cx="468965" cy="436611"/>
          </a:xfrm>
          <a:prstGeom prst="rect">
            <a:avLst/>
          </a:prstGeom>
        </p:spPr>
      </p:pic>
      <p:pic>
        <p:nvPicPr>
          <p:cNvPr id="14" name="Virtual machines">
            <a:extLst>
              <a:ext uri="{FF2B5EF4-FFF2-40B4-BE49-F238E27FC236}">
                <a16:creationId xmlns:a16="http://schemas.microsoft.com/office/drawing/2014/main" id="{CCB2AC9B-0B2B-4518-86E5-935B50D188B5}"/>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9999213" y="2296005"/>
            <a:ext cx="468965" cy="436611"/>
          </a:xfrm>
          <a:prstGeom prst="rect">
            <a:avLst/>
          </a:prstGeom>
        </p:spPr>
      </p:pic>
      <p:pic>
        <p:nvPicPr>
          <p:cNvPr id="15" name="Picture 14">
            <a:extLst>
              <a:ext uri="{FF2B5EF4-FFF2-40B4-BE49-F238E27FC236}">
                <a16:creationId xmlns:a16="http://schemas.microsoft.com/office/drawing/2014/main" id="{3FB1438F-5D0C-40A1-9BFB-8E671A3C158C}"/>
              </a:ext>
            </a:extLst>
          </p:cNvPr>
          <p:cNvPicPr>
            <a:picLocks noChangeAspect="1"/>
          </p:cNvPicPr>
          <p:nvPr/>
        </p:nvPicPr>
        <p:blipFill>
          <a:blip r:embed="rId5"/>
          <a:stretch>
            <a:fillRect/>
          </a:stretch>
        </p:blipFill>
        <p:spPr>
          <a:xfrm>
            <a:off x="9181670" y="980357"/>
            <a:ext cx="2883568" cy="583074"/>
          </a:xfrm>
          <a:prstGeom prst="rect">
            <a:avLst/>
          </a:prstGeom>
        </p:spPr>
      </p:pic>
      <p:sp>
        <p:nvSpPr>
          <p:cNvPr id="16" name="Arrow: Up 15">
            <a:extLst>
              <a:ext uri="{FF2B5EF4-FFF2-40B4-BE49-F238E27FC236}">
                <a16:creationId xmlns:a16="http://schemas.microsoft.com/office/drawing/2014/main" id="{D53B34F3-8D9E-4F2A-A503-9AB60F4E9955}"/>
              </a:ext>
            </a:extLst>
          </p:cNvPr>
          <p:cNvSpPr/>
          <p:nvPr/>
        </p:nvSpPr>
        <p:spPr bwMode="auto">
          <a:xfrm>
            <a:off x="9868419" y="1582559"/>
            <a:ext cx="1684421" cy="670892"/>
          </a:xfrm>
          <a:prstGeom prst="up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a:gradFill>
                  <a:gsLst>
                    <a:gs pos="40075">
                      <a:srgbClr val="FFFFFF"/>
                    </a:gs>
                    <a:gs pos="30000">
                      <a:srgbClr val="FFFFFF"/>
                    </a:gs>
                  </a:gsLst>
                  <a:lin ang="5400000" scaled="0"/>
                </a:gradFill>
              </a:rPr>
              <a:t>Published </a:t>
            </a:r>
          </a:p>
          <a:p>
            <a:pPr algn="ctr" defTabSz="932472" fontAlgn="base">
              <a:spcBef>
                <a:spcPct val="0"/>
              </a:spcBef>
              <a:spcAft>
                <a:spcPct val="0"/>
              </a:spcAft>
            </a:pPr>
            <a:r>
              <a:rPr lang="en-US" sz="1400" dirty="0">
                <a:gradFill>
                  <a:gsLst>
                    <a:gs pos="40075">
                      <a:srgbClr val="FFFFFF"/>
                    </a:gs>
                    <a:gs pos="30000">
                      <a:srgbClr val="FFFFFF"/>
                    </a:gs>
                  </a:gsLst>
                  <a:lin ang="5400000" scaled="0"/>
                </a:gradFill>
              </a:rPr>
              <a:t>apps</a:t>
            </a:r>
          </a:p>
        </p:txBody>
      </p:sp>
      <p:pic>
        <p:nvPicPr>
          <p:cNvPr id="17" name="Picture 16">
            <a:extLst>
              <a:ext uri="{FF2B5EF4-FFF2-40B4-BE49-F238E27FC236}">
                <a16:creationId xmlns:a16="http://schemas.microsoft.com/office/drawing/2014/main" id="{96929A6D-823D-4A2C-997A-B044D12D37B0}"/>
              </a:ext>
            </a:extLst>
          </p:cNvPr>
          <p:cNvPicPr>
            <a:picLocks noChangeAspect="1"/>
          </p:cNvPicPr>
          <p:nvPr/>
        </p:nvPicPr>
        <p:blipFill>
          <a:blip r:embed="rId6"/>
          <a:stretch>
            <a:fillRect/>
          </a:stretch>
        </p:blipFill>
        <p:spPr>
          <a:xfrm>
            <a:off x="9633123" y="462203"/>
            <a:ext cx="524551" cy="518154"/>
          </a:xfrm>
          <a:prstGeom prst="rect">
            <a:avLst/>
          </a:prstGeom>
        </p:spPr>
      </p:pic>
      <p:pic>
        <p:nvPicPr>
          <p:cNvPr id="18" name="Picture 17">
            <a:extLst>
              <a:ext uri="{FF2B5EF4-FFF2-40B4-BE49-F238E27FC236}">
                <a16:creationId xmlns:a16="http://schemas.microsoft.com/office/drawing/2014/main" id="{1D6110B1-7B56-4B71-9E94-1FA5B32D007E}"/>
              </a:ext>
            </a:extLst>
          </p:cNvPr>
          <p:cNvPicPr>
            <a:picLocks noChangeAspect="1"/>
          </p:cNvPicPr>
          <p:nvPr/>
        </p:nvPicPr>
        <p:blipFill>
          <a:blip r:embed="rId7"/>
          <a:stretch>
            <a:fillRect/>
          </a:stretch>
        </p:blipFill>
        <p:spPr>
          <a:xfrm>
            <a:off x="10157675" y="464621"/>
            <a:ext cx="524552" cy="515736"/>
          </a:xfrm>
          <a:prstGeom prst="rect">
            <a:avLst/>
          </a:prstGeom>
        </p:spPr>
      </p:pic>
      <p:pic>
        <p:nvPicPr>
          <p:cNvPr id="19" name="Picture 18">
            <a:extLst>
              <a:ext uri="{FF2B5EF4-FFF2-40B4-BE49-F238E27FC236}">
                <a16:creationId xmlns:a16="http://schemas.microsoft.com/office/drawing/2014/main" id="{DE541FCF-AF9E-430E-8332-736A2F1F2BDA}"/>
              </a:ext>
            </a:extLst>
          </p:cNvPr>
          <p:cNvPicPr>
            <a:picLocks noChangeAspect="1"/>
          </p:cNvPicPr>
          <p:nvPr/>
        </p:nvPicPr>
        <p:blipFill>
          <a:blip r:embed="rId8"/>
          <a:stretch>
            <a:fillRect/>
          </a:stretch>
        </p:blipFill>
        <p:spPr>
          <a:xfrm>
            <a:off x="10648656" y="444964"/>
            <a:ext cx="666617" cy="535393"/>
          </a:xfrm>
          <a:prstGeom prst="rect">
            <a:avLst/>
          </a:prstGeom>
        </p:spPr>
      </p:pic>
      <p:pic>
        <p:nvPicPr>
          <p:cNvPr id="20" name="Picture 19">
            <a:extLst>
              <a:ext uri="{FF2B5EF4-FFF2-40B4-BE49-F238E27FC236}">
                <a16:creationId xmlns:a16="http://schemas.microsoft.com/office/drawing/2014/main" id="{8ECB1F50-E9F5-4C9C-A386-8667A2B4F492}"/>
              </a:ext>
            </a:extLst>
          </p:cNvPr>
          <p:cNvPicPr>
            <a:picLocks noChangeAspect="1"/>
          </p:cNvPicPr>
          <p:nvPr/>
        </p:nvPicPr>
        <p:blipFill>
          <a:blip r:embed="rId9"/>
          <a:stretch>
            <a:fillRect/>
          </a:stretch>
        </p:blipFill>
        <p:spPr>
          <a:xfrm>
            <a:off x="671113" y="5702371"/>
            <a:ext cx="1164851" cy="875014"/>
          </a:xfrm>
          <a:prstGeom prst="rect">
            <a:avLst/>
          </a:prstGeom>
        </p:spPr>
      </p:pic>
      <p:sp>
        <p:nvSpPr>
          <p:cNvPr id="21" name="Arrow: Down 20">
            <a:extLst>
              <a:ext uri="{FF2B5EF4-FFF2-40B4-BE49-F238E27FC236}">
                <a16:creationId xmlns:a16="http://schemas.microsoft.com/office/drawing/2014/main" id="{BC85F949-E73F-4DCF-976A-CF2C2927A8CA}"/>
              </a:ext>
            </a:extLst>
          </p:cNvPr>
          <p:cNvSpPr/>
          <p:nvPr/>
        </p:nvSpPr>
        <p:spPr bwMode="auto">
          <a:xfrm>
            <a:off x="1212032" y="4953795"/>
            <a:ext cx="1664368" cy="731389"/>
          </a:xfrm>
          <a:prstGeom prst="down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a:gradFill>
                  <a:gsLst>
                    <a:gs pos="40075">
                      <a:srgbClr val="FFFFFF"/>
                    </a:gs>
                    <a:gs pos="30000">
                      <a:srgbClr val="FFFFFF"/>
                    </a:gs>
                  </a:gsLst>
                  <a:lin ang="5400000" scaled="0"/>
                </a:gradFill>
              </a:rPr>
              <a:t>Published Desktops</a:t>
            </a:r>
          </a:p>
        </p:txBody>
      </p:sp>
      <p:pic>
        <p:nvPicPr>
          <p:cNvPr id="24" name="Picture 23" descr="A picture containing drawing&#10;&#10;Description automatically generated">
            <a:extLst>
              <a:ext uri="{FF2B5EF4-FFF2-40B4-BE49-F238E27FC236}">
                <a16:creationId xmlns:a16="http://schemas.microsoft.com/office/drawing/2014/main" id="{9ECDE860-972D-4977-8279-EE07F3846D13}"/>
              </a:ext>
            </a:extLst>
          </p:cNvPr>
          <p:cNvPicPr>
            <a:picLocks noChangeAspect="1"/>
          </p:cNvPicPr>
          <p:nvPr/>
        </p:nvPicPr>
        <p:blipFill>
          <a:blip r:embed="rId10"/>
          <a:stretch>
            <a:fillRect/>
          </a:stretch>
        </p:blipFill>
        <p:spPr>
          <a:xfrm>
            <a:off x="5348656" y="2080177"/>
            <a:ext cx="2025199" cy="2025199"/>
          </a:xfrm>
          <a:prstGeom prst="rect">
            <a:avLst/>
          </a:prstGeom>
        </p:spPr>
      </p:pic>
      <p:pic>
        <p:nvPicPr>
          <p:cNvPr id="26" name="Picture 25" descr="A picture containing drawing&#10;&#10;Description automatically generated">
            <a:extLst>
              <a:ext uri="{FF2B5EF4-FFF2-40B4-BE49-F238E27FC236}">
                <a16:creationId xmlns:a16="http://schemas.microsoft.com/office/drawing/2014/main" id="{92A53EF1-A5FA-4EFC-9107-DF77968C86A0}"/>
              </a:ext>
            </a:extLst>
          </p:cNvPr>
          <p:cNvPicPr>
            <a:picLocks noChangeAspect="1"/>
          </p:cNvPicPr>
          <p:nvPr/>
        </p:nvPicPr>
        <p:blipFill>
          <a:blip r:embed="rId11"/>
          <a:stretch>
            <a:fillRect/>
          </a:stretch>
        </p:blipFill>
        <p:spPr>
          <a:xfrm>
            <a:off x="6938519" y="1974233"/>
            <a:ext cx="780290" cy="780290"/>
          </a:xfrm>
          <a:prstGeom prst="rect">
            <a:avLst/>
          </a:prstGeom>
        </p:spPr>
      </p:pic>
      <p:pic>
        <p:nvPicPr>
          <p:cNvPr id="28" name="Picture 27" descr="A picture containing drawing&#10;&#10;Description automatically generated">
            <a:extLst>
              <a:ext uri="{FF2B5EF4-FFF2-40B4-BE49-F238E27FC236}">
                <a16:creationId xmlns:a16="http://schemas.microsoft.com/office/drawing/2014/main" id="{B1B380F8-EFA3-4A34-A4AE-72C53E034A3C}"/>
              </a:ext>
            </a:extLst>
          </p:cNvPr>
          <p:cNvPicPr>
            <a:picLocks noChangeAspect="1"/>
          </p:cNvPicPr>
          <p:nvPr/>
        </p:nvPicPr>
        <p:blipFill>
          <a:blip r:embed="rId11"/>
          <a:stretch>
            <a:fillRect/>
          </a:stretch>
        </p:blipFill>
        <p:spPr>
          <a:xfrm>
            <a:off x="4741380" y="3323103"/>
            <a:ext cx="780290" cy="780290"/>
          </a:xfrm>
          <a:prstGeom prst="rect">
            <a:avLst/>
          </a:prstGeom>
        </p:spPr>
      </p:pic>
      <p:sp>
        <p:nvSpPr>
          <p:cNvPr id="29" name="TextBox 28">
            <a:extLst>
              <a:ext uri="{FF2B5EF4-FFF2-40B4-BE49-F238E27FC236}">
                <a16:creationId xmlns:a16="http://schemas.microsoft.com/office/drawing/2014/main" id="{66291103-8EEE-4A77-92B6-F4757E443DF9}"/>
              </a:ext>
            </a:extLst>
          </p:cNvPr>
          <p:cNvSpPr txBox="1"/>
          <p:nvPr/>
        </p:nvSpPr>
        <p:spPr>
          <a:xfrm>
            <a:off x="5791597" y="1399341"/>
            <a:ext cx="3390073"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FSLFS\Share\</a:t>
            </a:r>
            <a:r>
              <a:rPr lang="en-US" sz="2400" b="1" u="sng" dirty="0">
                <a:gradFill>
                  <a:gsLst>
                    <a:gs pos="2917">
                      <a:schemeClr val="tx1"/>
                    </a:gs>
                    <a:gs pos="30000">
                      <a:schemeClr val="tx1"/>
                    </a:gs>
                  </a:gsLst>
                  <a:lin ang="5400000" scaled="0"/>
                </a:gradFill>
              </a:rPr>
              <a:t>Apps2</a:t>
            </a:r>
          </a:p>
        </p:txBody>
      </p:sp>
      <p:sp>
        <p:nvSpPr>
          <p:cNvPr id="30" name="TextBox 29">
            <a:extLst>
              <a:ext uri="{FF2B5EF4-FFF2-40B4-BE49-F238E27FC236}">
                <a16:creationId xmlns:a16="http://schemas.microsoft.com/office/drawing/2014/main" id="{378C3344-3BA7-4BFB-A551-6EEDB1CD95F2}"/>
              </a:ext>
            </a:extLst>
          </p:cNvPr>
          <p:cNvSpPr txBox="1"/>
          <p:nvPr/>
        </p:nvSpPr>
        <p:spPr>
          <a:xfrm>
            <a:off x="3698809" y="4009206"/>
            <a:ext cx="3780164"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FSLFS\Share\</a:t>
            </a:r>
            <a:r>
              <a:rPr lang="en-US" sz="2400" b="1" u="sng" dirty="0">
                <a:gradFill>
                  <a:gsLst>
                    <a:gs pos="2917">
                      <a:schemeClr val="tx1"/>
                    </a:gs>
                    <a:gs pos="30000">
                      <a:schemeClr val="tx1"/>
                    </a:gs>
                  </a:gsLst>
                  <a:lin ang="5400000" scaled="0"/>
                </a:gradFill>
              </a:rPr>
              <a:t>Desktop1</a:t>
            </a:r>
          </a:p>
        </p:txBody>
      </p:sp>
      <p:cxnSp>
        <p:nvCxnSpPr>
          <p:cNvPr id="32" name="Straight Arrow Connector 31">
            <a:extLst>
              <a:ext uri="{FF2B5EF4-FFF2-40B4-BE49-F238E27FC236}">
                <a16:creationId xmlns:a16="http://schemas.microsoft.com/office/drawing/2014/main" id="{6D19947D-28C3-45A3-9460-235ED3C733ED}"/>
              </a:ext>
            </a:extLst>
          </p:cNvPr>
          <p:cNvCxnSpPr>
            <a:cxnSpLocks/>
          </p:cNvCxnSpPr>
          <p:nvPr/>
        </p:nvCxnSpPr>
        <p:spPr>
          <a:xfrm flipV="1">
            <a:off x="2932630" y="4350441"/>
            <a:ext cx="888743" cy="147389"/>
          </a:xfrm>
          <a:prstGeom prst="straightConnector1">
            <a:avLst/>
          </a:prstGeom>
          <a:ln w="41275">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81A8EF6D-8D3B-4729-99DC-5F81FA0AEA7A}"/>
              </a:ext>
            </a:extLst>
          </p:cNvPr>
          <p:cNvCxnSpPr>
            <a:cxnSpLocks/>
          </p:cNvCxnSpPr>
          <p:nvPr/>
        </p:nvCxnSpPr>
        <p:spPr>
          <a:xfrm flipH="1" flipV="1">
            <a:off x="7847463" y="2364378"/>
            <a:ext cx="1902036" cy="552090"/>
          </a:xfrm>
          <a:prstGeom prst="straightConnector1">
            <a:avLst/>
          </a:prstGeom>
          <a:ln w="41275">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0669FA7E-809E-4068-A7DC-DEEF8A91671E}"/>
              </a:ext>
            </a:extLst>
          </p:cNvPr>
          <p:cNvSpPr txBox="1"/>
          <p:nvPr/>
        </p:nvSpPr>
        <p:spPr>
          <a:xfrm>
            <a:off x="7646363" y="4430014"/>
            <a:ext cx="4206271" cy="1668149"/>
          </a:xfrm>
          <a:prstGeom prst="rect">
            <a:avLst/>
          </a:prstGeom>
          <a:noFill/>
        </p:spPr>
        <p:txBody>
          <a:bodyPr wrap="square" lIns="182880" tIns="146304" rIns="182880" bIns="146304" rtlCol="0">
            <a:spAutoFit/>
          </a:bodyPr>
          <a:lstStyle/>
          <a:p>
            <a:pPr>
              <a:lnSpc>
                <a:spcPct val="90000"/>
              </a:lnSpc>
              <a:spcAft>
                <a:spcPts val="600"/>
              </a:spcAft>
            </a:pPr>
            <a:r>
              <a:rPr lang="en-US" sz="2800" dirty="0">
                <a:gradFill>
                  <a:gsLst>
                    <a:gs pos="2917">
                      <a:schemeClr val="tx1"/>
                    </a:gs>
                    <a:gs pos="30000">
                      <a:schemeClr val="tx1"/>
                    </a:gs>
                  </a:gsLst>
                  <a:lin ang="5400000" scaled="0"/>
                </a:gradFill>
              </a:rPr>
              <a:t>Best Practices:</a:t>
            </a:r>
          </a:p>
          <a:p>
            <a:pPr marL="342900" indent="-342900">
              <a:lnSpc>
                <a:spcPct val="90000"/>
              </a:lnSpc>
              <a:spcAft>
                <a:spcPts val="600"/>
              </a:spcAft>
              <a:buFontTx/>
              <a:buChar char="-"/>
            </a:pPr>
            <a:r>
              <a:rPr lang="en-US" sz="2000" dirty="0">
                <a:gradFill>
                  <a:gsLst>
                    <a:gs pos="2917">
                      <a:schemeClr val="tx1"/>
                    </a:gs>
                    <a:gs pos="30000">
                      <a:schemeClr val="tx1"/>
                    </a:gs>
                  </a:gsLst>
                  <a:lin ang="5400000" scaled="0"/>
                </a:gradFill>
              </a:rPr>
              <a:t>Unique UNC for each HostPool</a:t>
            </a:r>
          </a:p>
          <a:p>
            <a:pPr marL="342900" indent="-342900">
              <a:lnSpc>
                <a:spcPct val="90000"/>
              </a:lnSpc>
              <a:spcAft>
                <a:spcPts val="600"/>
              </a:spcAft>
              <a:buFontTx/>
              <a:buChar char="-"/>
            </a:pPr>
            <a:r>
              <a:rPr lang="en-US" sz="2000" dirty="0">
                <a:gradFill>
                  <a:gsLst>
                    <a:gs pos="2917">
                      <a:schemeClr val="tx1"/>
                    </a:gs>
                    <a:gs pos="30000">
                      <a:schemeClr val="tx1"/>
                    </a:gs>
                  </a:gsLst>
                  <a:lin ang="5400000" scaled="0"/>
                </a:gradFill>
              </a:rPr>
              <a:t>Name directory same as HostPool (easy to see mapping)</a:t>
            </a:r>
          </a:p>
        </p:txBody>
      </p:sp>
    </p:spTree>
    <p:extLst>
      <p:ext uri="{BB962C8B-B14F-4D97-AF65-F5344CB8AC3E}">
        <p14:creationId xmlns:p14="http://schemas.microsoft.com/office/powerpoint/2010/main" val="9058693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wipe(left)">
                                      <p:cBhvr>
                                        <p:cTn id="10" dur="500"/>
                                        <p:tgtEl>
                                          <p:spTgt spid="5"/>
                                        </p:tgtEl>
                                      </p:cBhvr>
                                    </p:animEffect>
                                  </p:childTnLst>
                                </p:cTn>
                              </p:par>
                              <p:par>
                                <p:cTn id="11" presetID="22" presetClass="entr" presetSubtype="8" fill="hold"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wipe(left)">
                                      <p:cBhvr>
                                        <p:cTn id="13" dur="500"/>
                                        <p:tgtEl>
                                          <p:spTgt spid="6"/>
                                        </p:tgtEl>
                                      </p:cBhvr>
                                    </p:animEffect>
                                  </p:childTnLst>
                                </p:cTn>
                              </p:par>
                              <p:par>
                                <p:cTn id="14" presetID="22" presetClass="entr" presetSubtype="8" fill="hold"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wipe(left)">
                                      <p:cBhvr>
                                        <p:cTn id="16" dur="500"/>
                                        <p:tgtEl>
                                          <p:spTgt spid="7"/>
                                        </p:tgtEl>
                                      </p:cBhvr>
                                    </p:animEffect>
                                  </p:childTnLst>
                                </p:cTn>
                              </p:par>
                              <p:par>
                                <p:cTn id="17" presetID="22" presetClass="entr" presetSubtype="8" fill="hold" nodeType="with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wipe(left)">
                                      <p:cBhvr>
                                        <p:cTn id="19" dur="500"/>
                                        <p:tgtEl>
                                          <p:spTgt spid="8"/>
                                        </p:tgtEl>
                                      </p:cBhvr>
                                    </p:animEffect>
                                  </p:childTnLst>
                                </p:cTn>
                              </p:par>
                              <p:par>
                                <p:cTn id="20" presetID="22" presetClass="entr" presetSubtype="8" fill="hold" nodeType="with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wipe(left)">
                                      <p:cBhvr>
                                        <p:cTn id="22" dur="500"/>
                                        <p:tgtEl>
                                          <p:spTgt spid="9"/>
                                        </p:tgtEl>
                                      </p:cBhvr>
                                    </p:animEffect>
                                  </p:childTnLst>
                                </p:cTn>
                              </p:par>
                              <p:par>
                                <p:cTn id="23" presetID="22" presetClass="entr" presetSubtype="8" fill="hold" nodeType="withEffect">
                                  <p:stCondLst>
                                    <p:cond delay="0"/>
                                  </p:stCondLst>
                                  <p:childTnLst>
                                    <p:set>
                                      <p:cBhvr>
                                        <p:cTn id="24" dur="1" fill="hold">
                                          <p:stCondLst>
                                            <p:cond delay="0"/>
                                          </p:stCondLst>
                                        </p:cTn>
                                        <p:tgtEl>
                                          <p:spTgt spid="20"/>
                                        </p:tgtEl>
                                        <p:attrNameLst>
                                          <p:attrName>style.visibility</p:attrName>
                                        </p:attrNameLst>
                                      </p:cBhvr>
                                      <p:to>
                                        <p:strVal val="visible"/>
                                      </p:to>
                                    </p:set>
                                    <p:animEffect transition="in" filter="wipe(left)">
                                      <p:cBhvr>
                                        <p:cTn id="25" dur="500"/>
                                        <p:tgtEl>
                                          <p:spTgt spid="20"/>
                                        </p:tgtEl>
                                      </p:cBhvr>
                                    </p:animEffect>
                                  </p:childTnLst>
                                </p:cTn>
                              </p:par>
                              <p:par>
                                <p:cTn id="26" presetID="22" presetClass="entr" presetSubtype="8" fill="hold" grpId="0" nodeType="withEffect">
                                  <p:stCondLst>
                                    <p:cond delay="0"/>
                                  </p:stCondLst>
                                  <p:childTnLst>
                                    <p:set>
                                      <p:cBhvr>
                                        <p:cTn id="27" dur="1" fill="hold">
                                          <p:stCondLst>
                                            <p:cond delay="0"/>
                                          </p:stCondLst>
                                        </p:cTn>
                                        <p:tgtEl>
                                          <p:spTgt spid="21"/>
                                        </p:tgtEl>
                                        <p:attrNameLst>
                                          <p:attrName>style.visibility</p:attrName>
                                        </p:attrNameLst>
                                      </p:cBhvr>
                                      <p:to>
                                        <p:strVal val="visible"/>
                                      </p:to>
                                    </p:set>
                                    <p:animEffect transition="in" filter="wipe(left)">
                                      <p:cBhvr>
                                        <p:cTn id="28" dur="500"/>
                                        <p:tgtEl>
                                          <p:spTgt spid="21"/>
                                        </p:tgtEl>
                                      </p:cBhvr>
                                    </p:animEffect>
                                  </p:childTnLst>
                                </p:cTn>
                              </p:par>
                              <p:par>
                                <p:cTn id="29" presetID="22" presetClass="entr" presetSubtype="8" fill="hold" nodeType="withEffect">
                                  <p:stCondLst>
                                    <p:cond delay="0"/>
                                  </p:stCondLst>
                                  <p:childTnLst>
                                    <p:set>
                                      <p:cBhvr>
                                        <p:cTn id="30" dur="1" fill="hold">
                                          <p:stCondLst>
                                            <p:cond delay="0"/>
                                          </p:stCondLst>
                                        </p:cTn>
                                        <p:tgtEl>
                                          <p:spTgt spid="28"/>
                                        </p:tgtEl>
                                        <p:attrNameLst>
                                          <p:attrName>style.visibility</p:attrName>
                                        </p:attrNameLst>
                                      </p:cBhvr>
                                      <p:to>
                                        <p:strVal val="visible"/>
                                      </p:to>
                                    </p:set>
                                    <p:animEffect transition="in" filter="wipe(left)">
                                      <p:cBhvr>
                                        <p:cTn id="31" dur="500"/>
                                        <p:tgtEl>
                                          <p:spTgt spid="28"/>
                                        </p:tgtEl>
                                      </p:cBhvr>
                                    </p:animEffect>
                                  </p:childTnLst>
                                </p:cTn>
                              </p:par>
                              <p:par>
                                <p:cTn id="32" presetID="22" presetClass="entr" presetSubtype="8" fill="hold" grpId="0" nodeType="withEffect">
                                  <p:stCondLst>
                                    <p:cond delay="0"/>
                                  </p:stCondLst>
                                  <p:childTnLst>
                                    <p:set>
                                      <p:cBhvr>
                                        <p:cTn id="33" dur="1" fill="hold">
                                          <p:stCondLst>
                                            <p:cond delay="0"/>
                                          </p:stCondLst>
                                        </p:cTn>
                                        <p:tgtEl>
                                          <p:spTgt spid="30"/>
                                        </p:tgtEl>
                                        <p:attrNameLst>
                                          <p:attrName>style.visibility</p:attrName>
                                        </p:attrNameLst>
                                      </p:cBhvr>
                                      <p:to>
                                        <p:strVal val="visible"/>
                                      </p:to>
                                    </p:set>
                                    <p:animEffect transition="in" filter="wipe(left)">
                                      <p:cBhvr>
                                        <p:cTn id="34" dur="500"/>
                                        <p:tgtEl>
                                          <p:spTgt spid="30"/>
                                        </p:tgtEl>
                                      </p:cBhvr>
                                    </p:animEffect>
                                  </p:childTnLst>
                                </p:cTn>
                              </p:par>
                              <p:par>
                                <p:cTn id="35" presetID="22" presetClass="entr" presetSubtype="8" fill="hold" nodeType="withEffect">
                                  <p:stCondLst>
                                    <p:cond delay="0"/>
                                  </p:stCondLst>
                                  <p:childTnLst>
                                    <p:set>
                                      <p:cBhvr>
                                        <p:cTn id="36" dur="1" fill="hold">
                                          <p:stCondLst>
                                            <p:cond delay="0"/>
                                          </p:stCondLst>
                                        </p:cTn>
                                        <p:tgtEl>
                                          <p:spTgt spid="32"/>
                                        </p:tgtEl>
                                        <p:attrNameLst>
                                          <p:attrName>style.visibility</p:attrName>
                                        </p:attrNameLst>
                                      </p:cBhvr>
                                      <p:to>
                                        <p:strVal val="visible"/>
                                      </p:to>
                                    </p:set>
                                    <p:animEffect transition="in" filter="wipe(left)">
                                      <p:cBhvr>
                                        <p:cTn id="37" dur="500"/>
                                        <p:tgtEl>
                                          <p:spTgt spid="32"/>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2" fill="hold" grpId="0" nodeType="clickEffect">
                                  <p:stCondLst>
                                    <p:cond delay="0"/>
                                  </p:stCondLst>
                                  <p:childTnLst>
                                    <p:set>
                                      <p:cBhvr>
                                        <p:cTn id="41" dur="1" fill="hold">
                                          <p:stCondLst>
                                            <p:cond delay="0"/>
                                          </p:stCondLst>
                                        </p:cTn>
                                        <p:tgtEl>
                                          <p:spTgt spid="10"/>
                                        </p:tgtEl>
                                        <p:attrNameLst>
                                          <p:attrName>style.visibility</p:attrName>
                                        </p:attrNameLst>
                                      </p:cBhvr>
                                      <p:to>
                                        <p:strVal val="visible"/>
                                      </p:to>
                                    </p:set>
                                    <p:animEffect transition="in" filter="wipe(right)">
                                      <p:cBhvr>
                                        <p:cTn id="42" dur="500"/>
                                        <p:tgtEl>
                                          <p:spTgt spid="10"/>
                                        </p:tgtEl>
                                      </p:cBhvr>
                                    </p:animEffect>
                                  </p:childTnLst>
                                </p:cTn>
                              </p:par>
                              <p:par>
                                <p:cTn id="43" presetID="22" presetClass="entr" presetSubtype="2" fill="hold" nodeType="withEffect">
                                  <p:stCondLst>
                                    <p:cond delay="0"/>
                                  </p:stCondLst>
                                  <p:childTnLst>
                                    <p:set>
                                      <p:cBhvr>
                                        <p:cTn id="44" dur="1" fill="hold">
                                          <p:stCondLst>
                                            <p:cond delay="0"/>
                                          </p:stCondLst>
                                        </p:cTn>
                                        <p:tgtEl>
                                          <p:spTgt spid="11"/>
                                        </p:tgtEl>
                                        <p:attrNameLst>
                                          <p:attrName>style.visibility</p:attrName>
                                        </p:attrNameLst>
                                      </p:cBhvr>
                                      <p:to>
                                        <p:strVal val="visible"/>
                                      </p:to>
                                    </p:set>
                                    <p:animEffect transition="in" filter="wipe(right)">
                                      <p:cBhvr>
                                        <p:cTn id="45" dur="500"/>
                                        <p:tgtEl>
                                          <p:spTgt spid="11"/>
                                        </p:tgtEl>
                                      </p:cBhvr>
                                    </p:animEffect>
                                  </p:childTnLst>
                                </p:cTn>
                              </p:par>
                              <p:par>
                                <p:cTn id="46" presetID="22" presetClass="entr" presetSubtype="2" fill="hold" nodeType="withEffect">
                                  <p:stCondLst>
                                    <p:cond delay="0"/>
                                  </p:stCondLst>
                                  <p:childTnLst>
                                    <p:set>
                                      <p:cBhvr>
                                        <p:cTn id="47" dur="1" fill="hold">
                                          <p:stCondLst>
                                            <p:cond delay="0"/>
                                          </p:stCondLst>
                                        </p:cTn>
                                        <p:tgtEl>
                                          <p:spTgt spid="12"/>
                                        </p:tgtEl>
                                        <p:attrNameLst>
                                          <p:attrName>style.visibility</p:attrName>
                                        </p:attrNameLst>
                                      </p:cBhvr>
                                      <p:to>
                                        <p:strVal val="visible"/>
                                      </p:to>
                                    </p:set>
                                    <p:animEffect transition="in" filter="wipe(right)">
                                      <p:cBhvr>
                                        <p:cTn id="48" dur="500"/>
                                        <p:tgtEl>
                                          <p:spTgt spid="12"/>
                                        </p:tgtEl>
                                      </p:cBhvr>
                                    </p:animEffect>
                                  </p:childTnLst>
                                </p:cTn>
                              </p:par>
                              <p:par>
                                <p:cTn id="49" presetID="22" presetClass="entr" presetSubtype="2" fill="hold" nodeType="withEffect">
                                  <p:stCondLst>
                                    <p:cond delay="0"/>
                                  </p:stCondLst>
                                  <p:childTnLst>
                                    <p:set>
                                      <p:cBhvr>
                                        <p:cTn id="50" dur="1" fill="hold">
                                          <p:stCondLst>
                                            <p:cond delay="0"/>
                                          </p:stCondLst>
                                        </p:cTn>
                                        <p:tgtEl>
                                          <p:spTgt spid="13"/>
                                        </p:tgtEl>
                                        <p:attrNameLst>
                                          <p:attrName>style.visibility</p:attrName>
                                        </p:attrNameLst>
                                      </p:cBhvr>
                                      <p:to>
                                        <p:strVal val="visible"/>
                                      </p:to>
                                    </p:set>
                                    <p:animEffect transition="in" filter="wipe(right)">
                                      <p:cBhvr>
                                        <p:cTn id="51" dur="500"/>
                                        <p:tgtEl>
                                          <p:spTgt spid="13"/>
                                        </p:tgtEl>
                                      </p:cBhvr>
                                    </p:animEffect>
                                  </p:childTnLst>
                                </p:cTn>
                              </p:par>
                              <p:par>
                                <p:cTn id="52" presetID="22" presetClass="entr" presetSubtype="2" fill="hold" nodeType="withEffect">
                                  <p:stCondLst>
                                    <p:cond delay="0"/>
                                  </p:stCondLst>
                                  <p:childTnLst>
                                    <p:set>
                                      <p:cBhvr>
                                        <p:cTn id="53" dur="1" fill="hold">
                                          <p:stCondLst>
                                            <p:cond delay="0"/>
                                          </p:stCondLst>
                                        </p:cTn>
                                        <p:tgtEl>
                                          <p:spTgt spid="14"/>
                                        </p:tgtEl>
                                        <p:attrNameLst>
                                          <p:attrName>style.visibility</p:attrName>
                                        </p:attrNameLst>
                                      </p:cBhvr>
                                      <p:to>
                                        <p:strVal val="visible"/>
                                      </p:to>
                                    </p:set>
                                    <p:animEffect transition="in" filter="wipe(right)">
                                      <p:cBhvr>
                                        <p:cTn id="54" dur="500"/>
                                        <p:tgtEl>
                                          <p:spTgt spid="14"/>
                                        </p:tgtEl>
                                      </p:cBhvr>
                                    </p:animEffect>
                                  </p:childTnLst>
                                </p:cTn>
                              </p:par>
                              <p:par>
                                <p:cTn id="55" presetID="22" presetClass="entr" presetSubtype="2" fill="hold" nodeType="withEffect">
                                  <p:stCondLst>
                                    <p:cond delay="0"/>
                                  </p:stCondLst>
                                  <p:childTnLst>
                                    <p:set>
                                      <p:cBhvr>
                                        <p:cTn id="56" dur="1" fill="hold">
                                          <p:stCondLst>
                                            <p:cond delay="0"/>
                                          </p:stCondLst>
                                        </p:cTn>
                                        <p:tgtEl>
                                          <p:spTgt spid="15"/>
                                        </p:tgtEl>
                                        <p:attrNameLst>
                                          <p:attrName>style.visibility</p:attrName>
                                        </p:attrNameLst>
                                      </p:cBhvr>
                                      <p:to>
                                        <p:strVal val="visible"/>
                                      </p:to>
                                    </p:set>
                                    <p:animEffect transition="in" filter="wipe(right)">
                                      <p:cBhvr>
                                        <p:cTn id="57" dur="500"/>
                                        <p:tgtEl>
                                          <p:spTgt spid="15"/>
                                        </p:tgtEl>
                                      </p:cBhvr>
                                    </p:animEffect>
                                  </p:childTnLst>
                                </p:cTn>
                              </p:par>
                              <p:par>
                                <p:cTn id="58" presetID="22" presetClass="entr" presetSubtype="2" fill="hold" grpId="0" nodeType="withEffect">
                                  <p:stCondLst>
                                    <p:cond delay="0"/>
                                  </p:stCondLst>
                                  <p:childTnLst>
                                    <p:set>
                                      <p:cBhvr>
                                        <p:cTn id="59" dur="1" fill="hold">
                                          <p:stCondLst>
                                            <p:cond delay="0"/>
                                          </p:stCondLst>
                                        </p:cTn>
                                        <p:tgtEl>
                                          <p:spTgt spid="16"/>
                                        </p:tgtEl>
                                        <p:attrNameLst>
                                          <p:attrName>style.visibility</p:attrName>
                                        </p:attrNameLst>
                                      </p:cBhvr>
                                      <p:to>
                                        <p:strVal val="visible"/>
                                      </p:to>
                                    </p:set>
                                    <p:animEffect transition="in" filter="wipe(right)">
                                      <p:cBhvr>
                                        <p:cTn id="60" dur="500"/>
                                        <p:tgtEl>
                                          <p:spTgt spid="16"/>
                                        </p:tgtEl>
                                      </p:cBhvr>
                                    </p:animEffect>
                                  </p:childTnLst>
                                </p:cTn>
                              </p:par>
                              <p:par>
                                <p:cTn id="61" presetID="22" presetClass="entr" presetSubtype="2" fill="hold" nodeType="withEffect">
                                  <p:stCondLst>
                                    <p:cond delay="0"/>
                                  </p:stCondLst>
                                  <p:childTnLst>
                                    <p:set>
                                      <p:cBhvr>
                                        <p:cTn id="62" dur="1" fill="hold">
                                          <p:stCondLst>
                                            <p:cond delay="0"/>
                                          </p:stCondLst>
                                        </p:cTn>
                                        <p:tgtEl>
                                          <p:spTgt spid="17"/>
                                        </p:tgtEl>
                                        <p:attrNameLst>
                                          <p:attrName>style.visibility</p:attrName>
                                        </p:attrNameLst>
                                      </p:cBhvr>
                                      <p:to>
                                        <p:strVal val="visible"/>
                                      </p:to>
                                    </p:set>
                                    <p:animEffect transition="in" filter="wipe(right)">
                                      <p:cBhvr>
                                        <p:cTn id="63" dur="500"/>
                                        <p:tgtEl>
                                          <p:spTgt spid="17"/>
                                        </p:tgtEl>
                                      </p:cBhvr>
                                    </p:animEffect>
                                  </p:childTnLst>
                                </p:cTn>
                              </p:par>
                              <p:par>
                                <p:cTn id="64" presetID="22" presetClass="entr" presetSubtype="2" fill="hold" nodeType="withEffect">
                                  <p:stCondLst>
                                    <p:cond delay="0"/>
                                  </p:stCondLst>
                                  <p:childTnLst>
                                    <p:set>
                                      <p:cBhvr>
                                        <p:cTn id="65" dur="1" fill="hold">
                                          <p:stCondLst>
                                            <p:cond delay="0"/>
                                          </p:stCondLst>
                                        </p:cTn>
                                        <p:tgtEl>
                                          <p:spTgt spid="18"/>
                                        </p:tgtEl>
                                        <p:attrNameLst>
                                          <p:attrName>style.visibility</p:attrName>
                                        </p:attrNameLst>
                                      </p:cBhvr>
                                      <p:to>
                                        <p:strVal val="visible"/>
                                      </p:to>
                                    </p:set>
                                    <p:animEffect transition="in" filter="wipe(right)">
                                      <p:cBhvr>
                                        <p:cTn id="66" dur="500"/>
                                        <p:tgtEl>
                                          <p:spTgt spid="18"/>
                                        </p:tgtEl>
                                      </p:cBhvr>
                                    </p:animEffect>
                                  </p:childTnLst>
                                </p:cTn>
                              </p:par>
                              <p:par>
                                <p:cTn id="67" presetID="22" presetClass="entr" presetSubtype="2" fill="hold" nodeType="withEffect">
                                  <p:stCondLst>
                                    <p:cond delay="0"/>
                                  </p:stCondLst>
                                  <p:childTnLst>
                                    <p:set>
                                      <p:cBhvr>
                                        <p:cTn id="68" dur="1" fill="hold">
                                          <p:stCondLst>
                                            <p:cond delay="0"/>
                                          </p:stCondLst>
                                        </p:cTn>
                                        <p:tgtEl>
                                          <p:spTgt spid="19"/>
                                        </p:tgtEl>
                                        <p:attrNameLst>
                                          <p:attrName>style.visibility</p:attrName>
                                        </p:attrNameLst>
                                      </p:cBhvr>
                                      <p:to>
                                        <p:strVal val="visible"/>
                                      </p:to>
                                    </p:set>
                                    <p:animEffect transition="in" filter="wipe(right)">
                                      <p:cBhvr>
                                        <p:cTn id="69" dur="500"/>
                                        <p:tgtEl>
                                          <p:spTgt spid="19"/>
                                        </p:tgtEl>
                                      </p:cBhvr>
                                    </p:animEffect>
                                  </p:childTnLst>
                                </p:cTn>
                              </p:par>
                              <p:par>
                                <p:cTn id="70" presetID="22" presetClass="entr" presetSubtype="2" fill="hold" nodeType="withEffect">
                                  <p:stCondLst>
                                    <p:cond delay="0"/>
                                  </p:stCondLst>
                                  <p:childTnLst>
                                    <p:set>
                                      <p:cBhvr>
                                        <p:cTn id="71" dur="1" fill="hold">
                                          <p:stCondLst>
                                            <p:cond delay="0"/>
                                          </p:stCondLst>
                                        </p:cTn>
                                        <p:tgtEl>
                                          <p:spTgt spid="26"/>
                                        </p:tgtEl>
                                        <p:attrNameLst>
                                          <p:attrName>style.visibility</p:attrName>
                                        </p:attrNameLst>
                                      </p:cBhvr>
                                      <p:to>
                                        <p:strVal val="visible"/>
                                      </p:to>
                                    </p:set>
                                    <p:animEffect transition="in" filter="wipe(right)">
                                      <p:cBhvr>
                                        <p:cTn id="72" dur="500"/>
                                        <p:tgtEl>
                                          <p:spTgt spid="26"/>
                                        </p:tgtEl>
                                      </p:cBhvr>
                                    </p:animEffect>
                                  </p:childTnLst>
                                </p:cTn>
                              </p:par>
                              <p:par>
                                <p:cTn id="73" presetID="22" presetClass="entr" presetSubtype="2" fill="hold" grpId="0" nodeType="withEffect">
                                  <p:stCondLst>
                                    <p:cond delay="0"/>
                                  </p:stCondLst>
                                  <p:childTnLst>
                                    <p:set>
                                      <p:cBhvr>
                                        <p:cTn id="74" dur="1" fill="hold">
                                          <p:stCondLst>
                                            <p:cond delay="0"/>
                                          </p:stCondLst>
                                        </p:cTn>
                                        <p:tgtEl>
                                          <p:spTgt spid="29"/>
                                        </p:tgtEl>
                                        <p:attrNameLst>
                                          <p:attrName>style.visibility</p:attrName>
                                        </p:attrNameLst>
                                      </p:cBhvr>
                                      <p:to>
                                        <p:strVal val="visible"/>
                                      </p:to>
                                    </p:set>
                                    <p:animEffect transition="in" filter="wipe(right)">
                                      <p:cBhvr>
                                        <p:cTn id="75" dur="500"/>
                                        <p:tgtEl>
                                          <p:spTgt spid="29"/>
                                        </p:tgtEl>
                                      </p:cBhvr>
                                    </p:animEffect>
                                  </p:childTnLst>
                                </p:cTn>
                              </p:par>
                              <p:par>
                                <p:cTn id="76" presetID="22" presetClass="entr" presetSubtype="2" fill="hold" nodeType="withEffect">
                                  <p:stCondLst>
                                    <p:cond delay="0"/>
                                  </p:stCondLst>
                                  <p:childTnLst>
                                    <p:set>
                                      <p:cBhvr>
                                        <p:cTn id="77" dur="1" fill="hold">
                                          <p:stCondLst>
                                            <p:cond delay="0"/>
                                          </p:stCondLst>
                                        </p:cTn>
                                        <p:tgtEl>
                                          <p:spTgt spid="36"/>
                                        </p:tgtEl>
                                        <p:attrNameLst>
                                          <p:attrName>style.visibility</p:attrName>
                                        </p:attrNameLst>
                                      </p:cBhvr>
                                      <p:to>
                                        <p:strVal val="visible"/>
                                      </p:to>
                                    </p:set>
                                    <p:animEffect transition="in" filter="wipe(right)">
                                      <p:cBhvr>
                                        <p:cTn id="78"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0" grpId="0" animBg="1"/>
      <p:bldP spid="16" grpId="0" animBg="1"/>
      <p:bldP spid="21" grpId="0" animBg="1"/>
      <p:bldP spid="29" grpId="0"/>
      <p:bldP spid="30" grpId="0"/>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2E436E-B486-492F-86C0-3301559C4ED6}"/>
              </a:ext>
            </a:extLst>
          </p:cNvPr>
          <p:cNvSpPr>
            <a:spLocks noGrp="1"/>
          </p:cNvSpPr>
          <p:nvPr>
            <p:ph type="title"/>
          </p:nvPr>
        </p:nvSpPr>
        <p:spPr/>
        <p:txBody>
          <a:bodyPr/>
          <a:lstStyle/>
          <a:p>
            <a:r>
              <a:rPr lang="en-US" dirty="0"/>
              <a:t>Next Steps</a:t>
            </a:r>
          </a:p>
        </p:txBody>
      </p:sp>
      <p:sp>
        <p:nvSpPr>
          <p:cNvPr id="4" name="Text Placeholder 3">
            <a:extLst>
              <a:ext uri="{FF2B5EF4-FFF2-40B4-BE49-F238E27FC236}">
                <a16:creationId xmlns:a16="http://schemas.microsoft.com/office/drawing/2014/main" id="{38D047CD-27CE-47CE-AADA-67BEC6FA1D5B}"/>
              </a:ext>
            </a:extLst>
          </p:cNvPr>
          <p:cNvSpPr>
            <a:spLocks noGrp="1"/>
          </p:cNvSpPr>
          <p:nvPr>
            <p:ph type="body" sz="quarter" idx="10"/>
          </p:nvPr>
        </p:nvSpPr>
        <p:spPr>
          <a:xfrm>
            <a:off x="588262" y="1336106"/>
            <a:ext cx="11336817" cy="5330690"/>
          </a:xfrm>
        </p:spPr>
        <p:txBody>
          <a:bodyPr/>
          <a:lstStyle/>
          <a:p>
            <a:r>
              <a:rPr lang="en-US" sz="3200" dirty="0"/>
              <a:t>If you created a Desktop HostPool:</a:t>
            </a:r>
          </a:p>
          <a:p>
            <a:pPr lvl="1"/>
            <a:r>
              <a:rPr lang="en-US" sz="2400" dirty="0"/>
              <a:t>Login to one of the VMs via WVD at: </a:t>
            </a:r>
            <a:r>
              <a:rPr lang="en-US" sz="2400" dirty="0">
                <a:hlinkClick r:id="rId2"/>
              </a:rPr>
              <a:t>https://aka.ms/wvdweb</a:t>
            </a:r>
            <a:r>
              <a:rPr lang="en-US" sz="2400" dirty="0"/>
              <a:t> </a:t>
            </a:r>
          </a:p>
          <a:p>
            <a:pPr lvl="1"/>
            <a:r>
              <a:rPr lang="en-US" sz="2400" dirty="0"/>
              <a:t>Use creds for one of the assigned Desktop Users</a:t>
            </a:r>
          </a:p>
          <a:p>
            <a:r>
              <a:rPr lang="en-US" sz="3200" dirty="0"/>
              <a:t>Optionally add more users per the PS1 (</a:t>
            </a:r>
            <a:r>
              <a:rPr lang="en-US" sz="2400" dirty="0"/>
              <a:t>line 74 </a:t>
            </a:r>
            <a:r>
              <a:rPr lang="en-US" sz="1800" dirty="0">
                <a:solidFill>
                  <a:srgbClr val="0000FF"/>
                </a:solidFill>
                <a:latin typeface="Lucida Console" panose="020B0609040504020204" pitchFamily="49" charset="0"/>
              </a:rPr>
              <a:t>Add-</a:t>
            </a:r>
            <a:r>
              <a:rPr lang="en-US" sz="1800" dirty="0" err="1">
                <a:solidFill>
                  <a:srgbClr val="0000FF"/>
                </a:solidFill>
                <a:latin typeface="Lucida Console" panose="020B0609040504020204" pitchFamily="49" charset="0"/>
              </a:rPr>
              <a:t>RdsAppGroupUser</a:t>
            </a:r>
            <a:r>
              <a:rPr lang="en-US" sz="1800" dirty="0">
                <a:solidFill>
                  <a:srgbClr val="0000FF"/>
                </a:solidFill>
                <a:latin typeface="Lucida Console" panose="020B0609040504020204" pitchFamily="49" charset="0"/>
              </a:rPr>
              <a:t>… </a:t>
            </a:r>
            <a:r>
              <a:rPr lang="en-US" sz="3200" dirty="0"/>
              <a:t>)</a:t>
            </a:r>
            <a:r>
              <a:rPr lang="en-US" sz="1800" dirty="0">
                <a:solidFill>
                  <a:srgbClr val="0000FF"/>
                </a:solidFill>
                <a:latin typeface="Lucida Console" panose="020B0609040504020204" pitchFamily="49" charset="0"/>
              </a:rPr>
              <a:t> </a:t>
            </a:r>
          </a:p>
          <a:p>
            <a:pPr lvl="1"/>
            <a:endParaRPr lang="en-US" sz="2400" dirty="0"/>
          </a:p>
          <a:p>
            <a:r>
              <a:rPr lang="en-US" sz="3200" dirty="0"/>
              <a:t>If you created a RemoteApp HostPool:</a:t>
            </a:r>
          </a:p>
          <a:p>
            <a:pPr lvl="1"/>
            <a:r>
              <a:rPr lang="en-US" sz="2400" dirty="0"/>
              <a:t>Follow steps to Publish Apps in the PS1 (lines 97-125 starting at </a:t>
            </a:r>
            <a:r>
              <a:rPr lang="en-US" sz="1800" dirty="0">
                <a:solidFill>
                  <a:srgbClr val="006400"/>
                </a:solidFill>
                <a:latin typeface="Lucida Console" panose="020B0609040504020204" pitchFamily="49" charset="0"/>
              </a:rPr>
              <a:t># 2. Create a new RemoteApp app group</a:t>
            </a:r>
            <a:r>
              <a:rPr lang="en-US" sz="2400" dirty="0"/>
              <a:t>)</a:t>
            </a:r>
          </a:p>
          <a:p>
            <a:pPr lvl="1"/>
            <a:r>
              <a:rPr lang="en-US" sz="2400" dirty="0"/>
              <a:t>Assign Users to the Published Apps Pool (line 128 </a:t>
            </a:r>
            <a:r>
              <a:rPr lang="en-US" sz="1600" dirty="0">
                <a:solidFill>
                  <a:srgbClr val="0000FF"/>
                </a:solidFill>
                <a:latin typeface="Lucida Console" panose="020B0609040504020204" pitchFamily="49" charset="0"/>
              </a:rPr>
              <a:t>Add-</a:t>
            </a:r>
            <a:r>
              <a:rPr lang="en-US" sz="1600" dirty="0" err="1">
                <a:solidFill>
                  <a:srgbClr val="0000FF"/>
                </a:solidFill>
                <a:latin typeface="Lucida Console" panose="020B0609040504020204" pitchFamily="49" charset="0"/>
              </a:rPr>
              <a:t>RdsAppGroupUser</a:t>
            </a:r>
            <a:r>
              <a:rPr lang="en-US" sz="1600" dirty="0">
                <a:solidFill>
                  <a:srgbClr val="0000FF"/>
                </a:solidFill>
                <a:latin typeface="Lucida Console" panose="020B0609040504020204" pitchFamily="49" charset="0"/>
              </a:rPr>
              <a:t>…</a:t>
            </a:r>
            <a:r>
              <a:rPr lang="en-US" sz="2400" dirty="0"/>
              <a:t>)</a:t>
            </a:r>
          </a:p>
          <a:p>
            <a:pPr lvl="1"/>
            <a:r>
              <a:rPr lang="en-US" sz="2400" dirty="0"/>
              <a:t>Login to show the apps WVD at:  </a:t>
            </a:r>
            <a:r>
              <a:rPr lang="en-US" sz="2400" dirty="0">
                <a:hlinkClick r:id="rId2"/>
              </a:rPr>
              <a:t>https://aka.ms/wvdweb</a:t>
            </a:r>
            <a:r>
              <a:rPr lang="en-US" sz="2400" dirty="0"/>
              <a:t> </a:t>
            </a:r>
          </a:p>
          <a:p>
            <a:pPr lvl="1"/>
            <a:r>
              <a:rPr lang="en-US" sz="2400" dirty="0"/>
              <a:t>Use creds for one of the assigned RemoteApp Users</a:t>
            </a:r>
          </a:p>
        </p:txBody>
      </p:sp>
    </p:spTree>
    <p:extLst>
      <p:ext uri="{BB962C8B-B14F-4D97-AF65-F5344CB8AC3E}">
        <p14:creationId xmlns:p14="http://schemas.microsoft.com/office/powerpoint/2010/main" val="2088749069"/>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C5571B7-4F24-400F-ABE3-B82B995C0809}"/>
              </a:ext>
            </a:extLst>
          </p:cNvPr>
          <p:cNvSpPr>
            <a:spLocks noGrp="1"/>
          </p:cNvSpPr>
          <p:nvPr>
            <p:ph type="title"/>
          </p:nvPr>
        </p:nvSpPr>
        <p:spPr/>
        <p:txBody>
          <a:bodyPr/>
          <a:lstStyle/>
          <a:p>
            <a:r>
              <a:rPr lang="en-US" dirty="0"/>
              <a:t>Scenario - More Details</a:t>
            </a:r>
          </a:p>
        </p:txBody>
      </p:sp>
      <p:graphicFrame>
        <p:nvGraphicFramePr>
          <p:cNvPr id="6" name="Table 6">
            <a:extLst>
              <a:ext uri="{FF2B5EF4-FFF2-40B4-BE49-F238E27FC236}">
                <a16:creationId xmlns:a16="http://schemas.microsoft.com/office/drawing/2014/main" id="{A7F08F50-19E9-48C7-AE54-F467D19FF372}"/>
              </a:ext>
            </a:extLst>
          </p:cNvPr>
          <p:cNvGraphicFramePr>
            <a:graphicFrameLocks noGrp="1"/>
          </p:cNvGraphicFramePr>
          <p:nvPr>
            <p:extLst>
              <p:ext uri="{D42A27DB-BD31-4B8C-83A1-F6EECF244321}">
                <p14:modId xmlns:p14="http://schemas.microsoft.com/office/powerpoint/2010/main" val="3650312638"/>
              </p:ext>
            </p:extLst>
          </p:nvPr>
        </p:nvGraphicFramePr>
        <p:xfrm>
          <a:off x="479245" y="1189176"/>
          <a:ext cx="11338944" cy="5131816"/>
        </p:xfrm>
        <a:graphic>
          <a:graphicData uri="http://schemas.openxmlformats.org/drawingml/2006/table">
            <a:tbl>
              <a:tblPr firstRow="1" bandRow="1">
                <a:tableStyleId>{5C22544A-7EE6-4342-B048-85BDC9FD1C3A}</a:tableStyleId>
              </a:tblPr>
              <a:tblGrid>
                <a:gridCol w="4411932">
                  <a:extLst>
                    <a:ext uri="{9D8B030D-6E8A-4147-A177-3AD203B41FA5}">
                      <a16:colId xmlns:a16="http://schemas.microsoft.com/office/drawing/2014/main" val="2716148925"/>
                    </a:ext>
                  </a:extLst>
                </a:gridCol>
                <a:gridCol w="6927012">
                  <a:extLst>
                    <a:ext uri="{9D8B030D-6E8A-4147-A177-3AD203B41FA5}">
                      <a16:colId xmlns:a16="http://schemas.microsoft.com/office/drawing/2014/main" val="3380017239"/>
                    </a:ext>
                  </a:extLst>
                </a:gridCol>
              </a:tblGrid>
              <a:tr h="370840">
                <a:tc>
                  <a:txBody>
                    <a:bodyPr/>
                    <a:lstStyle/>
                    <a:p>
                      <a:r>
                        <a:rPr lang="en-US" dirty="0"/>
                        <a:t>Client Situation</a:t>
                      </a:r>
                    </a:p>
                  </a:txBody>
                  <a:tcPr/>
                </a:tc>
                <a:tc>
                  <a:txBody>
                    <a:bodyPr/>
                    <a:lstStyle/>
                    <a:p>
                      <a:r>
                        <a:rPr lang="en-US" dirty="0"/>
                        <a:t>Design Considerations</a:t>
                      </a:r>
                    </a:p>
                  </a:txBody>
                  <a:tcPr/>
                </a:tc>
                <a:extLst>
                  <a:ext uri="{0D108BD9-81ED-4DB2-BD59-A6C34878D82A}">
                    <a16:rowId xmlns:a16="http://schemas.microsoft.com/office/drawing/2014/main" val="3924100202"/>
                  </a:ext>
                </a:extLst>
              </a:tr>
              <a:tr h="370840">
                <a:tc>
                  <a:txBody>
                    <a:bodyPr/>
                    <a:lstStyle/>
                    <a:p>
                      <a:pPr marL="0" indent="0">
                        <a:buFont typeface="Arial" panose="020B0604020202020204" pitchFamily="34" charset="0"/>
                        <a:buNone/>
                      </a:pPr>
                      <a:r>
                        <a:rPr lang="en-US" sz="1765" kern="1200" dirty="0">
                          <a:solidFill>
                            <a:schemeClr val="dk1"/>
                          </a:solidFill>
                          <a:effectLst/>
                          <a:latin typeface="+mn-lt"/>
                          <a:ea typeface="+mn-ea"/>
                          <a:cs typeface="+mn-cs"/>
                        </a:rPr>
                        <a:t>Client does not allow inbound FW exceptions into private network</a:t>
                      </a:r>
                      <a:endParaRPr lang="en-US" dirty="0"/>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dirty="0"/>
                        <a:t>Leverage existing WVD remote access constructs to meet this requirement without further work</a:t>
                      </a:r>
                    </a:p>
                  </a:txBody>
                  <a:tcPr/>
                </a:tc>
                <a:extLst>
                  <a:ext uri="{0D108BD9-81ED-4DB2-BD59-A6C34878D82A}">
                    <a16:rowId xmlns:a16="http://schemas.microsoft.com/office/drawing/2014/main" val="3702526717"/>
                  </a:ext>
                </a:extLst>
              </a:tr>
              <a:tr h="370840">
                <a:tc>
                  <a:txBody>
                    <a:bodyPr/>
                    <a:lstStyle/>
                    <a:p>
                      <a:r>
                        <a:rPr lang="en-US" sz="1765" kern="1200" dirty="0">
                          <a:solidFill>
                            <a:schemeClr val="dk1"/>
                          </a:solidFill>
                          <a:effectLst/>
                          <a:latin typeface="+mn-lt"/>
                          <a:ea typeface="+mn-ea"/>
                          <a:cs typeface="+mn-cs"/>
                        </a:rPr>
                        <a:t>Client owns M365 E5/A5 for employees (students if academic scenario) and wants to minimize cost wherever possible</a:t>
                      </a:r>
                      <a:endParaRPr lang="en-US" dirty="0"/>
                    </a:p>
                  </a:txBody>
                  <a:tcPr/>
                </a:tc>
                <a:tc>
                  <a:txBody>
                    <a:bodyPr/>
                    <a:lstStyle/>
                    <a:p>
                      <a:r>
                        <a:rPr lang="en-US" dirty="0"/>
                        <a:t>Leverage licensing for Windows 10 multi-user access (fewer VMs to manage, stack multiple users per VM)</a:t>
                      </a:r>
                    </a:p>
                  </a:txBody>
                  <a:tcPr/>
                </a:tc>
                <a:extLst>
                  <a:ext uri="{0D108BD9-81ED-4DB2-BD59-A6C34878D82A}">
                    <a16:rowId xmlns:a16="http://schemas.microsoft.com/office/drawing/2014/main" val="4072375617"/>
                  </a:ext>
                </a:extLst>
              </a:tr>
              <a:tr h="370840">
                <a:tc>
                  <a:txBody>
                    <a:bodyPr/>
                    <a:lstStyle/>
                    <a:p>
                      <a:r>
                        <a:rPr lang="en-US" dirty="0"/>
                        <a:t>Client has Mac users who do not want full desktops</a:t>
                      </a:r>
                    </a:p>
                  </a:txBody>
                  <a:tcPr/>
                </a:tc>
                <a:tc>
                  <a:txBody>
                    <a:bodyPr/>
                    <a:lstStyle/>
                    <a:p>
                      <a:r>
                        <a:rPr lang="en-US" dirty="0"/>
                        <a:t>Need to use RemoteApp to publish specific Apps</a:t>
                      </a:r>
                    </a:p>
                    <a:p>
                      <a:r>
                        <a:rPr lang="en-US" dirty="0"/>
                        <a:t>Need a list of those Apps, and plan to build FSLogix profile per App to support</a:t>
                      </a:r>
                    </a:p>
                  </a:txBody>
                  <a:tcPr/>
                </a:tc>
                <a:extLst>
                  <a:ext uri="{0D108BD9-81ED-4DB2-BD59-A6C34878D82A}">
                    <a16:rowId xmlns:a16="http://schemas.microsoft.com/office/drawing/2014/main" val="2042952530"/>
                  </a:ext>
                </a:extLst>
              </a:tr>
              <a:tr h="370840">
                <a:tc>
                  <a:txBody>
                    <a:bodyPr/>
                    <a:lstStyle/>
                    <a:p>
                      <a:r>
                        <a:rPr lang="en-US" dirty="0"/>
                        <a:t>Client has existing Windows users (full-time office admins) who do light-duty work in Office but need a full desktop / would like to save costs by providing a shared desktop solution</a:t>
                      </a:r>
                    </a:p>
                  </a:txBody>
                  <a:tcPr/>
                </a:tc>
                <a:tc>
                  <a:txBody>
                    <a:bodyPr/>
                    <a:lstStyle/>
                    <a:p>
                      <a:r>
                        <a:rPr lang="en-US" dirty="0"/>
                        <a:t>Need to use Remote Desktop in Windows 10 multi-user to lower costs</a:t>
                      </a:r>
                    </a:p>
                    <a:p>
                      <a:r>
                        <a:rPr lang="en-US" dirty="0"/>
                        <a:t>Use Windows 10 multi-user to stack office admins on fewer VMs</a:t>
                      </a:r>
                    </a:p>
                  </a:txBody>
                  <a:tcPr/>
                </a:tc>
                <a:extLst>
                  <a:ext uri="{0D108BD9-81ED-4DB2-BD59-A6C34878D82A}">
                    <a16:rowId xmlns:a16="http://schemas.microsoft.com/office/drawing/2014/main" val="1010361132"/>
                  </a:ext>
                </a:extLst>
              </a:tr>
              <a:tr h="370840">
                <a:tc>
                  <a:txBody>
                    <a:bodyPr/>
                    <a:lstStyle/>
                    <a:p>
                      <a:r>
                        <a:rPr lang="en-US" dirty="0"/>
                        <a:t>Client has different internal Teams who want to build and manage their own WVD environments</a:t>
                      </a:r>
                    </a:p>
                  </a:txBody>
                  <a:tcPr/>
                </a:tc>
                <a:tc>
                  <a:txBody>
                    <a:bodyPr/>
                    <a:lstStyle/>
                    <a:p>
                      <a:r>
                        <a:rPr lang="en-US" dirty="0"/>
                        <a:t>Plan for multiple WVD Tenants / 1 per Team (hence Team layout for OpenHack)</a:t>
                      </a:r>
                    </a:p>
                    <a:p>
                      <a:r>
                        <a:rPr lang="en-US" dirty="0"/>
                        <a:t>Grant rights to build WVD Tenants and Host Pools</a:t>
                      </a:r>
                    </a:p>
                  </a:txBody>
                  <a:tcPr/>
                </a:tc>
                <a:extLst>
                  <a:ext uri="{0D108BD9-81ED-4DB2-BD59-A6C34878D82A}">
                    <a16:rowId xmlns:a16="http://schemas.microsoft.com/office/drawing/2014/main" val="3807520686"/>
                  </a:ext>
                </a:extLst>
              </a:tr>
            </a:tbl>
          </a:graphicData>
        </a:graphic>
      </p:graphicFrame>
    </p:spTree>
    <p:extLst>
      <p:ext uri="{BB962C8B-B14F-4D97-AF65-F5344CB8AC3E}">
        <p14:creationId xmlns:p14="http://schemas.microsoft.com/office/powerpoint/2010/main" val="4277727365"/>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92CFAD-07BF-4084-AE4A-134A87B892C4}"/>
              </a:ext>
            </a:extLst>
          </p:cNvPr>
          <p:cNvSpPr>
            <a:spLocks noGrp="1"/>
          </p:cNvSpPr>
          <p:nvPr>
            <p:ph type="title"/>
          </p:nvPr>
        </p:nvSpPr>
        <p:spPr>
          <a:xfrm>
            <a:off x="269239" y="2084172"/>
            <a:ext cx="11653523" cy="1162178"/>
          </a:xfrm>
        </p:spPr>
        <p:txBody>
          <a:bodyPr/>
          <a:lstStyle/>
          <a:p>
            <a:r>
              <a:rPr lang="en-US" dirty="0"/>
              <a:t>Follow-on Topics</a:t>
            </a:r>
          </a:p>
        </p:txBody>
      </p:sp>
    </p:spTree>
    <p:extLst>
      <p:ext uri="{BB962C8B-B14F-4D97-AF65-F5344CB8AC3E}">
        <p14:creationId xmlns:p14="http://schemas.microsoft.com/office/powerpoint/2010/main" val="3255535274"/>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Resources – Getting Started</a:t>
            </a:r>
          </a:p>
        </p:txBody>
      </p:sp>
      <p:sp>
        <p:nvSpPr>
          <p:cNvPr id="4" name="Text Placeholder 5">
            <a:extLst>
              <a:ext uri="{FF2B5EF4-FFF2-40B4-BE49-F238E27FC236}">
                <a16:creationId xmlns:a16="http://schemas.microsoft.com/office/drawing/2014/main" id="{3A3F2578-A5DD-4783-AFD6-DF136485C847}"/>
              </a:ext>
            </a:extLst>
          </p:cNvPr>
          <p:cNvSpPr txBox="1">
            <a:spLocks/>
          </p:cNvSpPr>
          <p:nvPr/>
        </p:nvSpPr>
        <p:spPr>
          <a:xfrm>
            <a:off x="586740" y="1131827"/>
            <a:ext cx="11018520" cy="4961358"/>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Required Reading: </a:t>
            </a: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hlinkClick r:id="rId3"/>
              </a:rPr>
              <a:t>Getting started with Windows Virtual Desktop</a:t>
            </a:r>
            <a:endPar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endParaRP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endParaRP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PG Sessions and Summary Guidance: </a:t>
            </a:r>
          </a:p>
          <a:p>
            <a:pPr marL="342900" marR="0" lvl="0" indent="-3429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hlinkClick r:id="rId4"/>
              </a:rPr>
              <a:t>All you need to know about Windows Virtual Desktop | On Demand</a:t>
            </a:r>
            <a:endPar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endParaRPr>
          </a:p>
          <a:p>
            <a:pPr marL="342900" marR="0" lvl="0" indent="-3429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hlinkClick r:id="rId5"/>
              </a:rPr>
              <a:t>Webcast resource guide: All you need to know about Windows Virtual Desktop</a:t>
            </a:r>
            <a:endPar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endParaRP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YouTube sessions:</a:t>
            </a:r>
          </a:p>
          <a:p>
            <a:pPr marL="457200" marR="0" lvl="0" indent="-4572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hlinkClick r:id="rId6"/>
              </a:rPr>
              <a:t>Azure Academy Virtual Desktop Series</a:t>
            </a:r>
            <a:endPar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endParaRPr>
          </a:p>
          <a:p>
            <a:pPr marL="457200" marR="0" lvl="0" indent="-4572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hlinkClick r:id="rId7"/>
              </a:rPr>
              <a:t>Optimizing your applications for Windows Virtual Desktop</a:t>
            </a:r>
            <a:endPar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hlinkClick r:id="" action="ppaction://noaction"/>
            </a:endParaRPr>
          </a:p>
          <a:p>
            <a:pPr marL="457200" marR="0" lvl="0" indent="-4572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hlinkClick r:id="" action="ppaction://noaction"/>
              </a:rPr>
              <a:t>Azure Windows Virtual Desktop Public Preview Walkthrough </a:t>
            </a:r>
            <a:endPar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endParaRPr>
          </a:p>
          <a:p>
            <a:pPr marL="457200" marR="0" lvl="0" indent="-4572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hlinkClick r:id="rId8"/>
              </a:rPr>
              <a:t>Azure Windows Virtual Desktop FSLogix Profile Management Walkthrough</a:t>
            </a:r>
            <a:endPar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endParaRP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Online Tutorials:</a:t>
            </a:r>
          </a:p>
          <a:p>
            <a:pPr marL="457200" marR="0" lvl="0" indent="-4572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hlinkClick r:id="rId9"/>
              </a:rPr>
              <a:t>Tutorial: Create a tenant in Windows Virtual Desktop Preview</a:t>
            </a:r>
            <a:endPar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endParaRPr>
          </a:p>
          <a:p>
            <a:pPr marL="457200" marR="0" lvl="0" indent="-4572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hlinkClick r:id="rId10"/>
              </a:rPr>
              <a:t>Tutorial: Create service principals and role assignments with PowerShell</a:t>
            </a:r>
            <a:endPar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endParaRPr>
          </a:p>
          <a:p>
            <a:pPr marL="457200" marR="0" lvl="0" indent="-4572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hlinkClick r:id="rId11"/>
              </a:rPr>
              <a:t>Tutorial: Create a host pool with Azure Marketplace</a:t>
            </a:r>
            <a:endPar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endParaRPr>
          </a:p>
          <a:p>
            <a:pPr marL="457200" marR="0" lvl="0" indent="-4572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hlinkClick r:id="rId12"/>
              </a:rPr>
              <a:t>Tutorial: Manage app groups for Windows Virtual Desktop Preview</a:t>
            </a:r>
            <a:endPar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spTree>
    <p:extLst>
      <p:ext uri="{BB962C8B-B14F-4D97-AF65-F5344CB8AC3E}">
        <p14:creationId xmlns:p14="http://schemas.microsoft.com/office/powerpoint/2010/main" val="176292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C56BD00-37DF-4342-AF93-70C885A9A88A}"/>
              </a:ext>
            </a:extLst>
          </p:cNvPr>
          <p:cNvSpPr>
            <a:spLocks noGrp="1"/>
          </p:cNvSpPr>
          <p:nvPr>
            <p:ph type="title"/>
          </p:nvPr>
        </p:nvSpPr>
        <p:spPr/>
        <p:txBody>
          <a:bodyPr/>
          <a:lstStyle/>
          <a:p>
            <a:r>
              <a:rPr lang="en-US" dirty="0"/>
              <a:t>WVD V2 Is In Preview… (May 2020)</a:t>
            </a:r>
          </a:p>
        </p:txBody>
      </p:sp>
      <p:pic>
        <p:nvPicPr>
          <p:cNvPr id="5" name="Picture 4">
            <a:extLst>
              <a:ext uri="{FF2B5EF4-FFF2-40B4-BE49-F238E27FC236}">
                <a16:creationId xmlns:a16="http://schemas.microsoft.com/office/drawing/2014/main" id="{752F2BE7-906F-4C13-A571-0958305B7C86}"/>
              </a:ext>
            </a:extLst>
          </p:cNvPr>
          <p:cNvPicPr>
            <a:picLocks noChangeAspect="1"/>
          </p:cNvPicPr>
          <p:nvPr/>
        </p:nvPicPr>
        <p:blipFill>
          <a:blip r:embed="rId2"/>
          <a:stretch>
            <a:fillRect/>
          </a:stretch>
        </p:blipFill>
        <p:spPr>
          <a:xfrm>
            <a:off x="224730" y="1403838"/>
            <a:ext cx="11742540" cy="3853962"/>
          </a:xfrm>
          <a:prstGeom prst="rect">
            <a:avLst/>
          </a:prstGeom>
        </p:spPr>
      </p:pic>
      <p:sp>
        <p:nvSpPr>
          <p:cNvPr id="2" name="Rectangle 1">
            <a:extLst>
              <a:ext uri="{FF2B5EF4-FFF2-40B4-BE49-F238E27FC236}">
                <a16:creationId xmlns:a16="http://schemas.microsoft.com/office/drawing/2014/main" id="{E46B866E-2344-4712-BD67-A390CD609E14}"/>
              </a:ext>
            </a:extLst>
          </p:cNvPr>
          <p:cNvSpPr/>
          <p:nvPr/>
        </p:nvSpPr>
        <p:spPr>
          <a:xfrm>
            <a:off x="1700463" y="5650440"/>
            <a:ext cx="8775032" cy="907171"/>
          </a:xfrm>
          <a:prstGeom prst="rect">
            <a:avLst/>
          </a:prstGeom>
        </p:spPr>
        <p:txBody>
          <a:bodyPr wrap="square">
            <a:spAutoFit/>
          </a:bodyPr>
          <a:lstStyle/>
          <a:p>
            <a:pPr marL="285750" indent="-285750">
              <a:buFont typeface="Arial" panose="020B0604020202020204" pitchFamily="34" charset="0"/>
              <a:buChar char="•"/>
            </a:pPr>
            <a:r>
              <a:rPr lang="en-US" dirty="0">
                <a:solidFill>
                  <a:srgbClr val="333333"/>
                </a:solidFill>
                <a:latin typeface="SegoeUI"/>
                <a:hlinkClick r:id="rId3"/>
              </a:rPr>
              <a:t>Windows Virtual Desktop Spring Update enters Public Preview</a:t>
            </a:r>
            <a:endParaRPr lang="en-US" dirty="0">
              <a:solidFill>
                <a:srgbClr val="333333"/>
              </a:solidFill>
              <a:latin typeface="SegoeUI"/>
            </a:endParaRPr>
          </a:p>
          <a:p>
            <a:pPr marL="285750" indent="-285750">
              <a:buFont typeface="Arial" panose="020B0604020202020204" pitchFamily="34" charset="0"/>
              <a:buChar char="•"/>
            </a:pPr>
            <a:r>
              <a:rPr lang="en-US" dirty="0">
                <a:solidFill>
                  <a:srgbClr val="333333"/>
                </a:solidFill>
                <a:latin typeface="SegoeUI"/>
                <a:hlinkClick r:id="rId4"/>
              </a:rPr>
              <a:t>https://www.christiaanbrinkhoff.com/2020/05/01/windows-virtual-desktop-technical-2020-spring-update-arm-based-model-deployment-walkthrough/</a:t>
            </a:r>
            <a:r>
              <a:rPr lang="en-US" dirty="0">
                <a:solidFill>
                  <a:srgbClr val="333333"/>
                </a:solidFill>
                <a:latin typeface="SegoeUI"/>
              </a:rPr>
              <a:t> </a:t>
            </a:r>
            <a:endParaRPr lang="en-US" b="0" i="0" dirty="0">
              <a:solidFill>
                <a:srgbClr val="333333"/>
              </a:solidFill>
              <a:effectLst/>
              <a:latin typeface="SegoeUI"/>
            </a:endParaRPr>
          </a:p>
        </p:txBody>
      </p:sp>
    </p:spTree>
    <p:extLst>
      <p:ext uri="{BB962C8B-B14F-4D97-AF65-F5344CB8AC3E}">
        <p14:creationId xmlns:p14="http://schemas.microsoft.com/office/powerpoint/2010/main" val="2345357603"/>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4FBE7F28-6F4F-4B1A-B8F0-7102D5E520F7}"/>
              </a:ext>
            </a:extLst>
          </p:cNvPr>
          <p:cNvSpPr txBox="1"/>
          <p:nvPr/>
        </p:nvSpPr>
        <p:spPr>
          <a:xfrm>
            <a:off x="2910298" y="4205311"/>
            <a:ext cx="5760256" cy="1107996"/>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Thank You!!</a:t>
            </a:r>
          </a:p>
        </p:txBody>
      </p:sp>
    </p:spTree>
    <p:extLst>
      <p:ext uri="{BB962C8B-B14F-4D97-AF65-F5344CB8AC3E}">
        <p14:creationId xmlns:p14="http://schemas.microsoft.com/office/powerpoint/2010/main" val="2187430364"/>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92CFAD-07BF-4084-AE4A-134A87B892C4}"/>
              </a:ext>
            </a:extLst>
          </p:cNvPr>
          <p:cNvSpPr>
            <a:spLocks noGrp="1"/>
          </p:cNvSpPr>
          <p:nvPr>
            <p:ph type="title"/>
          </p:nvPr>
        </p:nvSpPr>
        <p:spPr/>
        <p:txBody>
          <a:bodyPr/>
          <a:lstStyle/>
          <a:p>
            <a:r>
              <a:rPr lang="en-US" dirty="0"/>
              <a:t>WVD Tenant Planning</a:t>
            </a:r>
          </a:p>
        </p:txBody>
      </p:sp>
    </p:spTree>
    <p:extLst>
      <p:ext uri="{BB962C8B-B14F-4D97-AF65-F5344CB8AC3E}">
        <p14:creationId xmlns:p14="http://schemas.microsoft.com/office/powerpoint/2010/main" val="335727966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503E55-B2A7-4EAB-BB87-913C103D1282}"/>
              </a:ext>
            </a:extLst>
          </p:cNvPr>
          <p:cNvSpPr>
            <a:spLocks noGrp="1"/>
          </p:cNvSpPr>
          <p:nvPr>
            <p:ph type="title"/>
          </p:nvPr>
        </p:nvSpPr>
        <p:spPr>
          <a:xfrm>
            <a:off x="588263" y="457200"/>
            <a:ext cx="11018520" cy="553998"/>
          </a:xfrm>
        </p:spPr>
        <p:txBody>
          <a:bodyPr/>
          <a:lstStyle/>
          <a:p>
            <a:r>
              <a:rPr lang="en-US" dirty="0"/>
              <a:t>Build slide – Tenant Explanation</a:t>
            </a:r>
          </a:p>
        </p:txBody>
      </p:sp>
      <p:sp>
        <p:nvSpPr>
          <p:cNvPr id="3" name="Rectangle 2">
            <a:extLst>
              <a:ext uri="{FF2B5EF4-FFF2-40B4-BE49-F238E27FC236}">
                <a16:creationId xmlns:a16="http://schemas.microsoft.com/office/drawing/2014/main" id="{0B1CB865-4340-4783-B682-3A201B0403B1}"/>
              </a:ext>
            </a:extLst>
          </p:cNvPr>
          <p:cNvSpPr/>
          <p:nvPr/>
        </p:nvSpPr>
        <p:spPr bwMode="auto">
          <a:xfrm>
            <a:off x="3059394" y="1751888"/>
            <a:ext cx="2418460" cy="302521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000">
                <a:gradFill>
                  <a:gsLst>
                    <a:gs pos="0">
                      <a:srgbClr val="FFFFFF"/>
                    </a:gs>
                    <a:gs pos="100000">
                      <a:srgbClr val="FFFFFF"/>
                    </a:gs>
                  </a:gsLst>
                  <a:lin ang="5400000" scaled="0"/>
                </a:gradFill>
                <a:ea typeface="Segoe UI" pitchFamily="34" charset="0"/>
                <a:cs typeface="Segoe UI" pitchFamily="34" charset="0"/>
              </a:rPr>
              <a:t>Windows Virtual Desktop tenant. Your Windows Virtual Desktop tenant is a management plane to manage host pools, app groups, users, and other related services that provide your users access to them</a:t>
            </a: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3">
            <a:extLst>
              <a:ext uri="{FF2B5EF4-FFF2-40B4-BE49-F238E27FC236}">
                <a16:creationId xmlns:a16="http://schemas.microsoft.com/office/drawing/2014/main" id="{8C18EEC0-13AB-4912-A395-C3913AA0FFF1}"/>
              </a:ext>
            </a:extLst>
          </p:cNvPr>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1" i="0" u="none" strike="noStrike" cap="none" normalizeH="0" baseline="0" dirty="0">
                <a:ln>
                  <a:noFill/>
                </a:ln>
                <a:solidFill>
                  <a:schemeClr val="tx1"/>
                </a:solidFill>
                <a:effectLst/>
                <a:latin typeface="Arial" panose="020B0604020202020204" pitchFamily="34" charset="0"/>
                <a:ea typeface="Calibri" panose="020F0502020204030204" pitchFamily="34" charset="0"/>
              </a:rPr>
              <a:t>Windows Virtual Desktop tenant.</a:t>
            </a:r>
            <a:r>
              <a:rPr kumimoji="0" lang="en-US" altLang="en-US" sz="1100" b="0" i="0" u="none" strike="noStrike" cap="none" normalizeH="0" baseline="0" dirty="0">
                <a:ln>
                  <a:noFill/>
                </a:ln>
                <a:solidFill>
                  <a:schemeClr val="tx1"/>
                </a:solidFill>
                <a:effectLst/>
                <a:latin typeface="Arial" panose="020B0604020202020204" pitchFamily="34" charset="0"/>
                <a:ea typeface="Calibri" panose="020F0502020204030204" pitchFamily="34" charset="0"/>
              </a:rPr>
              <a:t> Your Windows Virtual Desktop tenant is a management plane to manage host pools, app groups, users, and other related services that provide your users access to them</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7" name="Rectangle 6">
            <a:extLst>
              <a:ext uri="{FF2B5EF4-FFF2-40B4-BE49-F238E27FC236}">
                <a16:creationId xmlns:a16="http://schemas.microsoft.com/office/drawing/2014/main" id="{B0E24F07-C25F-46F5-ACFC-B4EBB24BE489}"/>
              </a:ext>
            </a:extLst>
          </p:cNvPr>
          <p:cNvSpPr/>
          <p:nvPr/>
        </p:nvSpPr>
        <p:spPr bwMode="auto">
          <a:xfrm>
            <a:off x="6682811" y="1674976"/>
            <a:ext cx="3666146" cy="424726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000">
                <a:gradFill>
                  <a:gsLst>
                    <a:gs pos="0">
                      <a:srgbClr val="FFFFFF"/>
                    </a:gs>
                    <a:gs pos="100000">
                      <a:srgbClr val="FFFFFF"/>
                    </a:gs>
                  </a:gsLst>
                  <a:lin ang="5400000" scaled="0"/>
                </a:gradFill>
                <a:ea typeface="Segoe UI" pitchFamily="34" charset="0"/>
                <a:cs typeface="Segoe UI" pitchFamily="34" charset="0"/>
              </a:rPr>
              <a:t>Windows Virtual Desktop session hosts. Windows Virtual Desktop session hosts are Azure virtual machines that can be grouped for identical session hosts into host pools. Each session host has a Windows Virtual Desktop host agent installed, which registers the virtual machine as part of your Windows Virtual Desktop tenant. And each host pool can have one or more app groups, which are collections of remote applications or desktop sessions that users can access. Windows Virtual Desktop Architecture Guide | 4 Azure virtual machines in a host pool can run one of several operating systems— including Windows 7 Enterprise, Windows 10 Enterprise, Windows 10 Enterprise Multisession, Windows Server 2012 R2 and above, including custom Windows system images with pre-loaded apps, group policies, or any other customizations. You also have your choice of virtual machine sizes, including GPU-enabled virtual machines. </a:t>
            </a: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0365166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84" name="Freeform 191">
            <a:extLst>
              <a:ext uri="{FF2B5EF4-FFF2-40B4-BE49-F238E27FC236}">
                <a16:creationId xmlns:a16="http://schemas.microsoft.com/office/drawing/2014/main" id="{49C2194C-355F-4192-986C-B567616C0F26}"/>
              </a:ext>
            </a:extLst>
          </p:cNvPr>
          <p:cNvSpPr>
            <a:spLocks/>
          </p:cNvSpPr>
          <p:nvPr/>
        </p:nvSpPr>
        <p:spPr bwMode="auto">
          <a:xfrm>
            <a:off x="1450976" y="3225801"/>
            <a:ext cx="1155700" cy="1951038"/>
          </a:xfrm>
          <a:custGeom>
            <a:avLst/>
            <a:gdLst>
              <a:gd name="T0" fmla="*/ 4071 w 4071"/>
              <a:gd name="T1" fmla="*/ 6874 h 6874"/>
              <a:gd name="T2" fmla="*/ 4071 w 4071"/>
              <a:gd name="T3" fmla="*/ 3969 h 6874"/>
              <a:gd name="T4" fmla="*/ 2727 w 4071"/>
              <a:gd name="T5" fmla="*/ 2625 h 6874"/>
              <a:gd name="T6" fmla="*/ 1313 w 4071"/>
              <a:gd name="T7" fmla="*/ 2625 h 6874"/>
              <a:gd name="T8" fmla="*/ 0 w 4071"/>
              <a:gd name="T9" fmla="*/ 1313 h 6874"/>
              <a:gd name="T10" fmla="*/ 0 w 4071"/>
              <a:gd name="T11" fmla="*/ 572 h 6874"/>
              <a:gd name="T12" fmla="*/ 572 w 4071"/>
              <a:gd name="T13" fmla="*/ 0 h 6874"/>
              <a:gd name="T14" fmla="*/ 787 w 4071"/>
              <a:gd name="T15" fmla="*/ 0 h 68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71" h="6874">
                <a:moveTo>
                  <a:pt x="4071" y="6874"/>
                </a:moveTo>
                <a:lnTo>
                  <a:pt x="4071" y="3969"/>
                </a:lnTo>
                <a:cubicBezTo>
                  <a:pt x="4071" y="3227"/>
                  <a:pt x="3469" y="2625"/>
                  <a:pt x="2727" y="2625"/>
                </a:cubicBezTo>
                <a:lnTo>
                  <a:pt x="1313" y="2625"/>
                </a:lnTo>
                <a:cubicBezTo>
                  <a:pt x="588" y="2625"/>
                  <a:pt x="0" y="2037"/>
                  <a:pt x="0" y="1313"/>
                </a:cubicBezTo>
                <a:lnTo>
                  <a:pt x="0" y="572"/>
                </a:lnTo>
                <a:cubicBezTo>
                  <a:pt x="0" y="256"/>
                  <a:pt x="256" y="0"/>
                  <a:pt x="572" y="0"/>
                </a:cubicBezTo>
                <a:lnTo>
                  <a:pt x="787" y="0"/>
                </a:lnTo>
              </a:path>
            </a:pathLst>
          </a:custGeom>
          <a:noFill/>
          <a:ln w="26988" cap="rnd">
            <a:solidFill>
              <a:srgbClr val="00B0F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307" name="Rectangle 7306">
            <a:extLst>
              <a:ext uri="{FF2B5EF4-FFF2-40B4-BE49-F238E27FC236}">
                <a16:creationId xmlns:a16="http://schemas.microsoft.com/office/drawing/2014/main" id="{4B2466AA-EFF6-49C3-9C50-F24586C17500}"/>
              </a:ext>
            </a:extLst>
          </p:cNvPr>
          <p:cNvSpPr/>
          <p:nvPr/>
        </p:nvSpPr>
        <p:spPr bwMode="auto">
          <a:xfrm>
            <a:off x="460216" y="4671049"/>
            <a:ext cx="4661219" cy="2196652"/>
          </a:xfrm>
          <a:prstGeom prst="rect">
            <a:avLst/>
          </a:prstGeom>
          <a:solidFill>
            <a:schemeClr val="tx2">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defTabSz="932472" fontAlgn="base">
              <a:spcBef>
                <a:spcPct val="0"/>
              </a:spcBef>
              <a:spcAft>
                <a:spcPct val="0"/>
              </a:spcAft>
            </a:pPr>
            <a:r>
              <a:rPr lang="en-US" sz="1600" dirty="0">
                <a:gradFill>
                  <a:gsLst>
                    <a:gs pos="40075">
                      <a:srgbClr val="FFFFFF"/>
                    </a:gs>
                    <a:gs pos="30000">
                      <a:srgbClr val="FFFFFF"/>
                    </a:gs>
                  </a:gsLst>
                  <a:lin ang="5400000" scaled="0"/>
                </a:gradFill>
              </a:rPr>
              <a:t> WVD PaaS Layer</a:t>
            </a:r>
          </a:p>
        </p:txBody>
      </p:sp>
      <p:sp>
        <p:nvSpPr>
          <p:cNvPr id="5" name="Title 1">
            <a:extLst>
              <a:ext uri="{FF2B5EF4-FFF2-40B4-BE49-F238E27FC236}">
                <a16:creationId xmlns:a16="http://schemas.microsoft.com/office/drawing/2014/main" id="{84B99A87-1489-4C41-BBA4-9109677085B7}"/>
              </a:ext>
            </a:extLst>
          </p:cNvPr>
          <p:cNvSpPr>
            <a:spLocks noGrp="1"/>
          </p:cNvSpPr>
          <p:nvPr>
            <p:ph type="title"/>
          </p:nvPr>
        </p:nvSpPr>
        <p:spPr>
          <a:xfrm>
            <a:off x="566419" y="53789"/>
            <a:ext cx="11188109" cy="492443"/>
          </a:xfrm>
        </p:spPr>
        <p:txBody>
          <a:bodyPr/>
          <a:lstStyle/>
          <a:p>
            <a:r>
              <a:rPr lang="en-US" dirty="0"/>
              <a:t>WVD Tenant Relationships to Azure AD and Subscriptions</a:t>
            </a:r>
          </a:p>
        </p:txBody>
      </p:sp>
      <p:sp>
        <p:nvSpPr>
          <p:cNvPr id="6" name="Rectangle 5">
            <a:extLst>
              <a:ext uri="{FF2B5EF4-FFF2-40B4-BE49-F238E27FC236}">
                <a16:creationId xmlns:a16="http://schemas.microsoft.com/office/drawing/2014/main" id="{0B2A0400-A818-4839-82C9-B012BA316DA8}"/>
              </a:ext>
            </a:extLst>
          </p:cNvPr>
          <p:cNvSpPr>
            <a:spLocks noChangeArrowheads="1"/>
          </p:cNvSpPr>
          <p:nvPr/>
        </p:nvSpPr>
        <p:spPr bwMode="auto">
          <a:xfrm>
            <a:off x="9385301" y="5330826"/>
            <a:ext cx="1868488" cy="1349375"/>
          </a:xfrm>
          <a:prstGeom prst="rect">
            <a:avLst/>
          </a:prstGeom>
          <a:noFill/>
          <a:ln w="96838" cap="rnd">
            <a:solidFill>
              <a:srgbClr val="BFBFB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7174" name="Picture 6">
            <a:extLst>
              <a:ext uri="{FF2B5EF4-FFF2-40B4-BE49-F238E27FC236}">
                <a16:creationId xmlns:a16="http://schemas.microsoft.com/office/drawing/2014/main" id="{94975062-9F7E-4393-B2B7-3CEC62D4A32F}"/>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9390063" y="5330826"/>
            <a:ext cx="1866900" cy="1354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7">
            <a:extLst>
              <a:ext uri="{FF2B5EF4-FFF2-40B4-BE49-F238E27FC236}">
                <a16:creationId xmlns:a16="http://schemas.microsoft.com/office/drawing/2014/main" id="{704E8DEA-6775-4853-99B2-71FB5CAACA8A}"/>
              </a:ext>
            </a:extLst>
          </p:cNvPr>
          <p:cNvSpPr>
            <a:spLocks noChangeArrowheads="1"/>
          </p:cNvSpPr>
          <p:nvPr/>
        </p:nvSpPr>
        <p:spPr bwMode="auto">
          <a:xfrm>
            <a:off x="9874251" y="6707188"/>
            <a:ext cx="1135063" cy="236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a:ln>
                  <a:noFill/>
                </a:ln>
                <a:solidFill>
                  <a:srgbClr val="000000"/>
                </a:solidFill>
                <a:effectLst/>
                <a:latin typeface="Calibri" panose="020F0502020204030204" pitchFamily="34" charset="0"/>
              </a:rPr>
              <a:t>Create Host Pool</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8" name="Freeform 8">
            <a:extLst>
              <a:ext uri="{FF2B5EF4-FFF2-40B4-BE49-F238E27FC236}">
                <a16:creationId xmlns:a16="http://schemas.microsoft.com/office/drawing/2014/main" id="{DC0E5973-1B70-46E5-9168-E87F2278935A}"/>
              </a:ext>
            </a:extLst>
          </p:cNvPr>
          <p:cNvSpPr>
            <a:spLocks/>
          </p:cNvSpPr>
          <p:nvPr/>
        </p:nvSpPr>
        <p:spPr bwMode="auto">
          <a:xfrm>
            <a:off x="2114551" y="3082926"/>
            <a:ext cx="219075" cy="385763"/>
          </a:xfrm>
          <a:custGeom>
            <a:avLst/>
            <a:gdLst>
              <a:gd name="T0" fmla="*/ 0 w 768"/>
              <a:gd name="T1" fmla="*/ 652 h 1359"/>
              <a:gd name="T2" fmla="*/ 49 w 768"/>
              <a:gd name="T3" fmla="*/ 824 h 1359"/>
              <a:gd name="T4" fmla="*/ 36 w 768"/>
              <a:gd name="T5" fmla="*/ 916 h 1359"/>
              <a:gd name="T6" fmla="*/ 768 w 768"/>
              <a:gd name="T7" fmla="*/ 1359 h 1359"/>
              <a:gd name="T8" fmla="*/ 768 w 768"/>
              <a:gd name="T9" fmla="*/ 82 h 1359"/>
              <a:gd name="T10" fmla="*/ 709 w 768"/>
              <a:gd name="T11" fmla="*/ 0 h 1359"/>
              <a:gd name="T12" fmla="*/ 0 w 768"/>
              <a:gd name="T13" fmla="*/ 652 h 1359"/>
            </a:gdLst>
            <a:ahLst/>
            <a:cxnLst>
              <a:cxn ang="0">
                <a:pos x="T0" y="T1"/>
              </a:cxn>
              <a:cxn ang="0">
                <a:pos x="T2" y="T3"/>
              </a:cxn>
              <a:cxn ang="0">
                <a:pos x="T4" y="T5"/>
              </a:cxn>
              <a:cxn ang="0">
                <a:pos x="T6" y="T7"/>
              </a:cxn>
              <a:cxn ang="0">
                <a:pos x="T8" y="T9"/>
              </a:cxn>
              <a:cxn ang="0">
                <a:pos x="T10" y="T11"/>
              </a:cxn>
              <a:cxn ang="0">
                <a:pos x="T12" y="T13"/>
              </a:cxn>
            </a:cxnLst>
            <a:rect l="0" t="0" r="r" b="b"/>
            <a:pathLst>
              <a:path w="768" h="1359">
                <a:moveTo>
                  <a:pt x="0" y="652"/>
                </a:moveTo>
                <a:cubicBezTo>
                  <a:pt x="32" y="705"/>
                  <a:pt x="49" y="764"/>
                  <a:pt x="49" y="824"/>
                </a:cubicBezTo>
                <a:cubicBezTo>
                  <a:pt x="49" y="856"/>
                  <a:pt x="44" y="886"/>
                  <a:pt x="36" y="916"/>
                </a:cubicBezTo>
                <a:lnTo>
                  <a:pt x="768" y="1359"/>
                </a:lnTo>
                <a:lnTo>
                  <a:pt x="768" y="82"/>
                </a:lnTo>
                <a:cubicBezTo>
                  <a:pt x="758" y="78"/>
                  <a:pt x="716" y="5"/>
                  <a:pt x="709" y="0"/>
                </a:cubicBezTo>
                <a:lnTo>
                  <a:pt x="0" y="652"/>
                </a:lnTo>
                <a:close/>
              </a:path>
            </a:pathLst>
          </a:custGeom>
          <a:solidFill>
            <a:srgbClr val="0078D7"/>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 name="Freeform 9">
            <a:extLst>
              <a:ext uri="{FF2B5EF4-FFF2-40B4-BE49-F238E27FC236}">
                <a16:creationId xmlns:a16="http://schemas.microsoft.com/office/drawing/2014/main" id="{64CD86B5-5508-4084-84E5-C9F656A2CBB8}"/>
              </a:ext>
            </a:extLst>
          </p:cNvPr>
          <p:cNvSpPr>
            <a:spLocks/>
          </p:cNvSpPr>
          <p:nvPr/>
        </p:nvSpPr>
        <p:spPr bwMode="auto">
          <a:xfrm>
            <a:off x="2378076" y="3079751"/>
            <a:ext cx="211138" cy="388938"/>
          </a:xfrm>
          <a:custGeom>
            <a:avLst/>
            <a:gdLst>
              <a:gd name="T0" fmla="*/ 142 w 743"/>
              <a:gd name="T1" fmla="*/ 0 h 1373"/>
              <a:gd name="T2" fmla="*/ 0 w 743"/>
              <a:gd name="T3" fmla="*/ 102 h 1373"/>
              <a:gd name="T4" fmla="*/ 0 w 743"/>
              <a:gd name="T5" fmla="*/ 1373 h 1373"/>
              <a:gd name="T6" fmla="*/ 729 w 743"/>
              <a:gd name="T7" fmla="*/ 906 h 1373"/>
              <a:gd name="T8" fmla="*/ 722 w 743"/>
              <a:gd name="T9" fmla="*/ 834 h 1373"/>
              <a:gd name="T10" fmla="*/ 743 w 743"/>
              <a:gd name="T11" fmla="*/ 711 h 1373"/>
              <a:gd name="T12" fmla="*/ 142 w 743"/>
              <a:gd name="T13" fmla="*/ 0 h 1373"/>
            </a:gdLst>
            <a:ahLst/>
            <a:cxnLst>
              <a:cxn ang="0">
                <a:pos x="T0" y="T1"/>
              </a:cxn>
              <a:cxn ang="0">
                <a:pos x="T2" y="T3"/>
              </a:cxn>
              <a:cxn ang="0">
                <a:pos x="T4" y="T5"/>
              </a:cxn>
              <a:cxn ang="0">
                <a:pos x="T6" y="T7"/>
              </a:cxn>
              <a:cxn ang="0">
                <a:pos x="T8" y="T9"/>
              </a:cxn>
              <a:cxn ang="0">
                <a:pos x="T10" y="T11"/>
              </a:cxn>
              <a:cxn ang="0">
                <a:pos x="T12" y="T13"/>
              </a:cxn>
            </a:cxnLst>
            <a:rect l="0" t="0" r="r" b="b"/>
            <a:pathLst>
              <a:path w="743" h="1373">
                <a:moveTo>
                  <a:pt x="142" y="0"/>
                </a:moveTo>
                <a:cubicBezTo>
                  <a:pt x="129" y="7"/>
                  <a:pt x="13" y="96"/>
                  <a:pt x="0" y="102"/>
                </a:cubicBezTo>
                <a:lnTo>
                  <a:pt x="0" y="1373"/>
                </a:lnTo>
                <a:lnTo>
                  <a:pt x="729" y="906"/>
                </a:lnTo>
                <a:cubicBezTo>
                  <a:pt x="723" y="882"/>
                  <a:pt x="722" y="858"/>
                  <a:pt x="722" y="834"/>
                </a:cubicBezTo>
                <a:cubicBezTo>
                  <a:pt x="722" y="793"/>
                  <a:pt x="729" y="752"/>
                  <a:pt x="743" y="711"/>
                </a:cubicBezTo>
                <a:lnTo>
                  <a:pt x="142" y="0"/>
                </a:lnTo>
                <a:close/>
              </a:path>
            </a:pathLst>
          </a:custGeom>
          <a:solidFill>
            <a:srgbClr val="0078D7"/>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Freeform 10">
            <a:extLst>
              <a:ext uri="{FF2B5EF4-FFF2-40B4-BE49-F238E27FC236}">
                <a16:creationId xmlns:a16="http://schemas.microsoft.com/office/drawing/2014/main" id="{1C800553-63FB-4784-92FF-5A4889925252}"/>
              </a:ext>
            </a:extLst>
          </p:cNvPr>
          <p:cNvSpPr>
            <a:spLocks noEditPoints="1"/>
          </p:cNvSpPr>
          <p:nvPr/>
        </p:nvSpPr>
        <p:spPr bwMode="auto">
          <a:xfrm>
            <a:off x="1755776" y="2614613"/>
            <a:ext cx="1208088" cy="1222375"/>
          </a:xfrm>
          <a:custGeom>
            <a:avLst/>
            <a:gdLst>
              <a:gd name="T0" fmla="*/ 3255 w 4258"/>
              <a:gd name="T1" fmla="*/ 2814 h 4307"/>
              <a:gd name="T2" fmla="*/ 3009 w 4258"/>
              <a:gd name="T3" fmla="*/ 2710 h 4307"/>
              <a:gd name="T4" fmla="*/ 2424 w 4258"/>
              <a:gd name="T5" fmla="*/ 3126 h 4307"/>
              <a:gd name="T6" fmla="*/ 2481 w 4258"/>
              <a:gd name="T7" fmla="*/ 3311 h 4307"/>
              <a:gd name="T8" fmla="*/ 2138 w 4258"/>
              <a:gd name="T9" fmla="*/ 3653 h 4307"/>
              <a:gd name="T10" fmla="*/ 1797 w 4258"/>
              <a:gd name="T11" fmla="*/ 3311 h 4307"/>
              <a:gd name="T12" fmla="*/ 1880 w 4258"/>
              <a:gd name="T13" fmla="*/ 3090 h 4307"/>
              <a:gd name="T14" fmla="*/ 1205 w 4258"/>
              <a:gd name="T15" fmla="*/ 2727 h 4307"/>
              <a:gd name="T16" fmla="*/ 975 w 4258"/>
              <a:gd name="T17" fmla="*/ 2819 h 4307"/>
              <a:gd name="T18" fmla="*/ 632 w 4258"/>
              <a:gd name="T19" fmla="*/ 2478 h 4307"/>
              <a:gd name="T20" fmla="*/ 975 w 4258"/>
              <a:gd name="T21" fmla="*/ 2136 h 4307"/>
              <a:gd name="T22" fmla="*/ 1134 w 4258"/>
              <a:gd name="T23" fmla="*/ 2177 h 4307"/>
              <a:gd name="T24" fmla="*/ 1841 w 4258"/>
              <a:gd name="T25" fmla="*/ 1523 h 4307"/>
              <a:gd name="T26" fmla="*/ 1764 w 4258"/>
              <a:gd name="T27" fmla="*/ 1299 h 4307"/>
              <a:gd name="T28" fmla="*/ 2140 w 4258"/>
              <a:gd name="T29" fmla="*/ 924 h 4307"/>
              <a:gd name="T30" fmla="*/ 2516 w 4258"/>
              <a:gd name="T31" fmla="*/ 1299 h 4307"/>
              <a:gd name="T32" fmla="*/ 2457 w 4258"/>
              <a:gd name="T33" fmla="*/ 1495 h 4307"/>
              <a:gd name="T34" fmla="*/ 3053 w 4258"/>
              <a:gd name="T35" fmla="*/ 2199 h 4307"/>
              <a:gd name="T36" fmla="*/ 3257 w 4258"/>
              <a:gd name="T37" fmla="*/ 2131 h 4307"/>
              <a:gd name="T38" fmla="*/ 3599 w 4258"/>
              <a:gd name="T39" fmla="*/ 2472 h 4307"/>
              <a:gd name="T40" fmla="*/ 3255 w 4258"/>
              <a:gd name="T41" fmla="*/ 2814 h 4307"/>
              <a:gd name="T42" fmla="*/ 2148 w 4258"/>
              <a:gd name="T43" fmla="*/ 44 h 4307"/>
              <a:gd name="T44" fmla="*/ 2148 w 4258"/>
              <a:gd name="T45" fmla="*/ 9 h 4307"/>
              <a:gd name="T46" fmla="*/ 2134 w 4258"/>
              <a:gd name="T47" fmla="*/ 26 h 4307"/>
              <a:gd name="T48" fmla="*/ 2110 w 4258"/>
              <a:gd name="T49" fmla="*/ 0 h 4307"/>
              <a:gd name="T50" fmla="*/ 2110 w 4258"/>
              <a:gd name="T51" fmla="*/ 54 h 4307"/>
              <a:gd name="T52" fmla="*/ 0 w 4258"/>
              <a:gd name="T53" fmla="*/ 2557 h 4307"/>
              <a:gd name="T54" fmla="*/ 2122 w 4258"/>
              <a:gd name="T55" fmla="*/ 4287 h 4307"/>
              <a:gd name="T56" fmla="*/ 2122 w 4258"/>
              <a:gd name="T57" fmla="*/ 4307 h 4307"/>
              <a:gd name="T58" fmla="*/ 4258 w 4258"/>
              <a:gd name="T59" fmla="*/ 2566 h 4307"/>
              <a:gd name="T60" fmla="*/ 2148 w 4258"/>
              <a:gd name="T61" fmla="*/ 44 h 4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258" h="4307">
                <a:moveTo>
                  <a:pt x="3255" y="2814"/>
                </a:moveTo>
                <a:cubicBezTo>
                  <a:pt x="3161" y="2814"/>
                  <a:pt x="3072" y="2776"/>
                  <a:pt x="3009" y="2710"/>
                </a:cubicBezTo>
                <a:lnTo>
                  <a:pt x="2424" y="3126"/>
                </a:lnTo>
                <a:cubicBezTo>
                  <a:pt x="2462" y="3180"/>
                  <a:pt x="2481" y="3244"/>
                  <a:pt x="2481" y="3311"/>
                </a:cubicBezTo>
                <a:cubicBezTo>
                  <a:pt x="2481" y="3500"/>
                  <a:pt x="2327" y="3653"/>
                  <a:pt x="2138" y="3653"/>
                </a:cubicBezTo>
                <a:cubicBezTo>
                  <a:pt x="1951" y="3653"/>
                  <a:pt x="1797" y="3500"/>
                  <a:pt x="1797" y="3311"/>
                </a:cubicBezTo>
                <a:cubicBezTo>
                  <a:pt x="1797" y="3228"/>
                  <a:pt x="1828" y="3151"/>
                  <a:pt x="1880" y="3090"/>
                </a:cubicBezTo>
                <a:lnTo>
                  <a:pt x="1205" y="2727"/>
                </a:lnTo>
                <a:cubicBezTo>
                  <a:pt x="1143" y="2786"/>
                  <a:pt x="1061" y="2819"/>
                  <a:pt x="975" y="2819"/>
                </a:cubicBezTo>
                <a:cubicBezTo>
                  <a:pt x="786" y="2819"/>
                  <a:pt x="632" y="2667"/>
                  <a:pt x="632" y="2478"/>
                </a:cubicBezTo>
                <a:cubicBezTo>
                  <a:pt x="632" y="2290"/>
                  <a:pt x="786" y="2136"/>
                  <a:pt x="975" y="2136"/>
                </a:cubicBezTo>
                <a:cubicBezTo>
                  <a:pt x="1032" y="2136"/>
                  <a:pt x="1085" y="2150"/>
                  <a:pt x="1134" y="2177"/>
                </a:cubicBezTo>
                <a:lnTo>
                  <a:pt x="1841" y="1523"/>
                </a:lnTo>
                <a:cubicBezTo>
                  <a:pt x="1792" y="1459"/>
                  <a:pt x="1764" y="1379"/>
                  <a:pt x="1764" y="1299"/>
                </a:cubicBezTo>
                <a:cubicBezTo>
                  <a:pt x="1764" y="1091"/>
                  <a:pt x="1933" y="924"/>
                  <a:pt x="2140" y="924"/>
                </a:cubicBezTo>
                <a:cubicBezTo>
                  <a:pt x="2348" y="924"/>
                  <a:pt x="2516" y="1091"/>
                  <a:pt x="2516" y="1299"/>
                </a:cubicBezTo>
                <a:cubicBezTo>
                  <a:pt x="2516" y="1368"/>
                  <a:pt x="2496" y="1436"/>
                  <a:pt x="2457" y="1495"/>
                </a:cubicBezTo>
                <a:lnTo>
                  <a:pt x="3053" y="2199"/>
                </a:lnTo>
                <a:cubicBezTo>
                  <a:pt x="3111" y="2155"/>
                  <a:pt x="3183" y="2131"/>
                  <a:pt x="3257" y="2131"/>
                </a:cubicBezTo>
                <a:cubicBezTo>
                  <a:pt x="3445" y="2131"/>
                  <a:pt x="3599" y="2283"/>
                  <a:pt x="3599" y="2472"/>
                </a:cubicBezTo>
                <a:cubicBezTo>
                  <a:pt x="3596" y="2660"/>
                  <a:pt x="3442" y="2814"/>
                  <a:pt x="3255" y="2814"/>
                </a:cubicBezTo>
                <a:close/>
                <a:moveTo>
                  <a:pt x="2148" y="44"/>
                </a:moveTo>
                <a:lnTo>
                  <a:pt x="2148" y="9"/>
                </a:lnTo>
                <a:lnTo>
                  <a:pt x="2134" y="26"/>
                </a:lnTo>
                <a:lnTo>
                  <a:pt x="2110" y="0"/>
                </a:lnTo>
                <a:lnTo>
                  <a:pt x="2110" y="54"/>
                </a:lnTo>
                <a:lnTo>
                  <a:pt x="0" y="2557"/>
                </a:lnTo>
                <a:lnTo>
                  <a:pt x="2122" y="4287"/>
                </a:lnTo>
                <a:lnTo>
                  <a:pt x="2122" y="4307"/>
                </a:lnTo>
                <a:lnTo>
                  <a:pt x="4258" y="2566"/>
                </a:lnTo>
                <a:lnTo>
                  <a:pt x="2148" y="44"/>
                </a:lnTo>
                <a:close/>
              </a:path>
            </a:pathLst>
          </a:custGeom>
          <a:solidFill>
            <a:srgbClr val="0078D7"/>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11">
            <a:extLst>
              <a:ext uri="{FF2B5EF4-FFF2-40B4-BE49-F238E27FC236}">
                <a16:creationId xmlns:a16="http://schemas.microsoft.com/office/drawing/2014/main" id="{412EFB2D-E878-4372-9EBF-139B6117A486}"/>
              </a:ext>
            </a:extLst>
          </p:cNvPr>
          <p:cNvSpPr>
            <a:spLocks noEditPoints="1"/>
          </p:cNvSpPr>
          <p:nvPr/>
        </p:nvSpPr>
        <p:spPr bwMode="auto">
          <a:xfrm>
            <a:off x="2243138" y="1076326"/>
            <a:ext cx="1147763" cy="1222375"/>
          </a:xfrm>
          <a:custGeom>
            <a:avLst/>
            <a:gdLst>
              <a:gd name="T0" fmla="*/ 100 w 723"/>
              <a:gd name="T1" fmla="*/ 290 h 770"/>
              <a:gd name="T2" fmla="*/ 151 w 723"/>
              <a:gd name="T3" fmla="*/ 240 h 770"/>
              <a:gd name="T4" fmla="*/ 247 w 723"/>
              <a:gd name="T5" fmla="*/ 290 h 770"/>
              <a:gd name="T6" fmla="*/ 298 w 723"/>
              <a:gd name="T7" fmla="*/ 240 h 770"/>
              <a:gd name="T8" fmla="*/ 247 w 723"/>
              <a:gd name="T9" fmla="*/ 290 h 770"/>
              <a:gd name="T10" fmla="*/ 100 w 723"/>
              <a:gd name="T11" fmla="*/ 384 h 770"/>
              <a:gd name="T12" fmla="*/ 151 w 723"/>
              <a:gd name="T13" fmla="*/ 434 h 770"/>
              <a:gd name="T14" fmla="*/ 247 w 723"/>
              <a:gd name="T15" fmla="*/ 434 h 770"/>
              <a:gd name="T16" fmla="*/ 298 w 723"/>
              <a:gd name="T17" fmla="*/ 384 h 770"/>
              <a:gd name="T18" fmla="*/ 247 w 723"/>
              <a:gd name="T19" fmla="*/ 434 h 770"/>
              <a:gd name="T20" fmla="*/ 100 w 723"/>
              <a:gd name="T21" fmla="*/ 98 h 770"/>
              <a:gd name="T22" fmla="*/ 151 w 723"/>
              <a:gd name="T23" fmla="*/ 146 h 770"/>
              <a:gd name="T24" fmla="*/ 247 w 723"/>
              <a:gd name="T25" fmla="*/ 146 h 770"/>
              <a:gd name="T26" fmla="*/ 298 w 723"/>
              <a:gd name="T27" fmla="*/ 98 h 770"/>
              <a:gd name="T28" fmla="*/ 247 w 723"/>
              <a:gd name="T29" fmla="*/ 146 h 770"/>
              <a:gd name="T30" fmla="*/ 446 w 723"/>
              <a:gd name="T31" fmla="*/ 146 h 770"/>
              <a:gd name="T32" fmla="*/ 397 w 723"/>
              <a:gd name="T33" fmla="*/ 98 h 770"/>
              <a:gd name="T34" fmla="*/ 151 w 723"/>
              <a:gd name="T35" fmla="*/ 528 h 770"/>
              <a:gd name="T36" fmla="*/ 100 w 723"/>
              <a:gd name="T37" fmla="*/ 576 h 770"/>
              <a:gd name="T38" fmla="*/ 151 w 723"/>
              <a:gd name="T39" fmla="*/ 528 h 770"/>
              <a:gd name="T40" fmla="*/ 298 w 723"/>
              <a:gd name="T41" fmla="*/ 576 h 770"/>
              <a:gd name="T42" fmla="*/ 247 w 723"/>
              <a:gd name="T43" fmla="*/ 528 h 770"/>
              <a:gd name="T44" fmla="*/ 723 w 723"/>
              <a:gd name="T45" fmla="*/ 240 h 770"/>
              <a:gd name="T46" fmla="*/ 545 w 723"/>
              <a:gd name="T47" fmla="*/ 770 h 770"/>
              <a:gd name="T48" fmla="*/ 0 w 723"/>
              <a:gd name="T49" fmla="*/ 770 h 770"/>
              <a:gd name="T50" fmla="*/ 545 w 723"/>
              <a:gd name="T51" fmla="*/ 0 h 770"/>
              <a:gd name="T52" fmla="*/ 723 w 723"/>
              <a:gd name="T53" fmla="*/ 240 h 770"/>
              <a:gd name="T54" fmla="*/ 377 w 723"/>
              <a:gd name="T55" fmla="*/ 240 h 770"/>
              <a:gd name="T56" fmla="*/ 497 w 723"/>
              <a:gd name="T57" fmla="*/ 49 h 770"/>
              <a:gd name="T58" fmla="*/ 52 w 723"/>
              <a:gd name="T59" fmla="*/ 721 h 770"/>
              <a:gd name="T60" fmla="*/ 680 w 723"/>
              <a:gd name="T61" fmla="*/ 282 h 770"/>
              <a:gd name="T62" fmla="*/ 421 w 723"/>
              <a:gd name="T63" fmla="*/ 728 h 770"/>
              <a:gd name="T64" fmla="*/ 680 w 723"/>
              <a:gd name="T65" fmla="*/ 282 h 770"/>
              <a:gd name="T66" fmla="*/ 464 w 723"/>
              <a:gd name="T67" fmla="*/ 445 h 770"/>
              <a:gd name="T68" fmla="*/ 507 w 723"/>
              <a:gd name="T69" fmla="*/ 486 h 770"/>
              <a:gd name="T70" fmla="*/ 632 w 723"/>
              <a:gd name="T71" fmla="*/ 445 h 770"/>
              <a:gd name="T72" fmla="*/ 594 w 723"/>
              <a:gd name="T73" fmla="*/ 486 h 770"/>
              <a:gd name="T74" fmla="*/ 632 w 723"/>
              <a:gd name="T75" fmla="*/ 445 h 770"/>
              <a:gd name="T76" fmla="*/ 464 w 723"/>
              <a:gd name="T77" fmla="*/ 566 h 770"/>
              <a:gd name="T78" fmla="*/ 507 w 723"/>
              <a:gd name="T79" fmla="*/ 609 h 770"/>
              <a:gd name="T80" fmla="*/ 632 w 723"/>
              <a:gd name="T81" fmla="*/ 566 h 770"/>
              <a:gd name="T82" fmla="*/ 594 w 723"/>
              <a:gd name="T83" fmla="*/ 609 h 770"/>
              <a:gd name="T84" fmla="*/ 632 w 723"/>
              <a:gd name="T85" fmla="*/ 566 h 770"/>
              <a:gd name="T86" fmla="*/ 464 w 723"/>
              <a:gd name="T87" fmla="*/ 319 h 770"/>
              <a:gd name="T88" fmla="*/ 507 w 723"/>
              <a:gd name="T89" fmla="*/ 362 h 770"/>
              <a:gd name="T90" fmla="*/ 632 w 723"/>
              <a:gd name="T91" fmla="*/ 319 h 770"/>
              <a:gd name="T92" fmla="*/ 594 w 723"/>
              <a:gd name="T93" fmla="*/ 362 h 770"/>
              <a:gd name="T94" fmla="*/ 632 w 723"/>
              <a:gd name="T95" fmla="*/ 319 h 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23" h="770">
                <a:moveTo>
                  <a:pt x="151" y="290"/>
                </a:moveTo>
                <a:lnTo>
                  <a:pt x="100" y="290"/>
                </a:lnTo>
                <a:lnTo>
                  <a:pt x="100" y="240"/>
                </a:lnTo>
                <a:lnTo>
                  <a:pt x="151" y="240"/>
                </a:lnTo>
                <a:lnTo>
                  <a:pt x="151" y="290"/>
                </a:lnTo>
                <a:close/>
                <a:moveTo>
                  <a:pt x="247" y="290"/>
                </a:moveTo>
                <a:lnTo>
                  <a:pt x="298" y="290"/>
                </a:lnTo>
                <a:lnTo>
                  <a:pt x="298" y="240"/>
                </a:lnTo>
                <a:lnTo>
                  <a:pt x="247" y="240"/>
                </a:lnTo>
                <a:lnTo>
                  <a:pt x="247" y="290"/>
                </a:lnTo>
                <a:close/>
                <a:moveTo>
                  <a:pt x="151" y="384"/>
                </a:moveTo>
                <a:lnTo>
                  <a:pt x="100" y="384"/>
                </a:lnTo>
                <a:lnTo>
                  <a:pt x="100" y="434"/>
                </a:lnTo>
                <a:lnTo>
                  <a:pt x="151" y="434"/>
                </a:lnTo>
                <a:lnTo>
                  <a:pt x="151" y="384"/>
                </a:lnTo>
                <a:close/>
                <a:moveTo>
                  <a:pt x="247" y="434"/>
                </a:moveTo>
                <a:lnTo>
                  <a:pt x="298" y="434"/>
                </a:lnTo>
                <a:lnTo>
                  <a:pt x="298" y="384"/>
                </a:lnTo>
                <a:lnTo>
                  <a:pt x="247" y="384"/>
                </a:lnTo>
                <a:lnTo>
                  <a:pt x="247" y="434"/>
                </a:lnTo>
                <a:close/>
                <a:moveTo>
                  <a:pt x="151" y="98"/>
                </a:moveTo>
                <a:lnTo>
                  <a:pt x="100" y="98"/>
                </a:lnTo>
                <a:lnTo>
                  <a:pt x="100" y="146"/>
                </a:lnTo>
                <a:lnTo>
                  <a:pt x="151" y="146"/>
                </a:lnTo>
                <a:lnTo>
                  <a:pt x="151" y="98"/>
                </a:lnTo>
                <a:close/>
                <a:moveTo>
                  <a:pt x="247" y="146"/>
                </a:moveTo>
                <a:lnTo>
                  <a:pt x="298" y="146"/>
                </a:lnTo>
                <a:lnTo>
                  <a:pt x="298" y="98"/>
                </a:lnTo>
                <a:lnTo>
                  <a:pt x="247" y="98"/>
                </a:lnTo>
                <a:lnTo>
                  <a:pt x="247" y="146"/>
                </a:lnTo>
                <a:close/>
                <a:moveTo>
                  <a:pt x="397" y="146"/>
                </a:moveTo>
                <a:lnTo>
                  <a:pt x="446" y="146"/>
                </a:lnTo>
                <a:lnTo>
                  <a:pt x="446" y="98"/>
                </a:lnTo>
                <a:lnTo>
                  <a:pt x="397" y="98"/>
                </a:lnTo>
                <a:lnTo>
                  <a:pt x="397" y="146"/>
                </a:lnTo>
                <a:close/>
                <a:moveTo>
                  <a:pt x="151" y="528"/>
                </a:moveTo>
                <a:lnTo>
                  <a:pt x="100" y="528"/>
                </a:lnTo>
                <a:lnTo>
                  <a:pt x="100" y="576"/>
                </a:lnTo>
                <a:lnTo>
                  <a:pt x="151" y="576"/>
                </a:lnTo>
                <a:lnTo>
                  <a:pt x="151" y="528"/>
                </a:lnTo>
                <a:close/>
                <a:moveTo>
                  <a:pt x="247" y="576"/>
                </a:moveTo>
                <a:lnTo>
                  <a:pt x="298" y="576"/>
                </a:lnTo>
                <a:lnTo>
                  <a:pt x="298" y="528"/>
                </a:lnTo>
                <a:lnTo>
                  <a:pt x="247" y="528"/>
                </a:lnTo>
                <a:lnTo>
                  <a:pt x="247" y="576"/>
                </a:lnTo>
                <a:close/>
                <a:moveTo>
                  <a:pt x="723" y="240"/>
                </a:moveTo>
                <a:lnTo>
                  <a:pt x="723" y="770"/>
                </a:lnTo>
                <a:lnTo>
                  <a:pt x="545" y="770"/>
                </a:lnTo>
                <a:lnTo>
                  <a:pt x="377" y="770"/>
                </a:lnTo>
                <a:lnTo>
                  <a:pt x="0" y="770"/>
                </a:lnTo>
                <a:lnTo>
                  <a:pt x="0" y="0"/>
                </a:lnTo>
                <a:lnTo>
                  <a:pt x="545" y="0"/>
                </a:lnTo>
                <a:lnTo>
                  <a:pt x="545" y="240"/>
                </a:lnTo>
                <a:lnTo>
                  <a:pt x="723" y="240"/>
                </a:lnTo>
                <a:close/>
                <a:moveTo>
                  <a:pt x="377" y="721"/>
                </a:moveTo>
                <a:lnTo>
                  <a:pt x="377" y="240"/>
                </a:lnTo>
                <a:lnTo>
                  <a:pt x="497" y="240"/>
                </a:lnTo>
                <a:lnTo>
                  <a:pt x="497" y="49"/>
                </a:lnTo>
                <a:lnTo>
                  <a:pt x="52" y="49"/>
                </a:lnTo>
                <a:lnTo>
                  <a:pt x="52" y="721"/>
                </a:lnTo>
                <a:lnTo>
                  <a:pt x="377" y="721"/>
                </a:lnTo>
                <a:close/>
                <a:moveTo>
                  <a:pt x="680" y="282"/>
                </a:moveTo>
                <a:lnTo>
                  <a:pt x="421" y="282"/>
                </a:lnTo>
                <a:lnTo>
                  <a:pt x="421" y="728"/>
                </a:lnTo>
                <a:lnTo>
                  <a:pt x="680" y="728"/>
                </a:lnTo>
                <a:lnTo>
                  <a:pt x="680" y="282"/>
                </a:lnTo>
                <a:close/>
                <a:moveTo>
                  <a:pt x="507" y="445"/>
                </a:moveTo>
                <a:lnTo>
                  <a:pt x="464" y="445"/>
                </a:lnTo>
                <a:lnTo>
                  <a:pt x="464" y="486"/>
                </a:lnTo>
                <a:lnTo>
                  <a:pt x="507" y="486"/>
                </a:lnTo>
                <a:lnTo>
                  <a:pt x="507" y="445"/>
                </a:lnTo>
                <a:close/>
                <a:moveTo>
                  <a:pt x="632" y="445"/>
                </a:moveTo>
                <a:lnTo>
                  <a:pt x="594" y="445"/>
                </a:lnTo>
                <a:lnTo>
                  <a:pt x="594" y="486"/>
                </a:lnTo>
                <a:lnTo>
                  <a:pt x="632" y="486"/>
                </a:lnTo>
                <a:lnTo>
                  <a:pt x="632" y="445"/>
                </a:lnTo>
                <a:close/>
                <a:moveTo>
                  <a:pt x="507" y="566"/>
                </a:moveTo>
                <a:lnTo>
                  <a:pt x="464" y="566"/>
                </a:lnTo>
                <a:lnTo>
                  <a:pt x="464" y="609"/>
                </a:lnTo>
                <a:lnTo>
                  <a:pt x="507" y="609"/>
                </a:lnTo>
                <a:lnTo>
                  <a:pt x="507" y="566"/>
                </a:lnTo>
                <a:close/>
                <a:moveTo>
                  <a:pt x="632" y="566"/>
                </a:moveTo>
                <a:lnTo>
                  <a:pt x="594" y="566"/>
                </a:lnTo>
                <a:lnTo>
                  <a:pt x="594" y="609"/>
                </a:lnTo>
                <a:lnTo>
                  <a:pt x="632" y="609"/>
                </a:lnTo>
                <a:lnTo>
                  <a:pt x="632" y="566"/>
                </a:lnTo>
                <a:close/>
                <a:moveTo>
                  <a:pt x="507" y="319"/>
                </a:moveTo>
                <a:lnTo>
                  <a:pt x="464" y="319"/>
                </a:lnTo>
                <a:lnTo>
                  <a:pt x="464" y="362"/>
                </a:lnTo>
                <a:lnTo>
                  <a:pt x="507" y="362"/>
                </a:lnTo>
                <a:lnTo>
                  <a:pt x="507" y="319"/>
                </a:lnTo>
                <a:close/>
                <a:moveTo>
                  <a:pt x="632" y="319"/>
                </a:moveTo>
                <a:lnTo>
                  <a:pt x="594" y="319"/>
                </a:lnTo>
                <a:lnTo>
                  <a:pt x="594" y="362"/>
                </a:lnTo>
                <a:lnTo>
                  <a:pt x="632" y="362"/>
                </a:lnTo>
                <a:lnTo>
                  <a:pt x="632" y="319"/>
                </a:lnTo>
                <a:close/>
              </a:path>
            </a:pathLst>
          </a:custGeom>
          <a:solidFill>
            <a:srgbClr val="3F576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Line 12">
            <a:extLst>
              <a:ext uri="{FF2B5EF4-FFF2-40B4-BE49-F238E27FC236}">
                <a16:creationId xmlns:a16="http://schemas.microsoft.com/office/drawing/2014/main" id="{DA1A3107-610F-486E-83AF-9FB2882C003A}"/>
              </a:ext>
            </a:extLst>
          </p:cNvPr>
          <p:cNvSpPr>
            <a:spLocks noChangeShapeType="1"/>
          </p:cNvSpPr>
          <p:nvPr/>
        </p:nvSpPr>
        <p:spPr bwMode="auto">
          <a:xfrm>
            <a:off x="2014538" y="614363"/>
            <a:ext cx="0" cy="381000"/>
          </a:xfrm>
          <a:prstGeom prst="line">
            <a:avLst/>
          </a:prstGeom>
          <a:noFill/>
          <a:ln w="22225" cap="rnd">
            <a:solidFill>
              <a:srgbClr val="2172B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Line 13">
            <a:extLst>
              <a:ext uri="{FF2B5EF4-FFF2-40B4-BE49-F238E27FC236}">
                <a16:creationId xmlns:a16="http://schemas.microsoft.com/office/drawing/2014/main" id="{61ABC7AE-8381-4E51-AECE-AB14AFDB01DE}"/>
              </a:ext>
            </a:extLst>
          </p:cNvPr>
          <p:cNvSpPr>
            <a:spLocks noChangeShapeType="1"/>
          </p:cNvSpPr>
          <p:nvPr/>
        </p:nvSpPr>
        <p:spPr bwMode="auto">
          <a:xfrm>
            <a:off x="1898651" y="614363"/>
            <a:ext cx="0" cy="381000"/>
          </a:xfrm>
          <a:prstGeom prst="line">
            <a:avLst/>
          </a:prstGeom>
          <a:noFill/>
          <a:ln w="22225" cap="rnd">
            <a:solidFill>
              <a:srgbClr val="17244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Rectangle 14">
            <a:extLst>
              <a:ext uri="{FF2B5EF4-FFF2-40B4-BE49-F238E27FC236}">
                <a16:creationId xmlns:a16="http://schemas.microsoft.com/office/drawing/2014/main" id="{F1227B90-AB06-49DC-82FC-E7DD12B7BF39}"/>
              </a:ext>
            </a:extLst>
          </p:cNvPr>
          <p:cNvSpPr>
            <a:spLocks noChangeArrowheads="1"/>
          </p:cNvSpPr>
          <p:nvPr/>
        </p:nvSpPr>
        <p:spPr bwMode="auto">
          <a:xfrm>
            <a:off x="1755776" y="808038"/>
            <a:ext cx="396875" cy="1465263"/>
          </a:xfrm>
          <a:prstGeom prst="rect">
            <a:avLst/>
          </a:prstGeom>
          <a:solidFill>
            <a:srgbClr val="17244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Rectangle 15">
            <a:extLst>
              <a:ext uri="{FF2B5EF4-FFF2-40B4-BE49-F238E27FC236}">
                <a16:creationId xmlns:a16="http://schemas.microsoft.com/office/drawing/2014/main" id="{EDA4C6BD-355E-49F8-8CFF-41EBDA96F98A}"/>
              </a:ext>
            </a:extLst>
          </p:cNvPr>
          <p:cNvSpPr>
            <a:spLocks noChangeArrowheads="1"/>
          </p:cNvSpPr>
          <p:nvPr/>
        </p:nvSpPr>
        <p:spPr bwMode="auto">
          <a:xfrm>
            <a:off x="1755776" y="808038"/>
            <a:ext cx="95250" cy="1465263"/>
          </a:xfrm>
          <a:prstGeom prst="rect">
            <a:avLst/>
          </a:prstGeom>
          <a:solidFill>
            <a:srgbClr val="3F57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Rectangle 16">
            <a:extLst>
              <a:ext uri="{FF2B5EF4-FFF2-40B4-BE49-F238E27FC236}">
                <a16:creationId xmlns:a16="http://schemas.microsoft.com/office/drawing/2014/main" id="{33CD0061-F16A-48F9-96BB-3AA5E7D8DA4E}"/>
              </a:ext>
            </a:extLst>
          </p:cNvPr>
          <p:cNvSpPr>
            <a:spLocks noChangeArrowheads="1"/>
          </p:cNvSpPr>
          <p:nvPr/>
        </p:nvSpPr>
        <p:spPr bwMode="auto">
          <a:xfrm>
            <a:off x="2036763" y="1535113"/>
            <a:ext cx="611188" cy="763588"/>
          </a:xfrm>
          <a:prstGeom prst="rect">
            <a:avLst/>
          </a:prstGeom>
          <a:solidFill>
            <a:srgbClr val="3F57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Rectangle 17">
            <a:extLst>
              <a:ext uri="{FF2B5EF4-FFF2-40B4-BE49-F238E27FC236}">
                <a16:creationId xmlns:a16="http://schemas.microsoft.com/office/drawing/2014/main" id="{01EC6AA4-27CC-4193-B486-4981CF1C5ECF}"/>
              </a:ext>
            </a:extLst>
          </p:cNvPr>
          <p:cNvSpPr>
            <a:spLocks noChangeArrowheads="1"/>
          </p:cNvSpPr>
          <p:nvPr/>
        </p:nvSpPr>
        <p:spPr bwMode="auto">
          <a:xfrm>
            <a:off x="2092326" y="1581151"/>
            <a:ext cx="39688" cy="746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18">
            <a:extLst>
              <a:ext uri="{FF2B5EF4-FFF2-40B4-BE49-F238E27FC236}">
                <a16:creationId xmlns:a16="http://schemas.microsoft.com/office/drawing/2014/main" id="{73B3BECF-B7BF-45EC-A71B-B1D80CE95D24}"/>
              </a:ext>
            </a:extLst>
          </p:cNvPr>
          <p:cNvSpPr>
            <a:spLocks noChangeArrowheads="1"/>
          </p:cNvSpPr>
          <p:nvPr/>
        </p:nvSpPr>
        <p:spPr bwMode="auto">
          <a:xfrm>
            <a:off x="2187576" y="1581151"/>
            <a:ext cx="39688" cy="746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19">
            <a:extLst>
              <a:ext uri="{FF2B5EF4-FFF2-40B4-BE49-F238E27FC236}">
                <a16:creationId xmlns:a16="http://schemas.microsoft.com/office/drawing/2014/main" id="{A8537760-107D-4117-8F78-3AC4573F570D}"/>
              </a:ext>
            </a:extLst>
          </p:cNvPr>
          <p:cNvSpPr>
            <a:spLocks noChangeArrowheads="1"/>
          </p:cNvSpPr>
          <p:nvPr/>
        </p:nvSpPr>
        <p:spPr bwMode="auto">
          <a:xfrm>
            <a:off x="2276476" y="1581151"/>
            <a:ext cx="46038" cy="746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20">
            <a:extLst>
              <a:ext uri="{FF2B5EF4-FFF2-40B4-BE49-F238E27FC236}">
                <a16:creationId xmlns:a16="http://schemas.microsoft.com/office/drawing/2014/main" id="{3B3C18F9-275E-439D-9C97-1811807D73A0}"/>
              </a:ext>
            </a:extLst>
          </p:cNvPr>
          <p:cNvSpPr>
            <a:spLocks noChangeArrowheads="1"/>
          </p:cNvSpPr>
          <p:nvPr/>
        </p:nvSpPr>
        <p:spPr bwMode="auto">
          <a:xfrm>
            <a:off x="2371726" y="1581151"/>
            <a:ext cx="41275" cy="7461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21">
            <a:extLst>
              <a:ext uri="{FF2B5EF4-FFF2-40B4-BE49-F238E27FC236}">
                <a16:creationId xmlns:a16="http://schemas.microsoft.com/office/drawing/2014/main" id="{3988F03B-5A5C-47BC-8B1F-FF507AC2B51D}"/>
              </a:ext>
            </a:extLst>
          </p:cNvPr>
          <p:cNvSpPr>
            <a:spLocks noChangeArrowheads="1"/>
          </p:cNvSpPr>
          <p:nvPr/>
        </p:nvSpPr>
        <p:spPr bwMode="auto">
          <a:xfrm>
            <a:off x="2468563" y="1581151"/>
            <a:ext cx="39688" cy="746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22">
            <a:extLst>
              <a:ext uri="{FF2B5EF4-FFF2-40B4-BE49-F238E27FC236}">
                <a16:creationId xmlns:a16="http://schemas.microsoft.com/office/drawing/2014/main" id="{3C1ABF46-CA9C-4C90-ABCB-46EAD940CFA9}"/>
              </a:ext>
            </a:extLst>
          </p:cNvPr>
          <p:cNvSpPr>
            <a:spLocks noChangeArrowheads="1"/>
          </p:cNvSpPr>
          <p:nvPr/>
        </p:nvSpPr>
        <p:spPr bwMode="auto">
          <a:xfrm>
            <a:off x="2557463" y="1581151"/>
            <a:ext cx="46038" cy="746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23">
            <a:extLst>
              <a:ext uri="{FF2B5EF4-FFF2-40B4-BE49-F238E27FC236}">
                <a16:creationId xmlns:a16="http://schemas.microsoft.com/office/drawing/2014/main" id="{63AC8619-22EC-4967-913E-40AA596477CE}"/>
              </a:ext>
            </a:extLst>
          </p:cNvPr>
          <p:cNvSpPr>
            <a:spLocks noChangeArrowheads="1"/>
          </p:cNvSpPr>
          <p:nvPr/>
        </p:nvSpPr>
        <p:spPr bwMode="auto">
          <a:xfrm>
            <a:off x="2092326" y="1695451"/>
            <a:ext cx="39688" cy="762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24">
            <a:extLst>
              <a:ext uri="{FF2B5EF4-FFF2-40B4-BE49-F238E27FC236}">
                <a16:creationId xmlns:a16="http://schemas.microsoft.com/office/drawing/2014/main" id="{43E0EF63-B746-4388-8ED9-2F4EC3A035FB}"/>
              </a:ext>
            </a:extLst>
          </p:cNvPr>
          <p:cNvSpPr>
            <a:spLocks noChangeArrowheads="1"/>
          </p:cNvSpPr>
          <p:nvPr/>
        </p:nvSpPr>
        <p:spPr bwMode="auto">
          <a:xfrm>
            <a:off x="2187576" y="1695451"/>
            <a:ext cx="39688" cy="762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25">
            <a:extLst>
              <a:ext uri="{FF2B5EF4-FFF2-40B4-BE49-F238E27FC236}">
                <a16:creationId xmlns:a16="http://schemas.microsoft.com/office/drawing/2014/main" id="{2ED68F85-73AD-45C5-BEB2-FB16853C9322}"/>
              </a:ext>
            </a:extLst>
          </p:cNvPr>
          <p:cNvSpPr>
            <a:spLocks noChangeArrowheads="1"/>
          </p:cNvSpPr>
          <p:nvPr/>
        </p:nvSpPr>
        <p:spPr bwMode="auto">
          <a:xfrm>
            <a:off x="2276476" y="1695451"/>
            <a:ext cx="46038" cy="762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26">
            <a:extLst>
              <a:ext uri="{FF2B5EF4-FFF2-40B4-BE49-F238E27FC236}">
                <a16:creationId xmlns:a16="http://schemas.microsoft.com/office/drawing/2014/main" id="{CB868A09-9EAD-4635-835A-44EACD4FB69A}"/>
              </a:ext>
            </a:extLst>
          </p:cNvPr>
          <p:cNvSpPr>
            <a:spLocks noChangeArrowheads="1"/>
          </p:cNvSpPr>
          <p:nvPr/>
        </p:nvSpPr>
        <p:spPr bwMode="auto">
          <a:xfrm>
            <a:off x="2371726" y="1695451"/>
            <a:ext cx="41275" cy="762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27">
            <a:extLst>
              <a:ext uri="{FF2B5EF4-FFF2-40B4-BE49-F238E27FC236}">
                <a16:creationId xmlns:a16="http://schemas.microsoft.com/office/drawing/2014/main" id="{6E9A9B90-C6A3-4F7B-A830-4A5B8AD44DFA}"/>
              </a:ext>
            </a:extLst>
          </p:cNvPr>
          <p:cNvSpPr>
            <a:spLocks noChangeArrowheads="1"/>
          </p:cNvSpPr>
          <p:nvPr/>
        </p:nvSpPr>
        <p:spPr bwMode="auto">
          <a:xfrm>
            <a:off x="2468563" y="1695451"/>
            <a:ext cx="39688" cy="762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28">
            <a:extLst>
              <a:ext uri="{FF2B5EF4-FFF2-40B4-BE49-F238E27FC236}">
                <a16:creationId xmlns:a16="http://schemas.microsoft.com/office/drawing/2014/main" id="{F6F06086-3781-4581-96A8-2D470E4153FE}"/>
              </a:ext>
            </a:extLst>
          </p:cNvPr>
          <p:cNvSpPr>
            <a:spLocks noChangeArrowheads="1"/>
          </p:cNvSpPr>
          <p:nvPr/>
        </p:nvSpPr>
        <p:spPr bwMode="auto">
          <a:xfrm>
            <a:off x="2557463" y="1695451"/>
            <a:ext cx="46038" cy="762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29">
            <a:extLst>
              <a:ext uri="{FF2B5EF4-FFF2-40B4-BE49-F238E27FC236}">
                <a16:creationId xmlns:a16="http://schemas.microsoft.com/office/drawing/2014/main" id="{FA249CC8-8851-4AB1-88BE-BD8A11FAA62C}"/>
              </a:ext>
            </a:extLst>
          </p:cNvPr>
          <p:cNvSpPr>
            <a:spLocks noChangeArrowheads="1"/>
          </p:cNvSpPr>
          <p:nvPr/>
        </p:nvSpPr>
        <p:spPr bwMode="auto">
          <a:xfrm>
            <a:off x="2092326" y="1811338"/>
            <a:ext cx="39688" cy="762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30">
            <a:extLst>
              <a:ext uri="{FF2B5EF4-FFF2-40B4-BE49-F238E27FC236}">
                <a16:creationId xmlns:a16="http://schemas.microsoft.com/office/drawing/2014/main" id="{4297AD80-4204-46F3-BEE3-CC530359FEEB}"/>
              </a:ext>
            </a:extLst>
          </p:cNvPr>
          <p:cNvSpPr>
            <a:spLocks noChangeArrowheads="1"/>
          </p:cNvSpPr>
          <p:nvPr/>
        </p:nvSpPr>
        <p:spPr bwMode="auto">
          <a:xfrm>
            <a:off x="2187576" y="1811338"/>
            <a:ext cx="39688" cy="762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31">
            <a:extLst>
              <a:ext uri="{FF2B5EF4-FFF2-40B4-BE49-F238E27FC236}">
                <a16:creationId xmlns:a16="http://schemas.microsoft.com/office/drawing/2014/main" id="{4A01975E-9A62-4CFE-A704-07445297B0A5}"/>
              </a:ext>
            </a:extLst>
          </p:cNvPr>
          <p:cNvSpPr>
            <a:spLocks noChangeArrowheads="1"/>
          </p:cNvSpPr>
          <p:nvPr/>
        </p:nvSpPr>
        <p:spPr bwMode="auto">
          <a:xfrm>
            <a:off x="2276476" y="1811338"/>
            <a:ext cx="46038" cy="762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32">
            <a:extLst>
              <a:ext uri="{FF2B5EF4-FFF2-40B4-BE49-F238E27FC236}">
                <a16:creationId xmlns:a16="http://schemas.microsoft.com/office/drawing/2014/main" id="{C5128C91-1E9B-4443-A497-1EE0C306683B}"/>
              </a:ext>
            </a:extLst>
          </p:cNvPr>
          <p:cNvSpPr>
            <a:spLocks noChangeArrowheads="1"/>
          </p:cNvSpPr>
          <p:nvPr/>
        </p:nvSpPr>
        <p:spPr bwMode="auto">
          <a:xfrm>
            <a:off x="2371726" y="1811338"/>
            <a:ext cx="41275" cy="762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Rectangle 33">
            <a:extLst>
              <a:ext uri="{FF2B5EF4-FFF2-40B4-BE49-F238E27FC236}">
                <a16:creationId xmlns:a16="http://schemas.microsoft.com/office/drawing/2014/main" id="{63B6B12B-197D-41C9-A431-45E5D2BC7A1A}"/>
              </a:ext>
            </a:extLst>
          </p:cNvPr>
          <p:cNvSpPr>
            <a:spLocks noChangeArrowheads="1"/>
          </p:cNvSpPr>
          <p:nvPr/>
        </p:nvSpPr>
        <p:spPr bwMode="auto">
          <a:xfrm>
            <a:off x="2468563" y="1811338"/>
            <a:ext cx="39688" cy="762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Rectangle 34">
            <a:extLst>
              <a:ext uri="{FF2B5EF4-FFF2-40B4-BE49-F238E27FC236}">
                <a16:creationId xmlns:a16="http://schemas.microsoft.com/office/drawing/2014/main" id="{4454B1DC-6ADD-484D-8C72-B583E49FE2C5}"/>
              </a:ext>
            </a:extLst>
          </p:cNvPr>
          <p:cNvSpPr>
            <a:spLocks noChangeArrowheads="1"/>
          </p:cNvSpPr>
          <p:nvPr/>
        </p:nvSpPr>
        <p:spPr bwMode="auto">
          <a:xfrm>
            <a:off x="2557463" y="1811338"/>
            <a:ext cx="46038" cy="762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Rectangle 35">
            <a:extLst>
              <a:ext uri="{FF2B5EF4-FFF2-40B4-BE49-F238E27FC236}">
                <a16:creationId xmlns:a16="http://schemas.microsoft.com/office/drawing/2014/main" id="{EAAE9B37-BCAC-4320-8169-D73A5C59072C}"/>
              </a:ext>
            </a:extLst>
          </p:cNvPr>
          <p:cNvSpPr>
            <a:spLocks noChangeArrowheads="1"/>
          </p:cNvSpPr>
          <p:nvPr/>
        </p:nvSpPr>
        <p:spPr bwMode="auto">
          <a:xfrm>
            <a:off x="2092326" y="1927226"/>
            <a:ext cx="39688" cy="746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Rectangle 36">
            <a:extLst>
              <a:ext uri="{FF2B5EF4-FFF2-40B4-BE49-F238E27FC236}">
                <a16:creationId xmlns:a16="http://schemas.microsoft.com/office/drawing/2014/main" id="{A33C2A3A-EC5A-4779-AA44-D8FDCC95CE20}"/>
              </a:ext>
            </a:extLst>
          </p:cNvPr>
          <p:cNvSpPr>
            <a:spLocks noChangeArrowheads="1"/>
          </p:cNvSpPr>
          <p:nvPr/>
        </p:nvSpPr>
        <p:spPr bwMode="auto">
          <a:xfrm>
            <a:off x="2187576" y="1927226"/>
            <a:ext cx="39688" cy="746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Rectangle 37">
            <a:extLst>
              <a:ext uri="{FF2B5EF4-FFF2-40B4-BE49-F238E27FC236}">
                <a16:creationId xmlns:a16="http://schemas.microsoft.com/office/drawing/2014/main" id="{72EC8FB0-0798-4333-844E-819E79FDB388}"/>
              </a:ext>
            </a:extLst>
          </p:cNvPr>
          <p:cNvSpPr>
            <a:spLocks noChangeArrowheads="1"/>
          </p:cNvSpPr>
          <p:nvPr/>
        </p:nvSpPr>
        <p:spPr bwMode="auto">
          <a:xfrm>
            <a:off x="2276476" y="1927226"/>
            <a:ext cx="46038" cy="746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Rectangle 38">
            <a:extLst>
              <a:ext uri="{FF2B5EF4-FFF2-40B4-BE49-F238E27FC236}">
                <a16:creationId xmlns:a16="http://schemas.microsoft.com/office/drawing/2014/main" id="{18BE7D54-7A75-4838-A4BE-65DC730ABE1D}"/>
              </a:ext>
            </a:extLst>
          </p:cNvPr>
          <p:cNvSpPr>
            <a:spLocks noChangeArrowheads="1"/>
          </p:cNvSpPr>
          <p:nvPr/>
        </p:nvSpPr>
        <p:spPr bwMode="auto">
          <a:xfrm>
            <a:off x="2371726" y="1927226"/>
            <a:ext cx="41275" cy="7461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Rectangle 39">
            <a:extLst>
              <a:ext uri="{FF2B5EF4-FFF2-40B4-BE49-F238E27FC236}">
                <a16:creationId xmlns:a16="http://schemas.microsoft.com/office/drawing/2014/main" id="{32B54321-B807-423F-95F7-971876BAEF29}"/>
              </a:ext>
            </a:extLst>
          </p:cNvPr>
          <p:cNvSpPr>
            <a:spLocks noChangeArrowheads="1"/>
          </p:cNvSpPr>
          <p:nvPr/>
        </p:nvSpPr>
        <p:spPr bwMode="auto">
          <a:xfrm>
            <a:off x="2468563" y="1927226"/>
            <a:ext cx="39688" cy="7461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Rectangle 40">
            <a:extLst>
              <a:ext uri="{FF2B5EF4-FFF2-40B4-BE49-F238E27FC236}">
                <a16:creationId xmlns:a16="http://schemas.microsoft.com/office/drawing/2014/main" id="{0AFBA529-B9E8-4433-829A-46BADFB5F3F2}"/>
              </a:ext>
            </a:extLst>
          </p:cNvPr>
          <p:cNvSpPr>
            <a:spLocks noChangeArrowheads="1"/>
          </p:cNvSpPr>
          <p:nvPr/>
        </p:nvSpPr>
        <p:spPr bwMode="auto">
          <a:xfrm>
            <a:off x="2557463" y="1927226"/>
            <a:ext cx="46038" cy="7461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Rectangle 41">
            <a:extLst>
              <a:ext uri="{FF2B5EF4-FFF2-40B4-BE49-F238E27FC236}">
                <a16:creationId xmlns:a16="http://schemas.microsoft.com/office/drawing/2014/main" id="{5AE258D5-6BD9-4BDF-9253-D0B954423647}"/>
              </a:ext>
            </a:extLst>
          </p:cNvPr>
          <p:cNvSpPr>
            <a:spLocks noChangeArrowheads="1"/>
          </p:cNvSpPr>
          <p:nvPr/>
        </p:nvSpPr>
        <p:spPr bwMode="auto">
          <a:xfrm>
            <a:off x="2092326" y="2043113"/>
            <a:ext cx="39688" cy="746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Rectangle 42">
            <a:extLst>
              <a:ext uri="{FF2B5EF4-FFF2-40B4-BE49-F238E27FC236}">
                <a16:creationId xmlns:a16="http://schemas.microsoft.com/office/drawing/2014/main" id="{B7DD6979-6BD2-4ED7-9C2F-7BEBC7E3E720}"/>
              </a:ext>
            </a:extLst>
          </p:cNvPr>
          <p:cNvSpPr>
            <a:spLocks noChangeArrowheads="1"/>
          </p:cNvSpPr>
          <p:nvPr/>
        </p:nvSpPr>
        <p:spPr bwMode="auto">
          <a:xfrm>
            <a:off x="2187576" y="2043113"/>
            <a:ext cx="39688" cy="7461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Rectangle 43">
            <a:extLst>
              <a:ext uri="{FF2B5EF4-FFF2-40B4-BE49-F238E27FC236}">
                <a16:creationId xmlns:a16="http://schemas.microsoft.com/office/drawing/2014/main" id="{597BD0BC-39C4-407B-8C86-2488CB8D72E2}"/>
              </a:ext>
            </a:extLst>
          </p:cNvPr>
          <p:cNvSpPr>
            <a:spLocks noChangeArrowheads="1"/>
          </p:cNvSpPr>
          <p:nvPr/>
        </p:nvSpPr>
        <p:spPr bwMode="auto">
          <a:xfrm>
            <a:off x="2276476" y="2043113"/>
            <a:ext cx="46038" cy="7461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Rectangle 44">
            <a:extLst>
              <a:ext uri="{FF2B5EF4-FFF2-40B4-BE49-F238E27FC236}">
                <a16:creationId xmlns:a16="http://schemas.microsoft.com/office/drawing/2014/main" id="{91E95CC5-CE26-488E-9A8C-A244EFF0440F}"/>
              </a:ext>
            </a:extLst>
          </p:cNvPr>
          <p:cNvSpPr>
            <a:spLocks noChangeArrowheads="1"/>
          </p:cNvSpPr>
          <p:nvPr/>
        </p:nvSpPr>
        <p:spPr bwMode="auto">
          <a:xfrm>
            <a:off x="2371726" y="2043113"/>
            <a:ext cx="41275" cy="746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Rectangle 45">
            <a:extLst>
              <a:ext uri="{FF2B5EF4-FFF2-40B4-BE49-F238E27FC236}">
                <a16:creationId xmlns:a16="http://schemas.microsoft.com/office/drawing/2014/main" id="{83EC8D80-A966-4B4A-8150-18398CFD61E3}"/>
              </a:ext>
            </a:extLst>
          </p:cNvPr>
          <p:cNvSpPr>
            <a:spLocks noChangeArrowheads="1"/>
          </p:cNvSpPr>
          <p:nvPr/>
        </p:nvSpPr>
        <p:spPr bwMode="auto">
          <a:xfrm>
            <a:off x="2468563" y="2043113"/>
            <a:ext cx="39688" cy="7461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Rectangle 46">
            <a:extLst>
              <a:ext uri="{FF2B5EF4-FFF2-40B4-BE49-F238E27FC236}">
                <a16:creationId xmlns:a16="http://schemas.microsoft.com/office/drawing/2014/main" id="{FFACA22F-E1C9-4728-B9EE-30C7F65F2BEC}"/>
              </a:ext>
            </a:extLst>
          </p:cNvPr>
          <p:cNvSpPr>
            <a:spLocks noChangeArrowheads="1"/>
          </p:cNvSpPr>
          <p:nvPr/>
        </p:nvSpPr>
        <p:spPr bwMode="auto">
          <a:xfrm>
            <a:off x="2557463" y="2043113"/>
            <a:ext cx="46038" cy="746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Rectangle 47">
            <a:extLst>
              <a:ext uri="{FF2B5EF4-FFF2-40B4-BE49-F238E27FC236}">
                <a16:creationId xmlns:a16="http://schemas.microsoft.com/office/drawing/2014/main" id="{1B333500-1D75-44B8-91BD-AA7682B483FA}"/>
              </a:ext>
            </a:extLst>
          </p:cNvPr>
          <p:cNvSpPr>
            <a:spLocks noChangeArrowheads="1"/>
          </p:cNvSpPr>
          <p:nvPr/>
        </p:nvSpPr>
        <p:spPr bwMode="auto">
          <a:xfrm>
            <a:off x="2092326" y="2162176"/>
            <a:ext cx="39688" cy="714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Rectangle 48">
            <a:extLst>
              <a:ext uri="{FF2B5EF4-FFF2-40B4-BE49-F238E27FC236}">
                <a16:creationId xmlns:a16="http://schemas.microsoft.com/office/drawing/2014/main" id="{A8605C07-9D4B-41F3-8E42-EA52658DE3E9}"/>
              </a:ext>
            </a:extLst>
          </p:cNvPr>
          <p:cNvSpPr>
            <a:spLocks noChangeArrowheads="1"/>
          </p:cNvSpPr>
          <p:nvPr/>
        </p:nvSpPr>
        <p:spPr bwMode="auto">
          <a:xfrm>
            <a:off x="2187576" y="2162176"/>
            <a:ext cx="39688" cy="714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Rectangle 49">
            <a:extLst>
              <a:ext uri="{FF2B5EF4-FFF2-40B4-BE49-F238E27FC236}">
                <a16:creationId xmlns:a16="http://schemas.microsoft.com/office/drawing/2014/main" id="{3CD3B624-4D12-4B64-B8E9-FFC76FE908F3}"/>
              </a:ext>
            </a:extLst>
          </p:cNvPr>
          <p:cNvSpPr>
            <a:spLocks noChangeArrowheads="1"/>
          </p:cNvSpPr>
          <p:nvPr/>
        </p:nvSpPr>
        <p:spPr bwMode="auto">
          <a:xfrm>
            <a:off x="2276476" y="2162176"/>
            <a:ext cx="46038" cy="714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Rectangle 50">
            <a:extLst>
              <a:ext uri="{FF2B5EF4-FFF2-40B4-BE49-F238E27FC236}">
                <a16:creationId xmlns:a16="http://schemas.microsoft.com/office/drawing/2014/main" id="{F1579A73-81A1-42CC-B47B-75C9F1EEF9AA}"/>
              </a:ext>
            </a:extLst>
          </p:cNvPr>
          <p:cNvSpPr>
            <a:spLocks noChangeArrowheads="1"/>
          </p:cNvSpPr>
          <p:nvPr/>
        </p:nvSpPr>
        <p:spPr bwMode="auto">
          <a:xfrm>
            <a:off x="2371726" y="2162176"/>
            <a:ext cx="41275" cy="714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Rectangle 51">
            <a:extLst>
              <a:ext uri="{FF2B5EF4-FFF2-40B4-BE49-F238E27FC236}">
                <a16:creationId xmlns:a16="http://schemas.microsoft.com/office/drawing/2014/main" id="{6F96A3C5-0B8A-40D0-84B6-AB1CE1C6E784}"/>
              </a:ext>
            </a:extLst>
          </p:cNvPr>
          <p:cNvSpPr>
            <a:spLocks noChangeArrowheads="1"/>
          </p:cNvSpPr>
          <p:nvPr/>
        </p:nvSpPr>
        <p:spPr bwMode="auto">
          <a:xfrm>
            <a:off x="2468563" y="2162176"/>
            <a:ext cx="39688" cy="714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Rectangle 52">
            <a:extLst>
              <a:ext uri="{FF2B5EF4-FFF2-40B4-BE49-F238E27FC236}">
                <a16:creationId xmlns:a16="http://schemas.microsoft.com/office/drawing/2014/main" id="{ACEC92D1-08E6-4BEF-9E12-C0A95F2D39C7}"/>
              </a:ext>
            </a:extLst>
          </p:cNvPr>
          <p:cNvSpPr>
            <a:spLocks noChangeArrowheads="1"/>
          </p:cNvSpPr>
          <p:nvPr/>
        </p:nvSpPr>
        <p:spPr bwMode="auto">
          <a:xfrm>
            <a:off x="2557463" y="2162176"/>
            <a:ext cx="46038" cy="714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Rectangle 53">
            <a:extLst>
              <a:ext uri="{FF2B5EF4-FFF2-40B4-BE49-F238E27FC236}">
                <a16:creationId xmlns:a16="http://schemas.microsoft.com/office/drawing/2014/main" id="{3DAB138B-50C2-487D-A7E7-869A349A9632}"/>
              </a:ext>
            </a:extLst>
          </p:cNvPr>
          <p:cNvSpPr>
            <a:spLocks noChangeArrowheads="1"/>
          </p:cNvSpPr>
          <p:nvPr/>
        </p:nvSpPr>
        <p:spPr bwMode="auto">
          <a:xfrm>
            <a:off x="1360488" y="1331913"/>
            <a:ext cx="320675" cy="7080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Rectangle 54">
            <a:extLst>
              <a:ext uri="{FF2B5EF4-FFF2-40B4-BE49-F238E27FC236}">
                <a16:creationId xmlns:a16="http://schemas.microsoft.com/office/drawing/2014/main" id="{97E8AF65-1304-4CB0-9DBA-00E0532283E2}"/>
              </a:ext>
            </a:extLst>
          </p:cNvPr>
          <p:cNvSpPr>
            <a:spLocks noChangeArrowheads="1"/>
          </p:cNvSpPr>
          <p:nvPr/>
        </p:nvSpPr>
        <p:spPr bwMode="auto">
          <a:xfrm>
            <a:off x="1376363" y="1349376"/>
            <a:ext cx="288925" cy="673100"/>
          </a:xfrm>
          <a:prstGeom prst="rect">
            <a:avLst/>
          </a:prstGeom>
          <a:solidFill>
            <a:srgbClr val="8080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Rectangle 55">
            <a:extLst>
              <a:ext uri="{FF2B5EF4-FFF2-40B4-BE49-F238E27FC236}">
                <a16:creationId xmlns:a16="http://schemas.microsoft.com/office/drawing/2014/main" id="{7D5DA788-8FE1-4329-B988-381725CEB91E}"/>
              </a:ext>
            </a:extLst>
          </p:cNvPr>
          <p:cNvSpPr>
            <a:spLocks noChangeArrowheads="1"/>
          </p:cNvSpPr>
          <p:nvPr/>
        </p:nvSpPr>
        <p:spPr bwMode="auto">
          <a:xfrm>
            <a:off x="1392238" y="1368426"/>
            <a:ext cx="257175" cy="1079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Rectangle 56">
            <a:extLst>
              <a:ext uri="{FF2B5EF4-FFF2-40B4-BE49-F238E27FC236}">
                <a16:creationId xmlns:a16="http://schemas.microsoft.com/office/drawing/2014/main" id="{66C54F62-FEC6-48A3-8234-857118048E8F}"/>
              </a:ext>
            </a:extLst>
          </p:cNvPr>
          <p:cNvSpPr>
            <a:spLocks noChangeArrowheads="1"/>
          </p:cNvSpPr>
          <p:nvPr/>
        </p:nvSpPr>
        <p:spPr bwMode="auto">
          <a:xfrm>
            <a:off x="1392238" y="1495426"/>
            <a:ext cx="257175" cy="730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Rectangle 57">
            <a:extLst>
              <a:ext uri="{FF2B5EF4-FFF2-40B4-BE49-F238E27FC236}">
                <a16:creationId xmlns:a16="http://schemas.microsoft.com/office/drawing/2014/main" id="{4A9C8599-40A7-4919-8509-2DA76B06A2CF}"/>
              </a:ext>
            </a:extLst>
          </p:cNvPr>
          <p:cNvSpPr>
            <a:spLocks noChangeArrowheads="1"/>
          </p:cNvSpPr>
          <p:nvPr/>
        </p:nvSpPr>
        <p:spPr bwMode="auto">
          <a:xfrm>
            <a:off x="1392238" y="1585913"/>
            <a:ext cx="257175"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Rectangle 58">
            <a:extLst>
              <a:ext uri="{FF2B5EF4-FFF2-40B4-BE49-F238E27FC236}">
                <a16:creationId xmlns:a16="http://schemas.microsoft.com/office/drawing/2014/main" id="{C04D0C49-4AD6-421D-8316-C6C0A0BFAB15}"/>
              </a:ext>
            </a:extLst>
          </p:cNvPr>
          <p:cNvSpPr>
            <a:spLocks noChangeArrowheads="1"/>
          </p:cNvSpPr>
          <p:nvPr/>
        </p:nvSpPr>
        <p:spPr bwMode="auto">
          <a:xfrm>
            <a:off x="1392238" y="1668463"/>
            <a:ext cx="257175" cy="3349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Rectangle 59">
            <a:extLst>
              <a:ext uri="{FF2B5EF4-FFF2-40B4-BE49-F238E27FC236}">
                <a16:creationId xmlns:a16="http://schemas.microsoft.com/office/drawing/2014/main" id="{16687EA9-4911-4797-91B0-4A2CE163900A}"/>
              </a:ext>
            </a:extLst>
          </p:cNvPr>
          <p:cNvSpPr>
            <a:spLocks noChangeArrowheads="1"/>
          </p:cNvSpPr>
          <p:nvPr/>
        </p:nvSpPr>
        <p:spPr bwMode="auto">
          <a:xfrm>
            <a:off x="1454151" y="1412876"/>
            <a:ext cx="133350" cy="19050"/>
          </a:xfrm>
          <a:prstGeom prst="rect">
            <a:avLst/>
          </a:prstGeom>
          <a:solidFill>
            <a:srgbClr val="8080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Rectangle 60">
            <a:extLst>
              <a:ext uri="{FF2B5EF4-FFF2-40B4-BE49-F238E27FC236}">
                <a16:creationId xmlns:a16="http://schemas.microsoft.com/office/drawing/2014/main" id="{1841D017-1584-4CA8-ACFD-1B8D3CB1F57A}"/>
              </a:ext>
            </a:extLst>
          </p:cNvPr>
          <p:cNvSpPr>
            <a:spLocks noChangeArrowheads="1"/>
          </p:cNvSpPr>
          <p:nvPr/>
        </p:nvSpPr>
        <p:spPr bwMode="auto">
          <a:xfrm>
            <a:off x="1422401" y="1885951"/>
            <a:ext cx="47625" cy="82550"/>
          </a:xfrm>
          <a:prstGeom prst="rect">
            <a:avLst/>
          </a:prstGeom>
          <a:solidFill>
            <a:srgbClr val="8080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61">
            <a:extLst>
              <a:ext uri="{FF2B5EF4-FFF2-40B4-BE49-F238E27FC236}">
                <a16:creationId xmlns:a16="http://schemas.microsoft.com/office/drawing/2014/main" id="{371AF12C-33A7-4366-946B-724BFD880263}"/>
              </a:ext>
            </a:extLst>
          </p:cNvPr>
          <p:cNvSpPr>
            <a:spLocks/>
          </p:cNvSpPr>
          <p:nvPr/>
        </p:nvSpPr>
        <p:spPr bwMode="auto">
          <a:xfrm>
            <a:off x="1538288" y="1677988"/>
            <a:ext cx="393700" cy="400050"/>
          </a:xfrm>
          <a:custGeom>
            <a:avLst/>
            <a:gdLst>
              <a:gd name="T0" fmla="*/ 117 w 1388"/>
              <a:gd name="T1" fmla="*/ 1408 h 1408"/>
              <a:gd name="T2" fmla="*/ 18 w 1388"/>
              <a:gd name="T3" fmla="*/ 1349 h 1408"/>
              <a:gd name="T4" fmla="*/ 24 w 1388"/>
              <a:gd name="T5" fmla="*/ 1221 h 1408"/>
              <a:gd name="T6" fmla="*/ 601 w 1388"/>
              <a:gd name="T7" fmla="*/ 69 h 1408"/>
              <a:gd name="T8" fmla="*/ 694 w 1388"/>
              <a:gd name="T9" fmla="*/ 0 h 1408"/>
              <a:gd name="T10" fmla="*/ 787 w 1388"/>
              <a:gd name="T11" fmla="*/ 69 h 1408"/>
              <a:gd name="T12" fmla="*/ 1364 w 1388"/>
              <a:gd name="T13" fmla="*/ 1221 h 1408"/>
              <a:gd name="T14" fmla="*/ 1370 w 1388"/>
              <a:gd name="T15" fmla="*/ 1349 h 1408"/>
              <a:gd name="T16" fmla="*/ 1272 w 1388"/>
              <a:gd name="T17" fmla="*/ 1408 h 1408"/>
              <a:gd name="T18" fmla="*/ 117 w 1388"/>
              <a:gd name="T19" fmla="*/ 1408 h 1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88" h="1408">
                <a:moveTo>
                  <a:pt x="117" y="1408"/>
                </a:moveTo>
                <a:cubicBezTo>
                  <a:pt x="73" y="1408"/>
                  <a:pt x="37" y="1386"/>
                  <a:pt x="18" y="1349"/>
                </a:cubicBezTo>
                <a:cubicBezTo>
                  <a:pt x="0" y="1312"/>
                  <a:pt x="2" y="1265"/>
                  <a:pt x="24" y="1221"/>
                </a:cubicBezTo>
                <a:lnTo>
                  <a:pt x="601" y="69"/>
                </a:lnTo>
                <a:cubicBezTo>
                  <a:pt x="623" y="25"/>
                  <a:pt x="657" y="0"/>
                  <a:pt x="694" y="0"/>
                </a:cubicBezTo>
                <a:cubicBezTo>
                  <a:pt x="731" y="0"/>
                  <a:pt x="765" y="25"/>
                  <a:pt x="787" y="69"/>
                </a:cubicBezTo>
                <a:lnTo>
                  <a:pt x="1364" y="1221"/>
                </a:lnTo>
                <a:cubicBezTo>
                  <a:pt x="1386" y="1265"/>
                  <a:pt x="1388" y="1312"/>
                  <a:pt x="1370" y="1349"/>
                </a:cubicBezTo>
                <a:cubicBezTo>
                  <a:pt x="1352" y="1386"/>
                  <a:pt x="1316" y="1408"/>
                  <a:pt x="1272" y="1408"/>
                </a:cubicBezTo>
                <a:lnTo>
                  <a:pt x="117" y="1408"/>
                </a:ln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62">
            <a:extLst>
              <a:ext uri="{FF2B5EF4-FFF2-40B4-BE49-F238E27FC236}">
                <a16:creationId xmlns:a16="http://schemas.microsoft.com/office/drawing/2014/main" id="{FADB0B7B-8671-4568-B6C0-D280FA22756F}"/>
              </a:ext>
            </a:extLst>
          </p:cNvPr>
          <p:cNvSpPr>
            <a:spLocks/>
          </p:cNvSpPr>
          <p:nvPr/>
        </p:nvSpPr>
        <p:spPr bwMode="auto">
          <a:xfrm>
            <a:off x="1552576" y="1692276"/>
            <a:ext cx="366713" cy="366713"/>
          </a:xfrm>
          <a:custGeom>
            <a:avLst/>
            <a:gdLst>
              <a:gd name="T0" fmla="*/ 69 w 1295"/>
              <a:gd name="T1" fmla="*/ 1290 h 1290"/>
              <a:gd name="T2" fmla="*/ 24 w 1295"/>
              <a:gd name="T3" fmla="*/ 1202 h 1290"/>
              <a:gd name="T4" fmla="*/ 602 w 1295"/>
              <a:gd name="T5" fmla="*/ 50 h 1290"/>
              <a:gd name="T6" fmla="*/ 692 w 1295"/>
              <a:gd name="T7" fmla="*/ 50 h 1290"/>
              <a:gd name="T8" fmla="*/ 1270 w 1295"/>
              <a:gd name="T9" fmla="*/ 1202 h 1290"/>
              <a:gd name="T10" fmla="*/ 1225 w 1295"/>
              <a:gd name="T11" fmla="*/ 1290 h 1290"/>
              <a:gd name="T12" fmla="*/ 69 w 1295"/>
              <a:gd name="T13" fmla="*/ 1290 h 1290"/>
            </a:gdLst>
            <a:ahLst/>
            <a:cxnLst>
              <a:cxn ang="0">
                <a:pos x="T0" y="T1"/>
              </a:cxn>
              <a:cxn ang="0">
                <a:pos x="T2" y="T3"/>
              </a:cxn>
              <a:cxn ang="0">
                <a:pos x="T4" y="T5"/>
              </a:cxn>
              <a:cxn ang="0">
                <a:pos x="T6" y="T7"/>
              </a:cxn>
              <a:cxn ang="0">
                <a:pos x="T8" y="T9"/>
              </a:cxn>
              <a:cxn ang="0">
                <a:pos x="T10" y="T11"/>
              </a:cxn>
              <a:cxn ang="0">
                <a:pos x="T12" y="T13"/>
              </a:cxn>
            </a:cxnLst>
            <a:rect l="0" t="0" r="r" b="b"/>
            <a:pathLst>
              <a:path w="1295" h="1290">
                <a:moveTo>
                  <a:pt x="69" y="1290"/>
                </a:moveTo>
                <a:cubicBezTo>
                  <a:pt x="19" y="1290"/>
                  <a:pt x="0" y="1252"/>
                  <a:pt x="24" y="1202"/>
                </a:cubicBezTo>
                <a:lnTo>
                  <a:pt x="602" y="50"/>
                </a:lnTo>
                <a:cubicBezTo>
                  <a:pt x="627" y="0"/>
                  <a:pt x="667" y="0"/>
                  <a:pt x="692" y="50"/>
                </a:cubicBezTo>
                <a:lnTo>
                  <a:pt x="1270" y="1202"/>
                </a:lnTo>
                <a:cubicBezTo>
                  <a:pt x="1295" y="1252"/>
                  <a:pt x="1275" y="1290"/>
                  <a:pt x="1225" y="1290"/>
                </a:cubicBezTo>
                <a:lnTo>
                  <a:pt x="69" y="1290"/>
                </a:lnTo>
                <a:close/>
              </a:path>
            </a:pathLst>
          </a:custGeom>
          <a:solidFill>
            <a:srgbClr val="E78E46"/>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63">
            <a:extLst>
              <a:ext uri="{FF2B5EF4-FFF2-40B4-BE49-F238E27FC236}">
                <a16:creationId xmlns:a16="http://schemas.microsoft.com/office/drawing/2014/main" id="{0C5AC065-9076-4EA1-8E10-9EEDDA42DAD9}"/>
              </a:ext>
            </a:extLst>
          </p:cNvPr>
          <p:cNvSpPr>
            <a:spLocks/>
          </p:cNvSpPr>
          <p:nvPr/>
        </p:nvSpPr>
        <p:spPr bwMode="auto">
          <a:xfrm>
            <a:off x="1360488" y="2074863"/>
            <a:ext cx="390525" cy="1144588"/>
          </a:xfrm>
          <a:custGeom>
            <a:avLst/>
            <a:gdLst>
              <a:gd name="T0" fmla="*/ 124 w 246"/>
              <a:gd name="T1" fmla="*/ 0 h 721"/>
              <a:gd name="T2" fmla="*/ 159 w 246"/>
              <a:gd name="T3" fmla="*/ 609 h 721"/>
              <a:gd name="T4" fmla="*/ 246 w 246"/>
              <a:gd name="T5" fmla="*/ 721 h 721"/>
            </a:gdLst>
            <a:ahLst/>
            <a:cxnLst>
              <a:cxn ang="0">
                <a:pos x="T0" y="T1"/>
              </a:cxn>
              <a:cxn ang="0">
                <a:pos x="T2" y="T3"/>
              </a:cxn>
              <a:cxn ang="0">
                <a:pos x="T4" y="T5"/>
              </a:cxn>
            </a:cxnLst>
            <a:rect l="0" t="0" r="r" b="b"/>
            <a:pathLst>
              <a:path w="246" h="721">
                <a:moveTo>
                  <a:pt x="124" y="0"/>
                </a:moveTo>
                <a:cubicBezTo>
                  <a:pt x="0" y="175"/>
                  <a:pt x="101" y="472"/>
                  <a:pt x="159" y="609"/>
                </a:cubicBezTo>
                <a:cubicBezTo>
                  <a:pt x="192" y="688"/>
                  <a:pt x="212" y="713"/>
                  <a:pt x="246" y="721"/>
                </a:cubicBezTo>
              </a:path>
            </a:pathLst>
          </a:custGeom>
          <a:noFill/>
          <a:ln w="26988" cap="rnd">
            <a:solidFill>
              <a:srgbClr val="92D05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168" name="Freeform 64">
            <a:extLst>
              <a:ext uri="{FF2B5EF4-FFF2-40B4-BE49-F238E27FC236}">
                <a16:creationId xmlns:a16="http://schemas.microsoft.com/office/drawing/2014/main" id="{16A67F34-21BC-4DB6-955C-A37D1A818325}"/>
              </a:ext>
            </a:extLst>
          </p:cNvPr>
          <p:cNvSpPr>
            <a:spLocks/>
          </p:cNvSpPr>
          <p:nvPr/>
        </p:nvSpPr>
        <p:spPr bwMode="auto">
          <a:xfrm>
            <a:off x="1733551" y="3160713"/>
            <a:ext cx="119063" cy="115888"/>
          </a:xfrm>
          <a:custGeom>
            <a:avLst/>
            <a:gdLst>
              <a:gd name="T0" fmla="*/ 4 w 75"/>
              <a:gd name="T1" fmla="*/ 0 h 73"/>
              <a:gd name="T2" fmla="*/ 75 w 75"/>
              <a:gd name="T3" fmla="*/ 41 h 73"/>
              <a:gd name="T4" fmla="*/ 0 w 75"/>
              <a:gd name="T5" fmla="*/ 73 h 73"/>
              <a:gd name="T6" fmla="*/ 4 w 75"/>
              <a:gd name="T7" fmla="*/ 0 h 73"/>
            </a:gdLst>
            <a:ahLst/>
            <a:cxnLst>
              <a:cxn ang="0">
                <a:pos x="T0" y="T1"/>
              </a:cxn>
              <a:cxn ang="0">
                <a:pos x="T2" y="T3"/>
              </a:cxn>
              <a:cxn ang="0">
                <a:pos x="T4" y="T5"/>
              </a:cxn>
              <a:cxn ang="0">
                <a:pos x="T6" y="T7"/>
              </a:cxn>
            </a:cxnLst>
            <a:rect l="0" t="0" r="r" b="b"/>
            <a:pathLst>
              <a:path w="75" h="73">
                <a:moveTo>
                  <a:pt x="4" y="0"/>
                </a:moveTo>
                <a:lnTo>
                  <a:pt x="75" y="41"/>
                </a:lnTo>
                <a:lnTo>
                  <a:pt x="0" y="73"/>
                </a:lnTo>
                <a:lnTo>
                  <a:pt x="4" y="0"/>
                </a:ln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71" name="Rectangle 67">
            <a:extLst>
              <a:ext uri="{FF2B5EF4-FFF2-40B4-BE49-F238E27FC236}">
                <a16:creationId xmlns:a16="http://schemas.microsoft.com/office/drawing/2014/main" id="{18A02C1A-907C-43AF-93A0-EBC8060AD3FB}"/>
              </a:ext>
            </a:extLst>
          </p:cNvPr>
          <p:cNvSpPr>
            <a:spLocks noChangeArrowheads="1"/>
          </p:cNvSpPr>
          <p:nvPr/>
        </p:nvSpPr>
        <p:spPr bwMode="auto">
          <a:xfrm>
            <a:off x="7546976" y="5200651"/>
            <a:ext cx="1974850" cy="1350963"/>
          </a:xfrm>
          <a:prstGeom prst="rect">
            <a:avLst/>
          </a:prstGeom>
          <a:noFill/>
          <a:ln w="96838" cap="rnd">
            <a:solidFill>
              <a:srgbClr val="A5A5A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7236" name="Picture 68">
            <a:extLst>
              <a:ext uri="{FF2B5EF4-FFF2-40B4-BE49-F238E27FC236}">
                <a16:creationId xmlns:a16="http://schemas.microsoft.com/office/drawing/2014/main" id="{945F7368-A34B-4F80-B5A8-7BB919882C76}"/>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7550151" y="5203826"/>
            <a:ext cx="1974850" cy="134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72" name="Rectangle 69">
            <a:extLst>
              <a:ext uri="{FF2B5EF4-FFF2-40B4-BE49-F238E27FC236}">
                <a16:creationId xmlns:a16="http://schemas.microsoft.com/office/drawing/2014/main" id="{454CDA5E-C0A5-4B44-B40E-BD476986CA5F}"/>
              </a:ext>
            </a:extLst>
          </p:cNvPr>
          <p:cNvSpPr>
            <a:spLocks noChangeArrowheads="1"/>
          </p:cNvSpPr>
          <p:nvPr/>
        </p:nvSpPr>
        <p:spPr bwMode="auto">
          <a:xfrm>
            <a:off x="8040688" y="6596063"/>
            <a:ext cx="1135063" cy="236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rgbClr val="000000"/>
                </a:solidFill>
                <a:effectLst/>
                <a:latin typeface="Calibri" panose="020F0502020204030204" pitchFamily="34" charset="0"/>
              </a:rPr>
              <a:t>Create Host Pool</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178" name="Rectangle 74">
            <a:extLst>
              <a:ext uri="{FF2B5EF4-FFF2-40B4-BE49-F238E27FC236}">
                <a16:creationId xmlns:a16="http://schemas.microsoft.com/office/drawing/2014/main" id="{67D5F034-348F-47EA-A782-6CF4570129E6}"/>
              </a:ext>
            </a:extLst>
          </p:cNvPr>
          <p:cNvSpPr>
            <a:spLocks noChangeArrowheads="1"/>
          </p:cNvSpPr>
          <p:nvPr/>
        </p:nvSpPr>
        <p:spPr bwMode="auto">
          <a:xfrm>
            <a:off x="6958013" y="4310063"/>
            <a:ext cx="117475" cy="236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rgbClr val="000000"/>
                </a:solidFill>
                <a:effectLst/>
                <a:latin typeface="Calibri" panose="020F050202020403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180" name="Freeform 76">
            <a:extLst>
              <a:ext uri="{FF2B5EF4-FFF2-40B4-BE49-F238E27FC236}">
                <a16:creationId xmlns:a16="http://schemas.microsoft.com/office/drawing/2014/main" id="{4BE5EFB8-BF91-402B-BAF9-DCCEA5878BBE}"/>
              </a:ext>
            </a:extLst>
          </p:cNvPr>
          <p:cNvSpPr>
            <a:spLocks/>
          </p:cNvSpPr>
          <p:nvPr/>
        </p:nvSpPr>
        <p:spPr bwMode="auto">
          <a:xfrm>
            <a:off x="4194176" y="498476"/>
            <a:ext cx="354013" cy="563563"/>
          </a:xfrm>
          <a:custGeom>
            <a:avLst/>
            <a:gdLst>
              <a:gd name="T0" fmla="*/ 822 w 1246"/>
              <a:gd name="T1" fmla="*/ 1981 h 1981"/>
              <a:gd name="T2" fmla="*/ 424 w 1246"/>
              <a:gd name="T3" fmla="*/ 1981 h 1981"/>
              <a:gd name="T4" fmla="*/ 424 w 1246"/>
              <a:gd name="T5" fmla="*/ 1925 h 1981"/>
              <a:gd name="T6" fmla="*/ 0 w 1246"/>
              <a:gd name="T7" fmla="*/ 1925 h 1981"/>
              <a:gd name="T8" fmla="*/ 0 w 1246"/>
              <a:gd name="T9" fmla="*/ 1730 h 1981"/>
              <a:gd name="T10" fmla="*/ 424 w 1246"/>
              <a:gd name="T11" fmla="*/ 1730 h 1981"/>
              <a:gd name="T12" fmla="*/ 424 w 1246"/>
              <a:gd name="T13" fmla="*/ 1674 h 1981"/>
              <a:gd name="T14" fmla="*/ 530 w 1246"/>
              <a:gd name="T15" fmla="*/ 1674 h 1981"/>
              <a:gd name="T16" fmla="*/ 530 w 1246"/>
              <a:gd name="T17" fmla="*/ 1451 h 1981"/>
              <a:gd name="T18" fmla="*/ 152 w 1246"/>
              <a:gd name="T19" fmla="*/ 1451 h 1981"/>
              <a:gd name="T20" fmla="*/ 3 w 1246"/>
              <a:gd name="T21" fmla="*/ 1275 h 1981"/>
              <a:gd name="T22" fmla="*/ 3 w 1246"/>
              <a:gd name="T23" fmla="*/ 692 h 1981"/>
              <a:gd name="T24" fmla="*/ 144 w 1246"/>
              <a:gd name="T25" fmla="*/ 519 h 1981"/>
              <a:gd name="T26" fmla="*/ 144 w 1246"/>
              <a:gd name="T27" fmla="*/ 483 h 1981"/>
              <a:gd name="T28" fmla="*/ 268 w 1246"/>
              <a:gd name="T29" fmla="*/ 146 h 1981"/>
              <a:gd name="T30" fmla="*/ 623 w 1246"/>
              <a:gd name="T31" fmla="*/ 0 h 1981"/>
              <a:gd name="T32" fmla="*/ 981 w 1246"/>
              <a:gd name="T33" fmla="*/ 146 h 1981"/>
              <a:gd name="T34" fmla="*/ 1103 w 1246"/>
              <a:gd name="T35" fmla="*/ 483 h 1981"/>
              <a:gd name="T36" fmla="*/ 1103 w 1246"/>
              <a:gd name="T37" fmla="*/ 517 h 1981"/>
              <a:gd name="T38" fmla="*/ 1243 w 1246"/>
              <a:gd name="T39" fmla="*/ 692 h 1981"/>
              <a:gd name="T40" fmla="*/ 1243 w 1246"/>
              <a:gd name="T41" fmla="*/ 1275 h 1981"/>
              <a:gd name="T42" fmla="*/ 1095 w 1246"/>
              <a:gd name="T43" fmla="*/ 1451 h 1981"/>
              <a:gd name="T44" fmla="*/ 716 w 1246"/>
              <a:gd name="T45" fmla="*/ 1451 h 1981"/>
              <a:gd name="T46" fmla="*/ 716 w 1246"/>
              <a:gd name="T47" fmla="*/ 1674 h 1981"/>
              <a:gd name="T48" fmla="*/ 822 w 1246"/>
              <a:gd name="T49" fmla="*/ 1674 h 1981"/>
              <a:gd name="T50" fmla="*/ 822 w 1246"/>
              <a:gd name="T51" fmla="*/ 1730 h 1981"/>
              <a:gd name="T52" fmla="*/ 1246 w 1246"/>
              <a:gd name="T53" fmla="*/ 1730 h 1981"/>
              <a:gd name="T54" fmla="*/ 1246 w 1246"/>
              <a:gd name="T55" fmla="*/ 1925 h 1981"/>
              <a:gd name="T56" fmla="*/ 822 w 1246"/>
              <a:gd name="T57" fmla="*/ 1925 h 1981"/>
              <a:gd name="T58" fmla="*/ 822 w 1246"/>
              <a:gd name="T59" fmla="*/ 1981 h 19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46" h="1981">
                <a:moveTo>
                  <a:pt x="822" y="1981"/>
                </a:moveTo>
                <a:lnTo>
                  <a:pt x="424" y="1981"/>
                </a:lnTo>
                <a:lnTo>
                  <a:pt x="424" y="1925"/>
                </a:lnTo>
                <a:lnTo>
                  <a:pt x="0" y="1925"/>
                </a:lnTo>
                <a:lnTo>
                  <a:pt x="0" y="1730"/>
                </a:lnTo>
                <a:lnTo>
                  <a:pt x="424" y="1730"/>
                </a:lnTo>
                <a:lnTo>
                  <a:pt x="424" y="1674"/>
                </a:lnTo>
                <a:lnTo>
                  <a:pt x="530" y="1674"/>
                </a:lnTo>
                <a:lnTo>
                  <a:pt x="530" y="1451"/>
                </a:lnTo>
                <a:lnTo>
                  <a:pt x="152" y="1451"/>
                </a:lnTo>
                <a:cubicBezTo>
                  <a:pt x="56" y="1451"/>
                  <a:pt x="3" y="1362"/>
                  <a:pt x="3" y="1275"/>
                </a:cubicBezTo>
                <a:lnTo>
                  <a:pt x="3" y="692"/>
                </a:lnTo>
                <a:cubicBezTo>
                  <a:pt x="3" y="589"/>
                  <a:pt x="53" y="528"/>
                  <a:pt x="144" y="519"/>
                </a:cubicBezTo>
                <a:lnTo>
                  <a:pt x="144" y="483"/>
                </a:lnTo>
                <a:cubicBezTo>
                  <a:pt x="144" y="358"/>
                  <a:pt x="189" y="235"/>
                  <a:pt x="268" y="146"/>
                </a:cubicBezTo>
                <a:cubicBezTo>
                  <a:pt x="345" y="51"/>
                  <a:pt x="509" y="0"/>
                  <a:pt x="623" y="0"/>
                </a:cubicBezTo>
                <a:cubicBezTo>
                  <a:pt x="737" y="0"/>
                  <a:pt x="901" y="51"/>
                  <a:pt x="981" y="146"/>
                </a:cubicBezTo>
                <a:cubicBezTo>
                  <a:pt x="1058" y="229"/>
                  <a:pt x="1103" y="355"/>
                  <a:pt x="1103" y="483"/>
                </a:cubicBezTo>
                <a:lnTo>
                  <a:pt x="1103" y="517"/>
                </a:lnTo>
                <a:cubicBezTo>
                  <a:pt x="1193" y="525"/>
                  <a:pt x="1243" y="586"/>
                  <a:pt x="1243" y="692"/>
                </a:cubicBezTo>
                <a:lnTo>
                  <a:pt x="1243" y="1275"/>
                </a:lnTo>
                <a:cubicBezTo>
                  <a:pt x="1243" y="1381"/>
                  <a:pt x="1185" y="1451"/>
                  <a:pt x="1095" y="1451"/>
                </a:cubicBezTo>
                <a:lnTo>
                  <a:pt x="716" y="1451"/>
                </a:lnTo>
                <a:lnTo>
                  <a:pt x="716" y="1674"/>
                </a:lnTo>
                <a:lnTo>
                  <a:pt x="822" y="1674"/>
                </a:lnTo>
                <a:lnTo>
                  <a:pt x="822" y="1730"/>
                </a:lnTo>
                <a:lnTo>
                  <a:pt x="1246" y="1730"/>
                </a:lnTo>
                <a:lnTo>
                  <a:pt x="1246" y="1925"/>
                </a:lnTo>
                <a:lnTo>
                  <a:pt x="822" y="1925"/>
                </a:lnTo>
                <a:lnTo>
                  <a:pt x="822" y="1981"/>
                </a:ln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181" name="Rectangle 77">
            <a:extLst>
              <a:ext uri="{FF2B5EF4-FFF2-40B4-BE49-F238E27FC236}">
                <a16:creationId xmlns:a16="http://schemas.microsoft.com/office/drawing/2014/main" id="{80E3E57F-B63E-4472-973E-B2B8C1A7C30D}"/>
              </a:ext>
            </a:extLst>
          </p:cNvPr>
          <p:cNvSpPr>
            <a:spLocks noChangeArrowheads="1"/>
          </p:cNvSpPr>
          <p:nvPr/>
        </p:nvSpPr>
        <p:spPr bwMode="auto">
          <a:xfrm>
            <a:off x="4352926" y="919163"/>
            <a:ext cx="38100" cy="47625"/>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82" name="Rectangle 78">
            <a:extLst>
              <a:ext uri="{FF2B5EF4-FFF2-40B4-BE49-F238E27FC236}">
                <a16:creationId xmlns:a16="http://schemas.microsoft.com/office/drawing/2014/main" id="{F6831718-28C5-465B-99DF-FC2734DE5DE3}"/>
              </a:ext>
            </a:extLst>
          </p:cNvPr>
          <p:cNvSpPr>
            <a:spLocks noChangeArrowheads="1"/>
          </p:cNvSpPr>
          <p:nvPr/>
        </p:nvSpPr>
        <p:spPr bwMode="auto">
          <a:xfrm>
            <a:off x="4322763" y="982663"/>
            <a:ext cx="98425" cy="7143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83" name="Rectangle 79">
            <a:extLst>
              <a:ext uri="{FF2B5EF4-FFF2-40B4-BE49-F238E27FC236}">
                <a16:creationId xmlns:a16="http://schemas.microsoft.com/office/drawing/2014/main" id="{991A83C3-CF81-42D0-A227-ECB8AA1ACFD5}"/>
              </a:ext>
            </a:extLst>
          </p:cNvPr>
          <p:cNvSpPr>
            <a:spLocks noChangeArrowheads="1"/>
          </p:cNvSpPr>
          <p:nvPr/>
        </p:nvSpPr>
        <p:spPr bwMode="auto">
          <a:xfrm>
            <a:off x="4435476" y="998538"/>
            <a:ext cx="106363" cy="3968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84" name="Rectangle 80">
            <a:extLst>
              <a:ext uri="{FF2B5EF4-FFF2-40B4-BE49-F238E27FC236}">
                <a16:creationId xmlns:a16="http://schemas.microsoft.com/office/drawing/2014/main" id="{6D949BA0-C725-4E58-A1A1-534FB25B9400}"/>
              </a:ext>
            </a:extLst>
          </p:cNvPr>
          <p:cNvSpPr>
            <a:spLocks noChangeArrowheads="1"/>
          </p:cNvSpPr>
          <p:nvPr/>
        </p:nvSpPr>
        <p:spPr bwMode="auto">
          <a:xfrm>
            <a:off x="4202113" y="998538"/>
            <a:ext cx="106363" cy="3968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85" name="Freeform 81">
            <a:extLst>
              <a:ext uri="{FF2B5EF4-FFF2-40B4-BE49-F238E27FC236}">
                <a16:creationId xmlns:a16="http://schemas.microsoft.com/office/drawing/2014/main" id="{634DEEBF-6D66-4722-9BB5-A50ABC04E76D}"/>
              </a:ext>
            </a:extLst>
          </p:cNvPr>
          <p:cNvSpPr>
            <a:spLocks noEditPoints="1"/>
          </p:cNvSpPr>
          <p:nvPr/>
        </p:nvSpPr>
        <p:spPr bwMode="auto">
          <a:xfrm>
            <a:off x="4203701" y="506413"/>
            <a:ext cx="336550" cy="396875"/>
          </a:xfrm>
          <a:custGeom>
            <a:avLst/>
            <a:gdLst>
              <a:gd name="T0" fmla="*/ 1046 w 1187"/>
              <a:gd name="T1" fmla="*/ 516 h 1395"/>
              <a:gd name="T2" fmla="*/ 1046 w 1187"/>
              <a:gd name="T3" fmla="*/ 455 h 1395"/>
              <a:gd name="T4" fmla="*/ 930 w 1187"/>
              <a:gd name="T5" fmla="*/ 137 h 1395"/>
              <a:gd name="T6" fmla="*/ 593 w 1187"/>
              <a:gd name="T7" fmla="*/ 0 h 1395"/>
              <a:gd name="T8" fmla="*/ 257 w 1187"/>
              <a:gd name="T9" fmla="*/ 137 h 1395"/>
              <a:gd name="T10" fmla="*/ 140 w 1187"/>
              <a:gd name="T11" fmla="*/ 455 h 1395"/>
              <a:gd name="T12" fmla="*/ 140 w 1187"/>
              <a:gd name="T13" fmla="*/ 516 h 1395"/>
              <a:gd name="T14" fmla="*/ 0 w 1187"/>
              <a:gd name="T15" fmla="*/ 664 h 1395"/>
              <a:gd name="T16" fmla="*/ 0 w 1187"/>
              <a:gd name="T17" fmla="*/ 1247 h 1395"/>
              <a:gd name="T18" fmla="*/ 122 w 1187"/>
              <a:gd name="T19" fmla="*/ 1395 h 1395"/>
              <a:gd name="T20" fmla="*/ 1065 w 1187"/>
              <a:gd name="T21" fmla="*/ 1395 h 1395"/>
              <a:gd name="T22" fmla="*/ 1187 w 1187"/>
              <a:gd name="T23" fmla="*/ 1247 h 1395"/>
              <a:gd name="T24" fmla="*/ 1187 w 1187"/>
              <a:gd name="T25" fmla="*/ 664 h 1395"/>
              <a:gd name="T26" fmla="*/ 1046 w 1187"/>
              <a:gd name="T27" fmla="*/ 516 h 1395"/>
              <a:gd name="T28" fmla="*/ 349 w 1187"/>
              <a:gd name="T29" fmla="*/ 486 h 1395"/>
              <a:gd name="T30" fmla="*/ 413 w 1187"/>
              <a:gd name="T31" fmla="*/ 274 h 1395"/>
              <a:gd name="T32" fmla="*/ 593 w 1187"/>
              <a:gd name="T33" fmla="*/ 201 h 1395"/>
              <a:gd name="T34" fmla="*/ 773 w 1187"/>
              <a:gd name="T35" fmla="*/ 274 h 1395"/>
              <a:gd name="T36" fmla="*/ 837 w 1187"/>
              <a:gd name="T37" fmla="*/ 452 h 1395"/>
              <a:gd name="T38" fmla="*/ 837 w 1187"/>
              <a:gd name="T39" fmla="*/ 514 h 1395"/>
              <a:gd name="T40" fmla="*/ 349 w 1187"/>
              <a:gd name="T41" fmla="*/ 514 h 1395"/>
              <a:gd name="T42" fmla="*/ 349 w 1187"/>
              <a:gd name="T43" fmla="*/ 486 h 1395"/>
              <a:gd name="T44" fmla="*/ 434 w 1187"/>
              <a:gd name="T45" fmla="*/ 756 h 1395"/>
              <a:gd name="T46" fmla="*/ 588 w 1187"/>
              <a:gd name="T47" fmla="*/ 595 h 1395"/>
              <a:gd name="T48" fmla="*/ 742 w 1187"/>
              <a:gd name="T49" fmla="*/ 756 h 1395"/>
              <a:gd name="T50" fmla="*/ 633 w 1187"/>
              <a:gd name="T51" fmla="*/ 756 h 1395"/>
              <a:gd name="T52" fmla="*/ 633 w 1187"/>
              <a:gd name="T53" fmla="*/ 874 h 1395"/>
              <a:gd name="T54" fmla="*/ 540 w 1187"/>
              <a:gd name="T55" fmla="*/ 874 h 1395"/>
              <a:gd name="T56" fmla="*/ 540 w 1187"/>
              <a:gd name="T57" fmla="*/ 756 h 1395"/>
              <a:gd name="T58" fmla="*/ 434 w 1187"/>
              <a:gd name="T59" fmla="*/ 756 h 1395"/>
              <a:gd name="T60" fmla="*/ 151 w 1187"/>
              <a:gd name="T61" fmla="*/ 1002 h 1395"/>
              <a:gd name="T62" fmla="*/ 151 w 1187"/>
              <a:gd name="T63" fmla="*/ 907 h 1395"/>
              <a:gd name="T64" fmla="*/ 310 w 1187"/>
              <a:gd name="T65" fmla="*/ 907 h 1395"/>
              <a:gd name="T66" fmla="*/ 310 w 1187"/>
              <a:gd name="T67" fmla="*/ 795 h 1395"/>
              <a:gd name="T68" fmla="*/ 458 w 1187"/>
              <a:gd name="T69" fmla="*/ 952 h 1395"/>
              <a:gd name="T70" fmla="*/ 310 w 1187"/>
              <a:gd name="T71" fmla="*/ 1108 h 1395"/>
              <a:gd name="T72" fmla="*/ 310 w 1187"/>
              <a:gd name="T73" fmla="*/ 999 h 1395"/>
              <a:gd name="T74" fmla="*/ 151 w 1187"/>
              <a:gd name="T75" fmla="*/ 999 h 1395"/>
              <a:gd name="T76" fmla="*/ 151 w 1187"/>
              <a:gd name="T77" fmla="*/ 1002 h 1395"/>
              <a:gd name="T78" fmla="*/ 588 w 1187"/>
              <a:gd name="T79" fmla="*/ 1317 h 1395"/>
              <a:gd name="T80" fmla="*/ 432 w 1187"/>
              <a:gd name="T81" fmla="*/ 1153 h 1395"/>
              <a:gd name="T82" fmla="*/ 540 w 1187"/>
              <a:gd name="T83" fmla="*/ 1153 h 1395"/>
              <a:gd name="T84" fmla="*/ 540 w 1187"/>
              <a:gd name="T85" fmla="*/ 1038 h 1395"/>
              <a:gd name="T86" fmla="*/ 633 w 1187"/>
              <a:gd name="T87" fmla="*/ 1038 h 1395"/>
              <a:gd name="T88" fmla="*/ 633 w 1187"/>
              <a:gd name="T89" fmla="*/ 1153 h 1395"/>
              <a:gd name="T90" fmla="*/ 744 w 1187"/>
              <a:gd name="T91" fmla="*/ 1153 h 1395"/>
              <a:gd name="T92" fmla="*/ 588 w 1187"/>
              <a:gd name="T93" fmla="*/ 1317 h 1395"/>
              <a:gd name="T94" fmla="*/ 1025 w 1187"/>
              <a:gd name="T95" fmla="*/ 1002 h 1395"/>
              <a:gd name="T96" fmla="*/ 866 w 1187"/>
              <a:gd name="T97" fmla="*/ 1002 h 1395"/>
              <a:gd name="T98" fmla="*/ 866 w 1187"/>
              <a:gd name="T99" fmla="*/ 1113 h 1395"/>
              <a:gd name="T100" fmla="*/ 715 w 1187"/>
              <a:gd name="T101" fmla="*/ 954 h 1395"/>
              <a:gd name="T102" fmla="*/ 866 w 1187"/>
              <a:gd name="T103" fmla="*/ 795 h 1395"/>
              <a:gd name="T104" fmla="*/ 866 w 1187"/>
              <a:gd name="T105" fmla="*/ 907 h 1395"/>
              <a:gd name="T106" fmla="*/ 1025 w 1187"/>
              <a:gd name="T107" fmla="*/ 907 h 1395"/>
              <a:gd name="T108" fmla="*/ 1025 w 1187"/>
              <a:gd name="T109" fmla="*/ 1002 h 1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87" h="1395">
                <a:moveTo>
                  <a:pt x="1046" y="516"/>
                </a:moveTo>
                <a:lnTo>
                  <a:pt x="1046" y="455"/>
                </a:lnTo>
                <a:cubicBezTo>
                  <a:pt x="1046" y="332"/>
                  <a:pt x="1004" y="218"/>
                  <a:pt x="930" y="137"/>
                </a:cubicBezTo>
                <a:cubicBezTo>
                  <a:pt x="861" y="53"/>
                  <a:pt x="707" y="0"/>
                  <a:pt x="593" y="0"/>
                </a:cubicBezTo>
                <a:cubicBezTo>
                  <a:pt x="479" y="0"/>
                  <a:pt x="326" y="53"/>
                  <a:pt x="257" y="137"/>
                </a:cubicBezTo>
                <a:cubicBezTo>
                  <a:pt x="185" y="218"/>
                  <a:pt x="140" y="332"/>
                  <a:pt x="140" y="455"/>
                </a:cubicBezTo>
                <a:lnTo>
                  <a:pt x="140" y="516"/>
                </a:lnTo>
                <a:cubicBezTo>
                  <a:pt x="37" y="516"/>
                  <a:pt x="0" y="581"/>
                  <a:pt x="0" y="664"/>
                </a:cubicBezTo>
                <a:lnTo>
                  <a:pt x="0" y="1247"/>
                </a:lnTo>
                <a:cubicBezTo>
                  <a:pt x="0" y="1320"/>
                  <a:pt x="42" y="1395"/>
                  <a:pt x="122" y="1395"/>
                </a:cubicBezTo>
                <a:lnTo>
                  <a:pt x="1065" y="1395"/>
                </a:lnTo>
                <a:cubicBezTo>
                  <a:pt x="1155" y="1395"/>
                  <a:pt x="1187" y="1320"/>
                  <a:pt x="1187" y="1247"/>
                </a:cubicBezTo>
                <a:lnTo>
                  <a:pt x="1187" y="664"/>
                </a:lnTo>
                <a:cubicBezTo>
                  <a:pt x="1187" y="589"/>
                  <a:pt x="1158" y="516"/>
                  <a:pt x="1046" y="516"/>
                </a:cubicBezTo>
                <a:close/>
                <a:moveTo>
                  <a:pt x="349" y="486"/>
                </a:moveTo>
                <a:cubicBezTo>
                  <a:pt x="349" y="413"/>
                  <a:pt x="373" y="321"/>
                  <a:pt x="413" y="274"/>
                </a:cubicBezTo>
                <a:cubicBezTo>
                  <a:pt x="453" y="226"/>
                  <a:pt x="538" y="204"/>
                  <a:pt x="593" y="201"/>
                </a:cubicBezTo>
                <a:cubicBezTo>
                  <a:pt x="649" y="201"/>
                  <a:pt x="734" y="226"/>
                  <a:pt x="773" y="274"/>
                </a:cubicBezTo>
                <a:cubicBezTo>
                  <a:pt x="813" y="321"/>
                  <a:pt x="837" y="383"/>
                  <a:pt x="837" y="452"/>
                </a:cubicBezTo>
                <a:lnTo>
                  <a:pt x="837" y="514"/>
                </a:lnTo>
                <a:lnTo>
                  <a:pt x="349" y="514"/>
                </a:lnTo>
                <a:lnTo>
                  <a:pt x="349" y="486"/>
                </a:lnTo>
                <a:close/>
                <a:moveTo>
                  <a:pt x="434" y="756"/>
                </a:moveTo>
                <a:lnTo>
                  <a:pt x="588" y="595"/>
                </a:lnTo>
                <a:lnTo>
                  <a:pt x="742" y="756"/>
                </a:lnTo>
                <a:lnTo>
                  <a:pt x="633" y="756"/>
                </a:lnTo>
                <a:lnTo>
                  <a:pt x="633" y="874"/>
                </a:lnTo>
                <a:lnTo>
                  <a:pt x="540" y="874"/>
                </a:lnTo>
                <a:lnTo>
                  <a:pt x="540" y="756"/>
                </a:lnTo>
                <a:lnTo>
                  <a:pt x="434" y="756"/>
                </a:lnTo>
                <a:close/>
                <a:moveTo>
                  <a:pt x="151" y="1002"/>
                </a:moveTo>
                <a:lnTo>
                  <a:pt x="151" y="907"/>
                </a:lnTo>
                <a:lnTo>
                  <a:pt x="310" y="907"/>
                </a:lnTo>
                <a:lnTo>
                  <a:pt x="310" y="795"/>
                </a:lnTo>
                <a:lnTo>
                  <a:pt x="458" y="952"/>
                </a:lnTo>
                <a:lnTo>
                  <a:pt x="310" y="1108"/>
                </a:lnTo>
                <a:lnTo>
                  <a:pt x="310" y="999"/>
                </a:lnTo>
                <a:lnTo>
                  <a:pt x="151" y="999"/>
                </a:lnTo>
                <a:lnTo>
                  <a:pt x="151" y="1002"/>
                </a:lnTo>
                <a:close/>
                <a:moveTo>
                  <a:pt x="588" y="1317"/>
                </a:moveTo>
                <a:lnTo>
                  <a:pt x="432" y="1153"/>
                </a:lnTo>
                <a:lnTo>
                  <a:pt x="540" y="1153"/>
                </a:lnTo>
                <a:lnTo>
                  <a:pt x="540" y="1038"/>
                </a:lnTo>
                <a:lnTo>
                  <a:pt x="633" y="1038"/>
                </a:lnTo>
                <a:lnTo>
                  <a:pt x="633" y="1153"/>
                </a:lnTo>
                <a:lnTo>
                  <a:pt x="744" y="1153"/>
                </a:lnTo>
                <a:lnTo>
                  <a:pt x="588" y="1317"/>
                </a:lnTo>
                <a:close/>
                <a:moveTo>
                  <a:pt x="1025" y="1002"/>
                </a:moveTo>
                <a:lnTo>
                  <a:pt x="866" y="1002"/>
                </a:lnTo>
                <a:lnTo>
                  <a:pt x="866" y="1113"/>
                </a:lnTo>
                <a:lnTo>
                  <a:pt x="715" y="954"/>
                </a:lnTo>
                <a:lnTo>
                  <a:pt x="866" y="795"/>
                </a:lnTo>
                <a:lnTo>
                  <a:pt x="866" y="907"/>
                </a:lnTo>
                <a:lnTo>
                  <a:pt x="1025" y="907"/>
                </a:lnTo>
                <a:lnTo>
                  <a:pt x="1025" y="1002"/>
                </a:lnTo>
                <a:close/>
              </a:path>
            </a:pathLst>
          </a:custGeom>
          <a:solidFill>
            <a:srgbClr val="0078D7"/>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7254" name="Picture 86">
            <a:extLst>
              <a:ext uri="{FF2B5EF4-FFF2-40B4-BE49-F238E27FC236}">
                <a16:creationId xmlns:a16="http://schemas.microsoft.com/office/drawing/2014/main" id="{6A176C9D-5FC2-4ACD-8699-E0939F726E20}"/>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2698751" y="709613"/>
            <a:ext cx="1552575" cy="473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255" name="Picture 87">
            <a:extLst>
              <a:ext uri="{FF2B5EF4-FFF2-40B4-BE49-F238E27FC236}">
                <a16:creationId xmlns:a16="http://schemas.microsoft.com/office/drawing/2014/main" id="{5F83F76E-1599-420C-B252-0F1A1EDB8BDE}"/>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2698751" y="709613"/>
            <a:ext cx="1552575" cy="473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90" name="Freeform 88">
            <a:extLst>
              <a:ext uri="{FF2B5EF4-FFF2-40B4-BE49-F238E27FC236}">
                <a16:creationId xmlns:a16="http://schemas.microsoft.com/office/drawing/2014/main" id="{E0A72508-B91C-4641-8762-4E2DDE695DDC}"/>
              </a:ext>
            </a:extLst>
          </p:cNvPr>
          <p:cNvSpPr>
            <a:spLocks/>
          </p:cNvSpPr>
          <p:nvPr/>
        </p:nvSpPr>
        <p:spPr bwMode="auto">
          <a:xfrm>
            <a:off x="2816226" y="781051"/>
            <a:ext cx="1262063" cy="179388"/>
          </a:xfrm>
          <a:custGeom>
            <a:avLst/>
            <a:gdLst>
              <a:gd name="T0" fmla="*/ 0 w 4445"/>
              <a:gd name="T1" fmla="*/ 630 h 630"/>
              <a:gd name="T2" fmla="*/ 0 w 4445"/>
              <a:gd name="T3" fmla="*/ 521 h 630"/>
              <a:gd name="T4" fmla="*/ 521 w 4445"/>
              <a:gd name="T5" fmla="*/ 0 h 630"/>
              <a:gd name="T6" fmla="*/ 4445 w 4445"/>
              <a:gd name="T7" fmla="*/ 0 h 630"/>
            </a:gdLst>
            <a:ahLst/>
            <a:cxnLst>
              <a:cxn ang="0">
                <a:pos x="T0" y="T1"/>
              </a:cxn>
              <a:cxn ang="0">
                <a:pos x="T2" y="T3"/>
              </a:cxn>
              <a:cxn ang="0">
                <a:pos x="T4" y="T5"/>
              </a:cxn>
              <a:cxn ang="0">
                <a:pos x="T6" y="T7"/>
              </a:cxn>
            </a:cxnLst>
            <a:rect l="0" t="0" r="r" b="b"/>
            <a:pathLst>
              <a:path w="4445" h="630">
                <a:moveTo>
                  <a:pt x="0" y="630"/>
                </a:moveTo>
                <a:lnTo>
                  <a:pt x="0" y="521"/>
                </a:lnTo>
                <a:cubicBezTo>
                  <a:pt x="0" y="233"/>
                  <a:pt x="234" y="0"/>
                  <a:pt x="521" y="0"/>
                </a:cubicBezTo>
                <a:lnTo>
                  <a:pt x="4445" y="0"/>
                </a:lnTo>
              </a:path>
            </a:pathLst>
          </a:custGeom>
          <a:noFill/>
          <a:ln w="36513" cap="rnd">
            <a:solidFill>
              <a:srgbClr val="FFFF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191" name="Freeform 89">
            <a:extLst>
              <a:ext uri="{FF2B5EF4-FFF2-40B4-BE49-F238E27FC236}">
                <a16:creationId xmlns:a16="http://schemas.microsoft.com/office/drawing/2014/main" id="{638D5729-2DDE-4BAA-9F2B-D33AE59156B6}"/>
              </a:ext>
            </a:extLst>
          </p:cNvPr>
          <p:cNvSpPr>
            <a:spLocks/>
          </p:cNvSpPr>
          <p:nvPr/>
        </p:nvSpPr>
        <p:spPr bwMode="auto">
          <a:xfrm>
            <a:off x="2749551" y="942976"/>
            <a:ext cx="134938" cy="133350"/>
          </a:xfrm>
          <a:custGeom>
            <a:avLst/>
            <a:gdLst>
              <a:gd name="T0" fmla="*/ 85 w 85"/>
              <a:gd name="T1" fmla="*/ 0 h 84"/>
              <a:gd name="T2" fmla="*/ 42 w 85"/>
              <a:gd name="T3" fmla="*/ 84 h 84"/>
              <a:gd name="T4" fmla="*/ 0 w 85"/>
              <a:gd name="T5" fmla="*/ 0 h 84"/>
              <a:gd name="T6" fmla="*/ 85 w 85"/>
              <a:gd name="T7" fmla="*/ 0 h 84"/>
            </a:gdLst>
            <a:ahLst/>
            <a:cxnLst>
              <a:cxn ang="0">
                <a:pos x="T0" y="T1"/>
              </a:cxn>
              <a:cxn ang="0">
                <a:pos x="T2" y="T3"/>
              </a:cxn>
              <a:cxn ang="0">
                <a:pos x="T4" y="T5"/>
              </a:cxn>
              <a:cxn ang="0">
                <a:pos x="T6" y="T7"/>
              </a:cxn>
            </a:cxnLst>
            <a:rect l="0" t="0" r="r" b="b"/>
            <a:pathLst>
              <a:path w="85" h="84">
                <a:moveTo>
                  <a:pt x="85" y="0"/>
                </a:moveTo>
                <a:lnTo>
                  <a:pt x="42" y="84"/>
                </a:lnTo>
                <a:lnTo>
                  <a:pt x="0" y="0"/>
                </a:lnTo>
                <a:lnTo>
                  <a:pt x="85" y="0"/>
                </a:ln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92" name="Freeform 90">
            <a:extLst>
              <a:ext uri="{FF2B5EF4-FFF2-40B4-BE49-F238E27FC236}">
                <a16:creationId xmlns:a16="http://schemas.microsoft.com/office/drawing/2014/main" id="{0A56CC37-490B-4E58-ADC1-6B06D9F52981}"/>
              </a:ext>
            </a:extLst>
          </p:cNvPr>
          <p:cNvSpPr>
            <a:spLocks/>
          </p:cNvSpPr>
          <p:nvPr/>
        </p:nvSpPr>
        <p:spPr bwMode="auto">
          <a:xfrm>
            <a:off x="4062413" y="714376"/>
            <a:ext cx="133350" cy="133350"/>
          </a:xfrm>
          <a:custGeom>
            <a:avLst/>
            <a:gdLst>
              <a:gd name="T0" fmla="*/ 0 w 84"/>
              <a:gd name="T1" fmla="*/ 0 h 84"/>
              <a:gd name="T2" fmla="*/ 84 w 84"/>
              <a:gd name="T3" fmla="*/ 42 h 84"/>
              <a:gd name="T4" fmla="*/ 0 w 84"/>
              <a:gd name="T5" fmla="*/ 84 h 84"/>
              <a:gd name="T6" fmla="*/ 0 w 84"/>
              <a:gd name="T7" fmla="*/ 0 h 84"/>
            </a:gdLst>
            <a:ahLst/>
            <a:cxnLst>
              <a:cxn ang="0">
                <a:pos x="T0" y="T1"/>
              </a:cxn>
              <a:cxn ang="0">
                <a:pos x="T2" y="T3"/>
              </a:cxn>
              <a:cxn ang="0">
                <a:pos x="T4" y="T5"/>
              </a:cxn>
              <a:cxn ang="0">
                <a:pos x="T6" y="T7"/>
              </a:cxn>
            </a:cxnLst>
            <a:rect l="0" t="0" r="r" b="b"/>
            <a:pathLst>
              <a:path w="84" h="84">
                <a:moveTo>
                  <a:pt x="0" y="0"/>
                </a:moveTo>
                <a:lnTo>
                  <a:pt x="84" y="42"/>
                </a:lnTo>
                <a:lnTo>
                  <a:pt x="0" y="84"/>
                </a:lnTo>
                <a:lnTo>
                  <a:pt x="0" y="0"/>
                </a:ln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7259" name="Picture 91">
            <a:extLst>
              <a:ext uri="{FF2B5EF4-FFF2-40B4-BE49-F238E27FC236}">
                <a16:creationId xmlns:a16="http://schemas.microsoft.com/office/drawing/2014/main" id="{91A89AA8-1B32-41BA-B16F-5E0C9BA297C8}"/>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4497388" y="709613"/>
            <a:ext cx="2325688" cy="673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260" name="Picture 92">
            <a:extLst>
              <a:ext uri="{FF2B5EF4-FFF2-40B4-BE49-F238E27FC236}">
                <a16:creationId xmlns:a16="http://schemas.microsoft.com/office/drawing/2014/main" id="{B47AA7F5-CE15-4B1B-B081-03EB356DF6F5}"/>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4497388" y="709613"/>
            <a:ext cx="2325688" cy="673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93" name="Freeform 93">
            <a:extLst>
              <a:ext uri="{FF2B5EF4-FFF2-40B4-BE49-F238E27FC236}">
                <a16:creationId xmlns:a16="http://schemas.microsoft.com/office/drawing/2014/main" id="{D604ADFC-4861-4F7D-A641-1A2DC17444D4}"/>
              </a:ext>
            </a:extLst>
          </p:cNvPr>
          <p:cNvSpPr>
            <a:spLocks/>
          </p:cNvSpPr>
          <p:nvPr/>
        </p:nvSpPr>
        <p:spPr bwMode="auto">
          <a:xfrm>
            <a:off x="4664076" y="781051"/>
            <a:ext cx="2036763" cy="377825"/>
          </a:xfrm>
          <a:custGeom>
            <a:avLst/>
            <a:gdLst>
              <a:gd name="T0" fmla="*/ 7173 w 7173"/>
              <a:gd name="T1" fmla="*/ 1331 h 1331"/>
              <a:gd name="T2" fmla="*/ 7173 w 7173"/>
              <a:gd name="T3" fmla="*/ 872 h 1331"/>
              <a:gd name="T4" fmla="*/ 6301 w 7173"/>
              <a:gd name="T5" fmla="*/ 0 h 1331"/>
              <a:gd name="T6" fmla="*/ 0 w 7173"/>
              <a:gd name="T7" fmla="*/ 0 h 1331"/>
            </a:gdLst>
            <a:ahLst/>
            <a:cxnLst>
              <a:cxn ang="0">
                <a:pos x="T0" y="T1"/>
              </a:cxn>
              <a:cxn ang="0">
                <a:pos x="T2" y="T3"/>
              </a:cxn>
              <a:cxn ang="0">
                <a:pos x="T4" y="T5"/>
              </a:cxn>
              <a:cxn ang="0">
                <a:pos x="T6" y="T7"/>
              </a:cxn>
            </a:cxnLst>
            <a:rect l="0" t="0" r="r" b="b"/>
            <a:pathLst>
              <a:path w="7173" h="1331">
                <a:moveTo>
                  <a:pt x="7173" y="1331"/>
                </a:moveTo>
                <a:lnTo>
                  <a:pt x="7173" y="872"/>
                </a:lnTo>
                <a:cubicBezTo>
                  <a:pt x="7173" y="390"/>
                  <a:pt x="6783" y="0"/>
                  <a:pt x="6301" y="0"/>
                </a:cubicBezTo>
                <a:lnTo>
                  <a:pt x="0" y="0"/>
                </a:lnTo>
              </a:path>
            </a:pathLst>
          </a:custGeom>
          <a:noFill/>
          <a:ln w="36513" cap="rnd">
            <a:solidFill>
              <a:srgbClr val="FFFF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194" name="Freeform 94">
            <a:extLst>
              <a:ext uri="{FF2B5EF4-FFF2-40B4-BE49-F238E27FC236}">
                <a16:creationId xmlns:a16="http://schemas.microsoft.com/office/drawing/2014/main" id="{269454BB-314D-4089-ACB2-DF77FE47F38F}"/>
              </a:ext>
            </a:extLst>
          </p:cNvPr>
          <p:cNvSpPr>
            <a:spLocks/>
          </p:cNvSpPr>
          <p:nvPr/>
        </p:nvSpPr>
        <p:spPr bwMode="auto">
          <a:xfrm>
            <a:off x="6634163" y="1143001"/>
            <a:ext cx="134938" cy="133350"/>
          </a:xfrm>
          <a:custGeom>
            <a:avLst/>
            <a:gdLst>
              <a:gd name="T0" fmla="*/ 85 w 85"/>
              <a:gd name="T1" fmla="*/ 0 h 84"/>
              <a:gd name="T2" fmla="*/ 42 w 85"/>
              <a:gd name="T3" fmla="*/ 84 h 84"/>
              <a:gd name="T4" fmla="*/ 0 w 85"/>
              <a:gd name="T5" fmla="*/ 0 h 84"/>
              <a:gd name="T6" fmla="*/ 85 w 85"/>
              <a:gd name="T7" fmla="*/ 0 h 84"/>
            </a:gdLst>
            <a:ahLst/>
            <a:cxnLst>
              <a:cxn ang="0">
                <a:pos x="T0" y="T1"/>
              </a:cxn>
              <a:cxn ang="0">
                <a:pos x="T2" y="T3"/>
              </a:cxn>
              <a:cxn ang="0">
                <a:pos x="T4" y="T5"/>
              </a:cxn>
              <a:cxn ang="0">
                <a:pos x="T6" y="T7"/>
              </a:cxn>
            </a:cxnLst>
            <a:rect l="0" t="0" r="r" b="b"/>
            <a:pathLst>
              <a:path w="85" h="84">
                <a:moveTo>
                  <a:pt x="85" y="0"/>
                </a:moveTo>
                <a:lnTo>
                  <a:pt x="42" y="84"/>
                </a:lnTo>
                <a:lnTo>
                  <a:pt x="0" y="0"/>
                </a:lnTo>
                <a:lnTo>
                  <a:pt x="85" y="0"/>
                </a:ln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95" name="Freeform 95">
            <a:extLst>
              <a:ext uri="{FF2B5EF4-FFF2-40B4-BE49-F238E27FC236}">
                <a16:creationId xmlns:a16="http://schemas.microsoft.com/office/drawing/2014/main" id="{70CB224E-91B9-4FE2-AA3A-9157CFEDFF39}"/>
              </a:ext>
            </a:extLst>
          </p:cNvPr>
          <p:cNvSpPr>
            <a:spLocks/>
          </p:cNvSpPr>
          <p:nvPr/>
        </p:nvSpPr>
        <p:spPr bwMode="auto">
          <a:xfrm>
            <a:off x="4548188" y="714376"/>
            <a:ext cx="133350" cy="133350"/>
          </a:xfrm>
          <a:custGeom>
            <a:avLst/>
            <a:gdLst>
              <a:gd name="T0" fmla="*/ 84 w 84"/>
              <a:gd name="T1" fmla="*/ 84 h 84"/>
              <a:gd name="T2" fmla="*/ 0 w 84"/>
              <a:gd name="T3" fmla="*/ 42 h 84"/>
              <a:gd name="T4" fmla="*/ 84 w 84"/>
              <a:gd name="T5" fmla="*/ 0 h 84"/>
              <a:gd name="T6" fmla="*/ 84 w 84"/>
              <a:gd name="T7" fmla="*/ 84 h 84"/>
            </a:gdLst>
            <a:ahLst/>
            <a:cxnLst>
              <a:cxn ang="0">
                <a:pos x="T0" y="T1"/>
              </a:cxn>
              <a:cxn ang="0">
                <a:pos x="T2" y="T3"/>
              </a:cxn>
              <a:cxn ang="0">
                <a:pos x="T4" y="T5"/>
              </a:cxn>
              <a:cxn ang="0">
                <a:pos x="T6" y="T7"/>
              </a:cxn>
            </a:cxnLst>
            <a:rect l="0" t="0" r="r" b="b"/>
            <a:pathLst>
              <a:path w="84" h="84">
                <a:moveTo>
                  <a:pt x="84" y="84"/>
                </a:moveTo>
                <a:lnTo>
                  <a:pt x="0" y="42"/>
                </a:lnTo>
                <a:lnTo>
                  <a:pt x="84" y="0"/>
                </a:lnTo>
                <a:lnTo>
                  <a:pt x="84" y="84"/>
                </a:ln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96" name="Rectangle 96">
            <a:extLst>
              <a:ext uri="{FF2B5EF4-FFF2-40B4-BE49-F238E27FC236}">
                <a16:creationId xmlns:a16="http://schemas.microsoft.com/office/drawing/2014/main" id="{6502B7C3-0BA3-43AA-8B5C-F90B55BE9635}"/>
              </a:ext>
            </a:extLst>
          </p:cNvPr>
          <p:cNvSpPr>
            <a:spLocks noChangeArrowheads="1"/>
          </p:cNvSpPr>
          <p:nvPr/>
        </p:nvSpPr>
        <p:spPr bwMode="auto">
          <a:xfrm>
            <a:off x="5640388" y="5037138"/>
            <a:ext cx="1976438" cy="1350963"/>
          </a:xfrm>
          <a:prstGeom prst="rect">
            <a:avLst/>
          </a:prstGeom>
          <a:noFill/>
          <a:ln w="96838" cap="rnd">
            <a:solidFill>
              <a:srgbClr val="BFBFB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7265" name="Picture 97">
            <a:extLst>
              <a:ext uri="{FF2B5EF4-FFF2-40B4-BE49-F238E27FC236}">
                <a16:creationId xmlns:a16="http://schemas.microsoft.com/office/drawing/2014/main" id="{91229B7B-9D84-4DC5-9000-1D05FD3AEDDA}"/>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5641976" y="5040313"/>
            <a:ext cx="1976438" cy="134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97" name="Rectangle 98">
            <a:extLst>
              <a:ext uri="{FF2B5EF4-FFF2-40B4-BE49-F238E27FC236}">
                <a16:creationId xmlns:a16="http://schemas.microsoft.com/office/drawing/2014/main" id="{31B13183-8F09-4FEA-A010-44158792F7E4}"/>
              </a:ext>
            </a:extLst>
          </p:cNvPr>
          <p:cNvSpPr>
            <a:spLocks noChangeArrowheads="1"/>
          </p:cNvSpPr>
          <p:nvPr/>
        </p:nvSpPr>
        <p:spPr bwMode="auto">
          <a:xfrm>
            <a:off x="6135688" y="6432551"/>
            <a:ext cx="1135063" cy="236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rgbClr val="000000"/>
                </a:solidFill>
                <a:effectLst/>
                <a:latin typeface="Calibri" panose="020F0502020204030204" pitchFamily="34" charset="0"/>
              </a:rPr>
              <a:t>Create Host Pool</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198" name="Rectangle 99">
            <a:extLst>
              <a:ext uri="{FF2B5EF4-FFF2-40B4-BE49-F238E27FC236}">
                <a16:creationId xmlns:a16="http://schemas.microsoft.com/office/drawing/2014/main" id="{B57B1395-5169-4BAB-B5B1-B64B2E15F435}"/>
              </a:ext>
            </a:extLst>
          </p:cNvPr>
          <p:cNvSpPr>
            <a:spLocks noChangeArrowheads="1"/>
          </p:cNvSpPr>
          <p:nvPr/>
        </p:nvSpPr>
        <p:spPr bwMode="auto">
          <a:xfrm>
            <a:off x="7515226" y="949326"/>
            <a:ext cx="3638550" cy="258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99" name="Rectangle 100">
            <a:extLst>
              <a:ext uri="{FF2B5EF4-FFF2-40B4-BE49-F238E27FC236}">
                <a16:creationId xmlns:a16="http://schemas.microsoft.com/office/drawing/2014/main" id="{226BB82D-169B-46FA-A1E2-3BAF768EC188}"/>
              </a:ext>
            </a:extLst>
          </p:cNvPr>
          <p:cNvSpPr>
            <a:spLocks noChangeArrowheads="1"/>
          </p:cNvSpPr>
          <p:nvPr/>
        </p:nvSpPr>
        <p:spPr bwMode="auto">
          <a:xfrm>
            <a:off x="7515226" y="949326"/>
            <a:ext cx="3638550" cy="2589213"/>
          </a:xfrm>
          <a:prstGeom prst="rect">
            <a:avLst/>
          </a:prstGeom>
          <a:noFill/>
          <a:ln w="12700"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200" name="Freeform 101">
            <a:extLst>
              <a:ext uri="{FF2B5EF4-FFF2-40B4-BE49-F238E27FC236}">
                <a16:creationId xmlns:a16="http://schemas.microsoft.com/office/drawing/2014/main" id="{18610BE9-B342-49F6-ABC5-D6E6B5AD86B3}"/>
              </a:ext>
            </a:extLst>
          </p:cNvPr>
          <p:cNvSpPr>
            <a:spLocks/>
          </p:cNvSpPr>
          <p:nvPr/>
        </p:nvSpPr>
        <p:spPr bwMode="auto">
          <a:xfrm>
            <a:off x="7519988" y="1179513"/>
            <a:ext cx="3629025" cy="200025"/>
          </a:xfrm>
          <a:custGeom>
            <a:avLst/>
            <a:gdLst>
              <a:gd name="T0" fmla="*/ 0 w 6389"/>
              <a:gd name="T1" fmla="*/ 352 h 352"/>
              <a:gd name="T2" fmla="*/ 6389 w 6389"/>
              <a:gd name="T3" fmla="*/ 352 h 352"/>
              <a:gd name="T4" fmla="*/ 6389 w 6389"/>
              <a:gd name="T5" fmla="*/ 256 h 352"/>
              <a:gd name="T6" fmla="*/ 0 w 6389"/>
              <a:gd name="T7" fmla="*/ 256 h 352"/>
              <a:gd name="T8" fmla="*/ 0 w 6389"/>
              <a:gd name="T9" fmla="*/ 352 h 352"/>
            </a:gdLst>
            <a:ahLst/>
            <a:cxnLst>
              <a:cxn ang="0">
                <a:pos x="T0" y="T1"/>
              </a:cxn>
              <a:cxn ang="0">
                <a:pos x="T2" y="T3"/>
              </a:cxn>
              <a:cxn ang="0">
                <a:pos x="T4" y="T5"/>
              </a:cxn>
              <a:cxn ang="0">
                <a:pos x="T6" y="T7"/>
              </a:cxn>
              <a:cxn ang="0">
                <a:pos x="T8" y="T9"/>
              </a:cxn>
            </a:cxnLst>
            <a:rect l="0" t="0" r="r" b="b"/>
            <a:pathLst>
              <a:path w="6389" h="352">
                <a:moveTo>
                  <a:pt x="0" y="352"/>
                </a:moveTo>
                <a:cubicBezTo>
                  <a:pt x="2122" y="96"/>
                  <a:pt x="4267" y="96"/>
                  <a:pt x="6389" y="352"/>
                </a:cubicBezTo>
                <a:lnTo>
                  <a:pt x="6389" y="256"/>
                </a:lnTo>
                <a:cubicBezTo>
                  <a:pt x="4267" y="0"/>
                  <a:pt x="2122" y="0"/>
                  <a:pt x="0" y="256"/>
                </a:cubicBezTo>
                <a:lnTo>
                  <a:pt x="0" y="352"/>
                </a:ln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01" name="Freeform 102">
            <a:extLst>
              <a:ext uri="{FF2B5EF4-FFF2-40B4-BE49-F238E27FC236}">
                <a16:creationId xmlns:a16="http://schemas.microsoft.com/office/drawing/2014/main" id="{79A5033C-77BD-4870-9589-A3F32F975EBD}"/>
              </a:ext>
            </a:extLst>
          </p:cNvPr>
          <p:cNvSpPr>
            <a:spLocks/>
          </p:cNvSpPr>
          <p:nvPr/>
        </p:nvSpPr>
        <p:spPr bwMode="auto">
          <a:xfrm>
            <a:off x="7515226" y="949326"/>
            <a:ext cx="3638550" cy="381000"/>
          </a:xfrm>
          <a:custGeom>
            <a:avLst/>
            <a:gdLst>
              <a:gd name="T0" fmla="*/ 0 w 6409"/>
              <a:gd name="T1" fmla="*/ 672 h 672"/>
              <a:gd name="T2" fmla="*/ 6409 w 6409"/>
              <a:gd name="T3" fmla="*/ 672 h 672"/>
              <a:gd name="T4" fmla="*/ 6409 w 6409"/>
              <a:gd name="T5" fmla="*/ 0 h 672"/>
              <a:gd name="T6" fmla="*/ 0 w 6409"/>
              <a:gd name="T7" fmla="*/ 0 h 672"/>
              <a:gd name="T8" fmla="*/ 0 w 6409"/>
              <a:gd name="T9" fmla="*/ 672 h 672"/>
            </a:gdLst>
            <a:ahLst/>
            <a:cxnLst>
              <a:cxn ang="0">
                <a:pos x="T0" y="T1"/>
              </a:cxn>
              <a:cxn ang="0">
                <a:pos x="T2" y="T3"/>
              </a:cxn>
              <a:cxn ang="0">
                <a:pos x="T4" y="T5"/>
              </a:cxn>
              <a:cxn ang="0">
                <a:pos x="T6" y="T7"/>
              </a:cxn>
              <a:cxn ang="0">
                <a:pos x="T8" y="T9"/>
              </a:cxn>
            </a:cxnLst>
            <a:rect l="0" t="0" r="r" b="b"/>
            <a:pathLst>
              <a:path w="6409" h="672">
                <a:moveTo>
                  <a:pt x="0" y="672"/>
                </a:moveTo>
                <a:cubicBezTo>
                  <a:pt x="2129" y="416"/>
                  <a:pt x="4280" y="416"/>
                  <a:pt x="6409" y="672"/>
                </a:cubicBezTo>
                <a:lnTo>
                  <a:pt x="6409" y="0"/>
                </a:lnTo>
                <a:lnTo>
                  <a:pt x="0" y="0"/>
                </a:lnTo>
                <a:lnTo>
                  <a:pt x="0" y="672"/>
                </a:ln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03" name="Rectangle 104">
            <a:extLst>
              <a:ext uri="{FF2B5EF4-FFF2-40B4-BE49-F238E27FC236}">
                <a16:creationId xmlns:a16="http://schemas.microsoft.com/office/drawing/2014/main" id="{F90550F3-3705-4CDD-94F0-F0BC37C12092}"/>
              </a:ext>
            </a:extLst>
          </p:cNvPr>
          <p:cNvSpPr>
            <a:spLocks noChangeArrowheads="1"/>
          </p:cNvSpPr>
          <p:nvPr/>
        </p:nvSpPr>
        <p:spPr bwMode="auto">
          <a:xfrm>
            <a:off x="8007351" y="1865313"/>
            <a:ext cx="684213" cy="149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1" i="0" u="none" strike="noStrike" cap="none" normalizeH="0" baseline="0">
                <a:ln>
                  <a:noFill/>
                </a:ln>
                <a:solidFill>
                  <a:srgbClr val="FFFFFF"/>
                </a:solidFill>
                <a:effectLst/>
                <a:latin typeface="Calibri Light" panose="020F0302020204030204" pitchFamily="34" charset="0"/>
              </a:rPr>
              <a:t>Desktop Pool 1</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204" name="Rectangle 105">
            <a:extLst>
              <a:ext uri="{FF2B5EF4-FFF2-40B4-BE49-F238E27FC236}">
                <a16:creationId xmlns:a16="http://schemas.microsoft.com/office/drawing/2014/main" id="{5D1088BF-7277-4A11-85F6-0D4027EC0E2D}"/>
              </a:ext>
            </a:extLst>
          </p:cNvPr>
          <p:cNvSpPr>
            <a:spLocks noChangeArrowheads="1"/>
          </p:cNvSpPr>
          <p:nvPr/>
        </p:nvSpPr>
        <p:spPr bwMode="auto">
          <a:xfrm>
            <a:off x="8007351" y="2438401"/>
            <a:ext cx="684213" cy="149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1" i="0" u="none" strike="noStrike" cap="none" normalizeH="0" baseline="0">
                <a:ln>
                  <a:noFill/>
                </a:ln>
                <a:solidFill>
                  <a:srgbClr val="FFFFFF"/>
                </a:solidFill>
                <a:effectLst/>
                <a:latin typeface="Calibri Light" panose="020F0302020204030204" pitchFamily="34" charset="0"/>
              </a:rPr>
              <a:t>Desktop Pool 2</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205" name="Rectangle 106">
            <a:extLst>
              <a:ext uri="{FF2B5EF4-FFF2-40B4-BE49-F238E27FC236}">
                <a16:creationId xmlns:a16="http://schemas.microsoft.com/office/drawing/2014/main" id="{8F26798F-354D-41D9-BDFD-C5BBD31E1BEB}"/>
              </a:ext>
            </a:extLst>
          </p:cNvPr>
          <p:cNvSpPr>
            <a:spLocks noChangeArrowheads="1"/>
          </p:cNvSpPr>
          <p:nvPr/>
        </p:nvSpPr>
        <p:spPr bwMode="auto">
          <a:xfrm>
            <a:off x="9271001" y="2165351"/>
            <a:ext cx="569913" cy="149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1" i="0" u="none" strike="noStrike" cap="none" normalizeH="0" baseline="0">
                <a:ln>
                  <a:noFill/>
                </a:ln>
                <a:solidFill>
                  <a:srgbClr val="FFFFFF"/>
                </a:solidFill>
                <a:effectLst/>
                <a:latin typeface="Calibri Light" panose="020F0302020204030204" pitchFamily="34" charset="0"/>
              </a:rPr>
              <a:t>Application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206" name="Freeform 107">
            <a:extLst>
              <a:ext uri="{FF2B5EF4-FFF2-40B4-BE49-F238E27FC236}">
                <a16:creationId xmlns:a16="http://schemas.microsoft.com/office/drawing/2014/main" id="{51C0B1ED-03AC-412C-9046-316FD0420B68}"/>
              </a:ext>
            </a:extLst>
          </p:cNvPr>
          <p:cNvSpPr>
            <a:spLocks/>
          </p:cNvSpPr>
          <p:nvPr/>
        </p:nvSpPr>
        <p:spPr bwMode="auto">
          <a:xfrm>
            <a:off x="9556751" y="2965451"/>
            <a:ext cx="412750" cy="361950"/>
          </a:xfrm>
          <a:custGeom>
            <a:avLst/>
            <a:gdLst>
              <a:gd name="T0" fmla="*/ 103 w 1456"/>
              <a:gd name="T1" fmla="*/ 1279 h 1279"/>
              <a:gd name="T2" fmla="*/ 16 w 1456"/>
              <a:gd name="T3" fmla="*/ 1236 h 1279"/>
              <a:gd name="T4" fmla="*/ 22 w 1456"/>
              <a:gd name="T5" fmla="*/ 1139 h 1279"/>
              <a:gd name="T6" fmla="*/ 647 w 1456"/>
              <a:gd name="T7" fmla="*/ 54 h 1279"/>
              <a:gd name="T8" fmla="*/ 728 w 1456"/>
              <a:gd name="T9" fmla="*/ 0 h 1279"/>
              <a:gd name="T10" fmla="*/ 809 w 1456"/>
              <a:gd name="T11" fmla="*/ 54 h 1279"/>
              <a:gd name="T12" fmla="*/ 1435 w 1456"/>
              <a:gd name="T13" fmla="*/ 1139 h 1279"/>
              <a:gd name="T14" fmla="*/ 1440 w 1456"/>
              <a:gd name="T15" fmla="*/ 1236 h 1279"/>
              <a:gd name="T16" fmla="*/ 1354 w 1456"/>
              <a:gd name="T17" fmla="*/ 1279 h 1279"/>
              <a:gd name="T18" fmla="*/ 103 w 1456"/>
              <a:gd name="T19" fmla="*/ 1279 h 1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56" h="1279">
                <a:moveTo>
                  <a:pt x="103" y="1279"/>
                </a:moveTo>
                <a:cubicBezTo>
                  <a:pt x="64" y="1279"/>
                  <a:pt x="32" y="1264"/>
                  <a:pt x="16" y="1236"/>
                </a:cubicBezTo>
                <a:cubicBezTo>
                  <a:pt x="0" y="1208"/>
                  <a:pt x="2" y="1173"/>
                  <a:pt x="22" y="1139"/>
                </a:cubicBezTo>
                <a:lnTo>
                  <a:pt x="647" y="54"/>
                </a:lnTo>
                <a:cubicBezTo>
                  <a:pt x="667" y="20"/>
                  <a:pt x="696" y="0"/>
                  <a:pt x="728" y="0"/>
                </a:cubicBezTo>
                <a:cubicBezTo>
                  <a:pt x="760" y="0"/>
                  <a:pt x="790" y="20"/>
                  <a:pt x="809" y="54"/>
                </a:cubicBezTo>
                <a:lnTo>
                  <a:pt x="1435" y="1139"/>
                </a:lnTo>
                <a:cubicBezTo>
                  <a:pt x="1454" y="1173"/>
                  <a:pt x="1456" y="1208"/>
                  <a:pt x="1440" y="1236"/>
                </a:cubicBezTo>
                <a:cubicBezTo>
                  <a:pt x="1425" y="1264"/>
                  <a:pt x="1393" y="1279"/>
                  <a:pt x="1354" y="1279"/>
                </a:cubicBezTo>
                <a:lnTo>
                  <a:pt x="103" y="1279"/>
                </a:ln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07" name="Freeform 108">
            <a:extLst>
              <a:ext uri="{FF2B5EF4-FFF2-40B4-BE49-F238E27FC236}">
                <a16:creationId xmlns:a16="http://schemas.microsoft.com/office/drawing/2014/main" id="{66207F12-9707-4EA4-AFA6-96E2DE39E84F}"/>
              </a:ext>
            </a:extLst>
          </p:cNvPr>
          <p:cNvSpPr>
            <a:spLocks/>
          </p:cNvSpPr>
          <p:nvPr/>
        </p:nvSpPr>
        <p:spPr bwMode="auto">
          <a:xfrm>
            <a:off x="9563101" y="2971801"/>
            <a:ext cx="398463" cy="346075"/>
          </a:xfrm>
          <a:custGeom>
            <a:avLst/>
            <a:gdLst>
              <a:gd name="T0" fmla="*/ 76 w 1402"/>
              <a:gd name="T1" fmla="*/ 1216 h 1216"/>
              <a:gd name="T2" fmla="*/ 27 w 1402"/>
              <a:gd name="T3" fmla="*/ 1131 h 1216"/>
              <a:gd name="T4" fmla="*/ 652 w 1402"/>
              <a:gd name="T5" fmla="*/ 46 h 1216"/>
              <a:gd name="T6" fmla="*/ 750 w 1402"/>
              <a:gd name="T7" fmla="*/ 46 h 1216"/>
              <a:gd name="T8" fmla="*/ 1376 w 1402"/>
              <a:gd name="T9" fmla="*/ 1131 h 1216"/>
              <a:gd name="T10" fmla="*/ 1327 w 1402"/>
              <a:gd name="T11" fmla="*/ 1216 h 1216"/>
              <a:gd name="T12" fmla="*/ 76 w 1402"/>
              <a:gd name="T13" fmla="*/ 1216 h 1216"/>
            </a:gdLst>
            <a:ahLst/>
            <a:cxnLst>
              <a:cxn ang="0">
                <a:pos x="T0" y="T1"/>
              </a:cxn>
              <a:cxn ang="0">
                <a:pos x="T2" y="T3"/>
              </a:cxn>
              <a:cxn ang="0">
                <a:pos x="T4" y="T5"/>
              </a:cxn>
              <a:cxn ang="0">
                <a:pos x="T6" y="T7"/>
              </a:cxn>
              <a:cxn ang="0">
                <a:pos x="T8" y="T9"/>
              </a:cxn>
              <a:cxn ang="0">
                <a:pos x="T10" y="T11"/>
              </a:cxn>
              <a:cxn ang="0">
                <a:pos x="T12" y="T13"/>
              </a:cxn>
            </a:cxnLst>
            <a:rect l="0" t="0" r="r" b="b"/>
            <a:pathLst>
              <a:path w="1402" h="1216">
                <a:moveTo>
                  <a:pt x="76" y="1216"/>
                </a:moveTo>
                <a:cubicBezTo>
                  <a:pt x="22" y="1216"/>
                  <a:pt x="0" y="1178"/>
                  <a:pt x="27" y="1131"/>
                </a:cubicBezTo>
                <a:lnTo>
                  <a:pt x="652" y="46"/>
                </a:lnTo>
                <a:cubicBezTo>
                  <a:pt x="679" y="0"/>
                  <a:pt x="723" y="0"/>
                  <a:pt x="750" y="46"/>
                </a:cubicBezTo>
                <a:lnTo>
                  <a:pt x="1376" y="1131"/>
                </a:lnTo>
                <a:cubicBezTo>
                  <a:pt x="1402" y="1178"/>
                  <a:pt x="1380" y="1216"/>
                  <a:pt x="1327" y="1216"/>
                </a:cubicBezTo>
                <a:lnTo>
                  <a:pt x="76" y="1216"/>
                </a:lnTo>
                <a:close/>
              </a:path>
            </a:pathLst>
          </a:custGeom>
          <a:solidFill>
            <a:srgbClr val="E78E46"/>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08" name="Freeform 109">
            <a:extLst>
              <a:ext uri="{FF2B5EF4-FFF2-40B4-BE49-F238E27FC236}">
                <a16:creationId xmlns:a16="http://schemas.microsoft.com/office/drawing/2014/main" id="{A918367D-E71E-40AC-ADCA-949B4523DC57}"/>
              </a:ext>
            </a:extLst>
          </p:cNvPr>
          <p:cNvSpPr>
            <a:spLocks/>
          </p:cNvSpPr>
          <p:nvPr/>
        </p:nvSpPr>
        <p:spPr bwMode="auto">
          <a:xfrm>
            <a:off x="9647238" y="3070226"/>
            <a:ext cx="231775" cy="215900"/>
          </a:xfrm>
          <a:custGeom>
            <a:avLst/>
            <a:gdLst>
              <a:gd name="T0" fmla="*/ 123 w 146"/>
              <a:gd name="T1" fmla="*/ 99 h 136"/>
              <a:gd name="T2" fmla="*/ 123 w 146"/>
              <a:gd name="T3" fmla="*/ 73 h 136"/>
              <a:gd name="T4" fmla="*/ 76 w 146"/>
              <a:gd name="T5" fmla="*/ 73 h 136"/>
              <a:gd name="T6" fmla="*/ 76 w 146"/>
              <a:gd name="T7" fmla="*/ 36 h 136"/>
              <a:gd name="T8" fmla="*/ 99 w 146"/>
              <a:gd name="T9" fmla="*/ 36 h 136"/>
              <a:gd name="T10" fmla="*/ 99 w 146"/>
              <a:gd name="T11" fmla="*/ 0 h 136"/>
              <a:gd name="T12" fmla="*/ 46 w 146"/>
              <a:gd name="T13" fmla="*/ 0 h 136"/>
              <a:gd name="T14" fmla="*/ 46 w 146"/>
              <a:gd name="T15" fmla="*/ 36 h 136"/>
              <a:gd name="T16" fmla="*/ 70 w 146"/>
              <a:gd name="T17" fmla="*/ 36 h 136"/>
              <a:gd name="T18" fmla="*/ 70 w 146"/>
              <a:gd name="T19" fmla="*/ 73 h 136"/>
              <a:gd name="T20" fmla="*/ 23 w 146"/>
              <a:gd name="T21" fmla="*/ 73 h 136"/>
              <a:gd name="T22" fmla="*/ 23 w 146"/>
              <a:gd name="T23" fmla="*/ 99 h 136"/>
              <a:gd name="T24" fmla="*/ 0 w 146"/>
              <a:gd name="T25" fmla="*/ 99 h 136"/>
              <a:gd name="T26" fmla="*/ 0 w 146"/>
              <a:gd name="T27" fmla="*/ 136 h 136"/>
              <a:gd name="T28" fmla="*/ 53 w 146"/>
              <a:gd name="T29" fmla="*/ 136 h 136"/>
              <a:gd name="T30" fmla="*/ 53 w 146"/>
              <a:gd name="T31" fmla="*/ 99 h 136"/>
              <a:gd name="T32" fmla="*/ 30 w 146"/>
              <a:gd name="T33" fmla="*/ 99 h 136"/>
              <a:gd name="T34" fmla="*/ 30 w 146"/>
              <a:gd name="T35" fmla="*/ 80 h 136"/>
              <a:gd name="T36" fmla="*/ 116 w 146"/>
              <a:gd name="T37" fmla="*/ 80 h 136"/>
              <a:gd name="T38" fmla="*/ 116 w 146"/>
              <a:gd name="T39" fmla="*/ 99 h 136"/>
              <a:gd name="T40" fmla="*/ 93 w 146"/>
              <a:gd name="T41" fmla="*/ 99 h 136"/>
              <a:gd name="T42" fmla="*/ 93 w 146"/>
              <a:gd name="T43" fmla="*/ 136 h 136"/>
              <a:gd name="T44" fmla="*/ 146 w 146"/>
              <a:gd name="T45" fmla="*/ 136 h 136"/>
              <a:gd name="T46" fmla="*/ 146 w 146"/>
              <a:gd name="T47" fmla="*/ 99 h 136"/>
              <a:gd name="T48" fmla="*/ 123 w 146"/>
              <a:gd name="T49" fmla="*/ 99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6" h="136">
                <a:moveTo>
                  <a:pt x="123" y="99"/>
                </a:moveTo>
                <a:lnTo>
                  <a:pt x="123" y="73"/>
                </a:lnTo>
                <a:lnTo>
                  <a:pt x="76" y="73"/>
                </a:lnTo>
                <a:lnTo>
                  <a:pt x="76" y="36"/>
                </a:lnTo>
                <a:lnTo>
                  <a:pt x="99" y="36"/>
                </a:lnTo>
                <a:lnTo>
                  <a:pt x="99" y="0"/>
                </a:lnTo>
                <a:lnTo>
                  <a:pt x="46" y="0"/>
                </a:lnTo>
                <a:lnTo>
                  <a:pt x="46" y="36"/>
                </a:lnTo>
                <a:lnTo>
                  <a:pt x="70" y="36"/>
                </a:lnTo>
                <a:lnTo>
                  <a:pt x="70" y="73"/>
                </a:lnTo>
                <a:lnTo>
                  <a:pt x="23" y="73"/>
                </a:lnTo>
                <a:lnTo>
                  <a:pt x="23" y="99"/>
                </a:lnTo>
                <a:lnTo>
                  <a:pt x="0" y="99"/>
                </a:lnTo>
                <a:lnTo>
                  <a:pt x="0" y="136"/>
                </a:lnTo>
                <a:lnTo>
                  <a:pt x="53" y="136"/>
                </a:lnTo>
                <a:lnTo>
                  <a:pt x="53" y="99"/>
                </a:lnTo>
                <a:lnTo>
                  <a:pt x="30" y="99"/>
                </a:lnTo>
                <a:lnTo>
                  <a:pt x="30" y="80"/>
                </a:lnTo>
                <a:lnTo>
                  <a:pt x="116" y="80"/>
                </a:lnTo>
                <a:lnTo>
                  <a:pt x="116" y="99"/>
                </a:lnTo>
                <a:lnTo>
                  <a:pt x="93" y="99"/>
                </a:lnTo>
                <a:lnTo>
                  <a:pt x="93" y="136"/>
                </a:lnTo>
                <a:lnTo>
                  <a:pt x="146" y="136"/>
                </a:lnTo>
                <a:lnTo>
                  <a:pt x="146" y="99"/>
                </a:lnTo>
                <a:lnTo>
                  <a:pt x="123" y="9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09" name="Rectangle 110">
            <a:extLst>
              <a:ext uri="{FF2B5EF4-FFF2-40B4-BE49-F238E27FC236}">
                <a16:creationId xmlns:a16="http://schemas.microsoft.com/office/drawing/2014/main" id="{680CA89C-B0EB-46B8-B21E-6BC0D898BA71}"/>
              </a:ext>
            </a:extLst>
          </p:cNvPr>
          <p:cNvSpPr>
            <a:spLocks noChangeArrowheads="1"/>
          </p:cNvSpPr>
          <p:nvPr/>
        </p:nvSpPr>
        <p:spPr bwMode="auto">
          <a:xfrm>
            <a:off x="9183688" y="2597151"/>
            <a:ext cx="1290638" cy="236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rgbClr val="000000"/>
                </a:solidFill>
                <a:effectLst/>
                <a:latin typeface="Calibri" panose="020F0502020204030204" pitchFamily="34" charset="0"/>
              </a:rPr>
              <a:t>Active Directory  or</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210" name="Rectangle 111">
            <a:extLst>
              <a:ext uri="{FF2B5EF4-FFF2-40B4-BE49-F238E27FC236}">
                <a16:creationId xmlns:a16="http://schemas.microsoft.com/office/drawing/2014/main" id="{DCB8B6B7-8DB4-4D5F-BAFE-4CB1E9373276}"/>
              </a:ext>
            </a:extLst>
          </p:cNvPr>
          <p:cNvSpPr>
            <a:spLocks noChangeArrowheads="1"/>
          </p:cNvSpPr>
          <p:nvPr/>
        </p:nvSpPr>
        <p:spPr bwMode="auto">
          <a:xfrm>
            <a:off x="9266238" y="2771776"/>
            <a:ext cx="1117600" cy="236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rgbClr val="000000"/>
                </a:solidFill>
                <a:effectLst/>
                <a:latin typeface="Calibri" panose="020F0502020204030204" pitchFamily="34" charset="0"/>
              </a:rPr>
              <a:t>Domain Service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211" name="Freeform 112">
            <a:extLst>
              <a:ext uri="{FF2B5EF4-FFF2-40B4-BE49-F238E27FC236}">
                <a16:creationId xmlns:a16="http://schemas.microsoft.com/office/drawing/2014/main" id="{E23F5CAC-BF62-47A3-83DC-503F28626FBE}"/>
              </a:ext>
            </a:extLst>
          </p:cNvPr>
          <p:cNvSpPr>
            <a:spLocks/>
          </p:cNvSpPr>
          <p:nvPr/>
        </p:nvSpPr>
        <p:spPr bwMode="auto">
          <a:xfrm>
            <a:off x="10531476" y="2965451"/>
            <a:ext cx="92075" cy="165100"/>
          </a:xfrm>
          <a:custGeom>
            <a:avLst/>
            <a:gdLst>
              <a:gd name="T0" fmla="*/ 58 w 58"/>
              <a:gd name="T1" fmla="*/ 52 h 104"/>
              <a:gd name="T2" fmla="*/ 6 w 58"/>
              <a:gd name="T3" fmla="*/ 0 h 104"/>
              <a:gd name="T4" fmla="*/ 0 w 58"/>
              <a:gd name="T5" fmla="*/ 6 h 104"/>
              <a:gd name="T6" fmla="*/ 45 w 58"/>
              <a:gd name="T7" fmla="*/ 52 h 104"/>
              <a:gd name="T8" fmla="*/ 0 w 58"/>
              <a:gd name="T9" fmla="*/ 97 h 104"/>
              <a:gd name="T10" fmla="*/ 6 w 58"/>
              <a:gd name="T11" fmla="*/ 104 h 104"/>
              <a:gd name="T12" fmla="*/ 58 w 58"/>
              <a:gd name="T13" fmla="*/ 52 h 104"/>
            </a:gdLst>
            <a:ahLst/>
            <a:cxnLst>
              <a:cxn ang="0">
                <a:pos x="T0" y="T1"/>
              </a:cxn>
              <a:cxn ang="0">
                <a:pos x="T2" y="T3"/>
              </a:cxn>
              <a:cxn ang="0">
                <a:pos x="T4" y="T5"/>
              </a:cxn>
              <a:cxn ang="0">
                <a:pos x="T6" y="T7"/>
              </a:cxn>
              <a:cxn ang="0">
                <a:pos x="T8" y="T9"/>
              </a:cxn>
              <a:cxn ang="0">
                <a:pos x="T10" y="T11"/>
              </a:cxn>
              <a:cxn ang="0">
                <a:pos x="T12" y="T13"/>
              </a:cxn>
            </a:cxnLst>
            <a:rect l="0" t="0" r="r" b="b"/>
            <a:pathLst>
              <a:path w="58" h="104">
                <a:moveTo>
                  <a:pt x="58" y="52"/>
                </a:moveTo>
                <a:lnTo>
                  <a:pt x="6" y="0"/>
                </a:lnTo>
                <a:lnTo>
                  <a:pt x="0" y="6"/>
                </a:lnTo>
                <a:lnTo>
                  <a:pt x="45" y="52"/>
                </a:lnTo>
                <a:lnTo>
                  <a:pt x="0" y="97"/>
                </a:lnTo>
                <a:lnTo>
                  <a:pt x="6" y="104"/>
                </a:lnTo>
                <a:lnTo>
                  <a:pt x="58" y="5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12" name="Freeform 113">
            <a:extLst>
              <a:ext uri="{FF2B5EF4-FFF2-40B4-BE49-F238E27FC236}">
                <a16:creationId xmlns:a16="http://schemas.microsoft.com/office/drawing/2014/main" id="{30CB5536-02C7-4D4C-8BCD-683810B541D9}"/>
              </a:ext>
            </a:extLst>
          </p:cNvPr>
          <p:cNvSpPr>
            <a:spLocks/>
          </p:cNvSpPr>
          <p:nvPr/>
        </p:nvSpPr>
        <p:spPr bwMode="auto">
          <a:xfrm>
            <a:off x="10318751" y="2965451"/>
            <a:ext cx="92075" cy="165100"/>
          </a:xfrm>
          <a:custGeom>
            <a:avLst/>
            <a:gdLst>
              <a:gd name="T0" fmla="*/ 0 w 58"/>
              <a:gd name="T1" fmla="*/ 52 h 104"/>
              <a:gd name="T2" fmla="*/ 52 w 58"/>
              <a:gd name="T3" fmla="*/ 0 h 104"/>
              <a:gd name="T4" fmla="*/ 58 w 58"/>
              <a:gd name="T5" fmla="*/ 6 h 104"/>
              <a:gd name="T6" fmla="*/ 13 w 58"/>
              <a:gd name="T7" fmla="*/ 52 h 104"/>
              <a:gd name="T8" fmla="*/ 58 w 58"/>
              <a:gd name="T9" fmla="*/ 97 h 104"/>
              <a:gd name="T10" fmla="*/ 52 w 58"/>
              <a:gd name="T11" fmla="*/ 104 h 104"/>
              <a:gd name="T12" fmla="*/ 0 w 58"/>
              <a:gd name="T13" fmla="*/ 52 h 104"/>
            </a:gdLst>
            <a:ahLst/>
            <a:cxnLst>
              <a:cxn ang="0">
                <a:pos x="T0" y="T1"/>
              </a:cxn>
              <a:cxn ang="0">
                <a:pos x="T2" y="T3"/>
              </a:cxn>
              <a:cxn ang="0">
                <a:pos x="T4" y="T5"/>
              </a:cxn>
              <a:cxn ang="0">
                <a:pos x="T6" y="T7"/>
              </a:cxn>
              <a:cxn ang="0">
                <a:pos x="T8" y="T9"/>
              </a:cxn>
              <a:cxn ang="0">
                <a:pos x="T10" y="T11"/>
              </a:cxn>
              <a:cxn ang="0">
                <a:pos x="T12" y="T13"/>
              </a:cxn>
            </a:cxnLst>
            <a:rect l="0" t="0" r="r" b="b"/>
            <a:pathLst>
              <a:path w="58" h="104">
                <a:moveTo>
                  <a:pt x="0" y="52"/>
                </a:moveTo>
                <a:lnTo>
                  <a:pt x="52" y="0"/>
                </a:lnTo>
                <a:lnTo>
                  <a:pt x="58" y="6"/>
                </a:lnTo>
                <a:lnTo>
                  <a:pt x="13" y="52"/>
                </a:lnTo>
                <a:lnTo>
                  <a:pt x="58" y="97"/>
                </a:lnTo>
                <a:lnTo>
                  <a:pt x="52" y="104"/>
                </a:lnTo>
                <a:lnTo>
                  <a:pt x="0" y="5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13" name="Freeform 114">
            <a:extLst>
              <a:ext uri="{FF2B5EF4-FFF2-40B4-BE49-F238E27FC236}">
                <a16:creationId xmlns:a16="http://schemas.microsoft.com/office/drawing/2014/main" id="{5699E6C6-9E55-49A5-81B8-4B76469A9943}"/>
              </a:ext>
            </a:extLst>
          </p:cNvPr>
          <p:cNvSpPr>
            <a:spLocks/>
          </p:cNvSpPr>
          <p:nvPr/>
        </p:nvSpPr>
        <p:spPr bwMode="auto">
          <a:xfrm>
            <a:off x="10398126" y="3028951"/>
            <a:ext cx="36513" cy="38100"/>
          </a:xfrm>
          <a:custGeom>
            <a:avLst/>
            <a:gdLst>
              <a:gd name="T0" fmla="*/ 66 w 66"/>
              <a:gd name="T1" fmla="*/ 33 h 66"/>
              <a:gd name="T2" fmla="*/ 33 w 66"/>
              <a:gd name="T3" fmla="*/ 66 h 66"/>
              <a:gd name="T4" fmla="*/ 0 w 66"/>
              <a:gd name="T5" fmla="*/ 33 h 66"/>
              <a:gd name="T6" fmla="*/ 33 w 66"/>
              <a:gd name="T7" fmla="*/ 0 h 66"/>
              <a:gd name="T8" fmla="*/ 66 w 66"/>
              <a:gd name="T9" fmla="*/ 33 h 66"/>
            </a:gdLst>
            <a:ahLst/>
            <a:cxnLst>
              <a:cxn ang="0">
                <a:pos x="T0" y="T1"/>
              </a:cxn>
              <a:cxn ang="0">
                <a:pos x="T2" y="T3"/>
              </a:cxn>
              <a:cxn ang="0">
                <a:pos x="T4" y="T5"/>
              </a:cxn>
              <a:cxn ang="0">
                <a:pos x="T6" y="T7"/>
              </a:cxn>
              <a:cxn ang="0">
                <a:pos x="T8" y="T9"/>
              </a:cxn>
            </a:cxnLst>
            <a:rect l="0" t="0" r="r" b="b"/>
            <a:pathLst>
              <a:path w="66" h="66">
                <a:moveTo>
                  <a:pt x="66" y="33"/>
                </a:moveTo>
                <a:cubicBezTo>
                  <a:pt x="66" y="51"/>
                  <a:pt x="51" y="66"/>
                  <a:pt x="33" y="66"/>
                </a:cubicBezTo>
                <a:cubicBezTo>
                  <a:pt x="14" y="66"/>
                  <a:pt x="0" y="51"/>
                  <a:pt x="0" y="33"/>
                </a:cubicBezTo>
                <a:cubicBezTo>
                  <a:pt x="0" y="15"/>
                  <a:pt x="15" y="0"/>
                  <a:pt x="33" y="0"/>
                </a:cubicBezTo>
                <a:cubicBezTo>
                  <a:pt x="51" y="0"/>
                  <a:pt x="66" y="14"/>
                  <a:pt x="66" y="33"/>
                </a:cubicBezTo>
              </a:path>
            </a:pathLst>
          </a:custGeom>
          <a:solidFill>
            <a:srgbClr val="0078D7"/>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14" name="Oval 115">
            <a:extLst>
              <a:ext uri="{FF2B5EF4-FFF2-40B4-BE49-F238E27FC236}">
                <a16:creationId xmlns:a16="http://schemas.microsoft.com/office/drawing/2014/main" id="{B5455EC1-9A5E-49B2-886B-D58B8587EE21}"/>
              </a:ext>
            </a:extLst>
          </p:cNvPr>
          <p:cNvSpPr>
            <a:spLocks noChangeArrowheads="1"/>
          </p:cNvSpPr>
          <p:nvPr/>
        </p:nvSpPr>
        <p:spPr bwMode="auto">
          <a:xfrm>
            <a:off x="10453688" y="3028951"/>
            <a:ext cx="36513" cy="38100"/>
          </a:xfrm>
          <a:prstGeom prst="ellipse">
            <a:avLst/>
          </a:prstGeom>
          <a:solidFill>
            <a:srgbClr val="0078D7"/>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15" name="Oval 116">
            <a:extLst>
              <a:ext uri="{FF2B5EF4-FFF2-40B4-BE49-F238E27FC236}">
                <a16:creationId xmlns:a16="http://schemas.microsoft.com/office/drawing/2014/main" id="{0CD9EF99-0CF9-4B37-B8B4-C88D1E1C608D}"/>
              </a:ext>
            </a:extLst>
          </p:cNvPr>
          <p:cNvSpPr>
            <a:spLocks noChangeArrowheads="1"/>
          </p:cNvSpPr>
          <p:nvPr/>
        </p:nvSpPr>
        <p:spPr bwMode="auto">
          <a:xfrm>
            <a:off x="10509251" y="3028951"/>
            <a:ext cx="36513" cy="38100"/>
          </a:xfrm>
          <a:prstGeom prst="ellipse">
            <a:avLst/>
          </a:prstGeom>
          <a:solidFill>
            <a:srgbClr val="0078D7"/>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16" name="Rectangle 117">
            <a:extLst>
              <a:ext uri="{FF2B5EF4-FFF2-40B4-BE49-F238E27FC236}">
                <a16:creationId xmlns:a16="http://schemas.microsoft.com/office/drawing/2014/main" id="{BC378D52-DFC1-4CFD-9433-971E24484FA9}"/>
              </a:ext>
            </a:extLst>
          </p:cNvPr>
          <p:cNvSpPr>
            <a:spLocks noChangeArrowheads="1"/>
          </p:cNvSpPr>
          <p:nvPr/>
        </p:nvSpPr>
        <p:spPr bwMode="auto">
          <a:xfrm>
            <a:off x="10096501" y="3146426"/>
            <a:ext cx="854075"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78D7"/>
                </a:solidFill>
                <a:effectLst/>
                <a:latin typeface="Segoe UI" panose="020B0502040204020203" pitchFamily="34" charset="0"/>
              </a:rPr>
              <a:t>Virtual Network</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217" name="Freeform 118">
            <a:extLst>
              <a:ext uri="{FF2B5EF4-FFF2-40B4-BE49-F238E27FC236}">
                <a16:creationId xmlns:a16="http://schemas.microsoft.com/office/drawing/2014/main" id="{A700984C-DA29-4226-BB22-56B3C5E5F6F9}"/>
              </a:ext>
            </a:extLst>
          </p:cNvPr>
          <p:cNvSpPr>
            <a:spLocks noEditPoints="1"/>
          </p:cNvSpPr>
          <p:nvPr/>
        </p:nvSpPr>
        <p:spPr bwMode="auto">
          <a:xfrm>
            <a:off x="7618413" y="1543051"/>
            <a:ext cx="3338513" cy="1833563"/>
          </a:xfrm>
          <a:custGeom>
            <a:avLst/>
            <a:gdLst>
              <a:gd name="T0" fmla="*/ 11 w 5881"/>
              <a:gd name="T1" fmla="*/ 299 h 3228"/>
              <a:gd name="T2" fmla="*/ 11 w 5881"/>
              <a:gd name="T3" fmla="*/ 534 h 3228"/>
              <a:gd name="T4" fmla="*/ 21 w 5881"/>
              <a:gd name="T5" fmla="*/ 865 h 3228"/>
              <a:gd name="T6" fmla="*/ 0 w 5881"/>
              <a:gd name="T7" fmla="*/ 1121 h 3228"/>
              <a:gd name="T8" fmla="*/ 21 w 5881"/>
              <a:gd name="T9" fmla="*/ 1441 h 3228"/>
              <a:gd name="T10" fmla="*/ 0 w 5881"/>
              <a:gd name="T11" fmla="*/ 1697 h 3228"/>
              <a:gd name="T12" fmla="*/ 21 w 5881"/>
              <a:gd name="T13" fmla="*/ 1953 h 3228"/>
              <a:gd name="T14" fmla="*/ 11 w 5881"/>
              <a:gd name="T15" fmla="*/ 2284 h 3228"/>
              <a:gd name="T16" fmla="*/ 11 w 5881"/>
              <a:gd name="T17" fmla="*/ 2518 h 3228"/>
              <a:gd name="T18" fmla="*/ 21 w 5881"/>
              <a:gd name="T19" fmla="*/ 2849 h 3228"/>
              <a:gd name="T20" fmla="*/ 0 w 5881"/>
              <a:gd name="T21" fmla="*/ 3105 h 3228"/>
              <a:gd name="T22" fmla="*/ 219 w 5881"/>
              <a:gd name="T23" fmla="*/ 3207 h 3228"/>
              <a:gd name="T24" fmla="*/ 475 w 5881"/>
              <a:gd name="T25" fmla="*/ 3228 h 3228"/>
              <a:gd name="T26" fmla="*/ 731 w 5881"/>
              <a:gd name="T27" fmla="*/ 3207 h 3228"/>
              <a:gd name="T28" fmla="*/ 1062 w 5881"/>
              <a:gd name="T29" fmla="*/ 3217 h 3228"/>
              <a:gd name="T30" fmla="*/ 1297 w 5881"/>
              <a:gd name="T31" fmla="*/ 3217 h 3228"/>
              <a:gd name="T32" fmla="*/ 1627 w 5881"/>
              <a:gd name="T33" fmla="*/ 3207 h 3228"/>
              <a:gd name="T34" fmla="*/ 1883 w 5881"/>
              <a:gd name="T35" fmla="*/ 3228 h 3228"/>
              <a:gd name="T36" fmla="*/ 2204 w 5881"/>
              <a:gd name="T37" fmla="*/ 3207 h 3228"/>
              <a:gd name="T38" fmla="*/ 2460 w 5881"/>
              <a:gd name="T39" fmla="*/ 3228 h 3228"/>
              <a:gd name="T40" fmla="*/ 2716 w 5881"/>
              <a:gd name="T41" fmla="*/ 3207 h 3228"/>
              <a:gd name="T42" fmla="*/ 3047 w 5881"/>
              <a:gd name="T43" fmla="*/ 3217 h 3228"/>
              <a:gd name="T44" fmla="*/ 3281 w 5881"/>
              <a:gd name="T45" fmla="*/ 3217 h 3228"/>
              <a:gd name="T46" fmla="*/ 3612 w 5881"/>
              <a:gd name="T47" fmla="*/ 3207 h 3228"/>
              <a:gd name="T48" fmla="*/ 3868 w 5881"/>
              <a:gd name="T49" fmla="*/ 3228 h 3228"/>
              <a:gd name="T50" fmla="*/ 4188 w 5881"/>
              <a:gd name="T51" fmla="*/ 3207 h 3228"/>
              <a:gd name="T52" fmla="*/ 4444 w 5881"/>
              <a:gd name="T53" fmla="*/ 3228 h 3228"/>
              <a:gd name="T54" fmla="*/ 4700 w 5881"/>
              <a:gd name="T55" fmla="*/ 3207 h 3228"/>
              <a:gd name="T56" fmla="*/ 5031 w 5881"/>
              <a:gd name="T57" fmla="*/ 3217 h 3228"/>
              <a:gd name="T58" fmla="*/ 5266 w 5881"/>
              <a:gd name="T59" fmla="*/ 3217 h 3228"/>
              <a:gd name="T60" fmla="*/ 5597 w 5881"/>
              <a:gd name="T61" fmla="*/ 3207 h 3228"/>
              <a:gd name="T62" fmla="*/ 5853 w 5881"/>
              <a:gd name="T63" fmla="*/ 3228 h 3228"/>
              <a:gd name="T64" fmla="*/ 5859 w 5881"/>
              <a:gd name="T65" fmla="*/ 2914 h 3228"/>
              <a:gd name="T66" fmla="*/ 5881 w 5881"/>
              <a:gd name="T67" fmla="*/ 2658 h 3228"/>
              <a:gd name="T68" fmla="*/ 5859 w 5881"/>
              <a:gd name="T69" fmla="*/ 2402 h 3228"/>
              <a:gd name="T70" fmla="*/ 5870 w 5881"/>
              <a:gd name="T71" fmla="*/ 2071 h 3228"/>
              <a:gd name="T72" fmla="*/ 5870 w 5881"/>
              <a:gd name="T73" fmla="*/ 1837 h 3228"/>
              <a:gd name="T74" fmla="*/ 5859 w 5881"/>
              <a:gd name="T75" fmla="*/ 1506 h 3228"/>
              <a:gd name="T76" fmla="*/ 5881 w 5881"/>
              <a:gd name="T77" fmla="*/ 1250 h 3228"/>
              <a:gd name="T78" fmla="*/ 5859 w 5881"/>
              <a:gd name="T79" fmla="*/ 930 h 3228"/>
              <a:gd name="T80" fmla="*/ 5881 w 5881"/>
              <a:gd name="T81" fmla="*/ 674 h 3228"/>
              <a:gd name="T82" fmla="*/ 5859 w 5881"/>
              <a:gd name="T83" fmla="*/ 417 h 3228"/>
              <a:gd name="T84" fmla="*/ 5870 w 5881"/>
              <a:gd name="T85" fmla="*/ 87 h 3228"/>
              <a:gd name="T86" fmla="*/ 5711 w 5881"/>
              <a:gd name="T87" fmla="*/ 11 h 3228"/>
              <a:gd name="T88" fmla="*/ 5380 w 5881"/>
              <a:gd name="T89" fmla="*/ 22 h 3228"/>
              <a:gd name="T90" fmla="*/ 5124 w 5881"/>
              <a:gd name="T91" fmla="*/ 0 h 3228"/>
              <a:gd name="T92" fmla="*/ 4804 w 5881"/>
              <a:gd name="T93" fmla="*/ 22 h 3228"/>
              <a:gd name="T94" fmla="*/ 4548 w 5881"/>
              <a:gd name="T95" fmla="*/ 0 h 3228"/>
              <a:gd name="T96" fmla="*/ 4292 w 5881"/>
              <a:gd name="T97" fmla="*/ 22 h 3228"/>
              <a:gd name="T98" fmla="*/ 3961 w 5881"/>
              <a:gd name="T99" fmla="*/ 11 h 3228"/>
              <a:gd name="T100" fmla="*/ 3726 w 5881"/>
              <a:gd name="T101" fmla="*/ 11 h 3228"/>
              <a:gd name="T102" fmla="*/ 3396 w 5881"/>
              <a:gd name="T103" fmla="*/ 22 h 3228"/>
              <a:gd name="T104" fmla="*/ 3139 w 5881"/>
              <a:gd name="T105" fmla="*/ 0 h 3228"/>
              <a:gd name="T106" fmla="*/ 2819 w 5881"/>
              <a:gd name="T107" fmla="*/ 22 h 3228"/>
              <a:gd name="T108" fmla="*/ 2563 w 5881"/>
              <a:gd name="T109" fmla="*/ 0 h 3228"/>
              <a:gd name="T110" fmla="*/ 2307 w 5881"/>
              <a:gd name="T111" fmla="*/ 22 h 3228"/>
              <a:gd name="T112" fmla="*/ 1976 w 5881"/>
              <a:gd name="T113" fmla="*/ 11 h 3228"/>
              <a:gd name="T114" fmla="*/ 1742 w 5881"/>
              <a:gd name="T115" fmla="*/ 11 h 3228"/>
              <a:gd name="T116" fmla="*/ 1411 w 5881"/>
              <a:gd name="T117" fmla="*/ 22 h 3228"/>
              <a:gd name="T118" fmla="*/ 1155 w 5881"/>
              <a:gd name="T119" fmla="*/ 0 h 3228"/>
              <a:gd name="T120" fmla="*/ 835 w 5881"/>
              <a:gd name="T121" fmla="*/ 22 h 3228"/>
              <a:gd name="T122" fmla="*/ 579 w 5881"/>
              <a:gd name="T123" fmla="*/ 0 h 3228"/>
              <a:gd name="T124" fmla="*/ 322 w 5881"/>
              <a:gd name="T125" fmla="*/ 22 h 3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881" h="3228">
                <a:moveTo>
                  <a:pt x="21" y="32"/>
                </a:moveTo>
                <a:lnTo>
                  <a:pt x="21" y="32"/>
                </a:lnTo>
                <a:cubicBezTo>
                  <a:pt x="21" y="38"/>
                  <a:pt x="17" y="43"/>
                  <a:pt x="11" y="43"/>
                </a:cubicBezTo>
                <a:cubicBezTo>
                  <a:pt x="5" y="43"/>
                  <a:pt x="0" y="38"/>
                  <a:pt x="0" y="32"/>
                </a:cubicBezTo>
                <a:lnTo>
                  <a:pt x="0" y="32"/>
                </a:lnTo>
                <a:cubicBezTo>
                  <a:pt x="0" y="26"/>
                  <a:pt x="5" y="22"/>
                  <a:pt x="11" y="22"/>
                </a:cubicBezTo>
                <a:cubicBezTo>
                  <a:pt x="17" y="22"/>
                  <a:pt x="21" y="26"/>
                  <a:pt x="21" y="32"/>
                </a:cubicBezTo>
                <a:close/>
                <a:moveTo>
                  <a:pt x="21" y="96"/>
                </a:moveTo>
                <a:lnTo>
                  <a:pt x="21" y="96"/>
                </a:lnTo>
                <a:cubicBezTo>
                  <a:pt x="21" y="102"/>
                  <a:pt x="17" y="107"/>
                  <a:pt x="11" y="107"/>
                </a:cubicBezTo>
                <a:cubicBezTo>
                  <a:pt x="5" y="107"/>
                  <a:pt x="0" y="102"/>
                  <a:pt x="0" y="96"/>
                </a:cubicBezTo>
                <a:lnTo>
                  <a:pt x="0" y="96"/>
                </a:lnTo>
                <a:cubicBezTo>
                  <a:pt x="0" y="90"/>
                  <a:pt x="5" y="86"/>
                  <a:pt x="11" y="86"/>
                </a:cubicBezTo>
                <a:cubicBezTo>
                  <a:pt x="17" y="86"/>
                  <a:pt x="21" y="90"/>
                  <a:pt x="21" y="96"/>
                </a:cubicBezTo>
                <a:close/>
                <a:moveTo>
                  <a:pt x="21" y="160"/>
                </a:moveTo>
                <a:lnTo>
                  <a:pt x="21" y="160"/>
                </a:lnTo>
                <a:cubicBezTo>
                  <a:pt x="21" y="166"/>
                  <a:pt x="17" y="171"/>
                  <a:pt x="11" y="171"/>
                </a:cubicBezTo>
                <a:cubicBezTo>
                  <a:pt x="5" y="171"/>
                  <a:pt x="0" y="166"/>
                  <a:pt x="0" y="160"/>
                </a:cubicBezTo>
                <a:lnTo>
                  <a:pt x="0" y="160"/>
                </a:lnTo>
                <a:cubicBezTo>
                  <a:pt x="0" y="154"/>
                  <a:pt x="5" y="150"/>
                  <a:pt x="11" y="150"/>
                </a:cubicBezTo>
                <a:cubicBezTo>
                  <a:pt x="17" y="150"/>
                  <a:pt x="21" y="154"/>
                  <a:pt x="21" y="160"/>
                </a:cubicBezTo>
                <a:close/>
                <a:moveTo>
                  <a:pt x="21" y="224"/>
                </a:moveTo>
                <a:lnTo>
                  <a:pt x="21" y="224"/>
                </a:lnTo>
                <a:cubicBezTo>
                  <a:pt x="21" y="230"/>
                  <a:pt x="17" y="235"/>
                  <a:pt x="11" y="235"/>
                </a:cubicBezTo>
                <a:cubicBezTo>
                  <a:pt x="5" y="235"/>
                  <a:pt x="0" y="230"/>
                  <a:pt x="0" y="224"/>
                </a:cubicBezTo>
                <a:lnTo>
                  <a:pt x="0" y="224"/>
                </a:lnTo>
                <a:cubicBezTo>
                  <a:pt x="0" y="218"/>
                  <a:pt x="5" y="214"/>
                  <a:pt x="11" y="214"/>
                </a:cubicBezTo>
                <a:cubicBezTo>
                  <a:pt x="17" y="214"/>
                  <a:pt x="21" y="218"/>
                  <a:pt x="21" y="224"/>
                </a:cubicBezTo>
                <a:close/>
                <a:moveTo>
                  <a:pt x="21" y="288"/>
                </a:moveTo>
                <a:lnTo>
                  <a:pt x="21" y="288"/>
                </a:lnTo>
                <a:cubicBezTo>
                  <a:pt x="21" y="294"/>
                  <a:pt x="17" y="299"/>
                  <a:pt x="11" y="299"/>
                </a:cubicBezTo>
                <a:cubicBezTo>
                  <a:pt x="5" y="299"/>
                  <a:pt x="0" y="294"/>
                  <a:pt x="0" y="288"/>
                </a:cubicBezTo>
                <a:lnTo>
                  <a:pt x="0" y="288"/>
                </a:lnTo>
                <a:cubicBezTo>
                  <a:pt x="0" y="282"/>
                  <a:pt x="5" y="278"/>
                  <a:pt x="11" y="278"/>
                </a:cubicBezTo>
                <a:cubicBezTo>
                  <a:pt x="17" y="278"/>
                  <a:pt x="21" y="282"/>
                  <a:pt x="21" y="288"/>
                </a:cubicBezTo>
                <a:close/>
                <a:moveTo>
                  <a:pt x="21" y="352"/>
                </a:moveTo>
                <a:lnTo>
                  <a:pt x="21" y="352"/>
                </a:lnTo>
                <a:cubicBezTo>
                  <a:pt x="21" y="358"/>
                  <a:pt x="17" y="363"/>
                  <a:pt x="11" y="363"/>
                </a:cubicBezTo>
                <a:cubicBezTo>
                  <a:pt x="5" y="363"/>
                  <a:pt x="0" y="358"/>
                  <a:pt x="0" y="352"/>
                </a:cubicBezTo>
                <a:lnTo>
                  <a:pt x="0" y="352"/>
                </a:lnTo>
                <a:cubicBezTo>
                  <a:pt x="0" y="346"/>
                  <a:pt x="5" y="342"/>
                  <a:pt x="11" y="342"/>
                </a:cubicBezTo>
                <a:cubicBezTo>
                  <a:pt x="17" y="342"/>
                  <a:pt x="21" y="346"/>
                  <a:pt x="21" y="352"/>
                </a:cubicBezTo>
                <a:close/>
                <a:moveTo>
                  <a:pt x="21" y="416"/>
                </a:moveTo>
                <a:lnTo>
                  <a:pt x="21" y="416"/>
                </a:lnTo>
                <a:cubicBezTo>
                  <a:pt x="21" y="422"/>
                  <a:pt x="17" y="427"/>
                  <a:pt x="11" y="427"/>
                </a:cubicBezTo>
                <a:cubicBezTo>
                  <a:pt x="5" y="427"/>
                  <a:pt x="0" y="422"/>
                  <a:pt x="0" y="416"/>
                </a:cubicBezTo>
                <a:lnTo>
                  <a:pt x="0" y="416"/>
                </a:lnTo>
                <a:cubicBezTo>
                  <a:pt x="0" y="411"/>
                  <a:pt x="5" y="406"/>
                  <a:pt x="11" y="406"/>
                </a:cubicBezTo>
                <a:cubicBezTo>
                  <a:pt x="17" y="406"/>
                  <a:pt x="21" y="411"/>
                  <a:pt x="21" y="416"/>
                </a:cubicBezTo>
                <a:close/>
                <a:moveTo>
                  <a:pt x="21" y="480"/>
                </a:moveTo>
                <a:lnTo>
                  <a:pt x="21" y="480"/>
                </a:lnTo>
                <a:cubicBezTo>
                  <a:pt x="21" y="486"/>
                  <a:pt x="17" y="491"/>
                  <a:pt x="11" y="491"/>
                </a:cubicBezTo>
                <a:cubicBezTo>
                  <a:pt x="5" y="491"/>
                  <a:pt x="0" y="486"/>
                  <a:pt x="0" y="480"/>
                </a:cubicBezTo>
                <a:lnTo>
                  <a:pt x="0" y="480"/>
                </a:lnTo>
                <a:cubicBezTo>
                  <a:pt x="0" y="475"/>
                  <a:pt x="5" y="470"/>
                  <a:pt x="11" y="470"/>
                </a:cubicBezTo>
                <a:cubicBezTo>
                  <a:pt x="17" y="470"/>
                  <a:pt x="21" y="475"/>
                  <a:pt x="21" y="480"/>
                </a:cubicBezTo>
                <a:close/>
                <a:moveTo>
                  <a:pt x="21" y="544"/>
                </a:moveTo>
                <a:lnTo>
                  <a:pt x="21" y="544"/>
                </a:lnTo>
                <a:cubicBezTo>
                  <a:pt x="21" y="550"/>
                  <a:pt x="17" y="555"/>
                  <a:pt x="11" y="555"/>
                </a:cubicBezTo>
                <a:cubicBezTo>
                  <a:pt x="5" y="555"/>
                  <a:pt x="0" y="550"/>
                  <a:pt x="0" y="544"/>
                </a:cubicBezTo>
                <a:lnTo>
                  <a:pt x="0" y="544"/>
                </a:lnTo>
                <a:cubicBezTo>
                  <a:pt x="0" y="539"/>
                  <a:pt x="5" y="534"/>
                  <a:pt x="11" y="534"/>
                </a:cubicBezTo>
                <a:cubicBezTo>
                  <a:pt x="17" y="534"/>
                  <a:pt x="21" y="539"/>
                  <a:pt x="21" y="544"/>
                </a:cubicBezTo>
                <a:close/>
                <a:moveTo>
                  <a:pt x="21" y="608"/>
                </a:moveTo>
                <a:lnTo>
                  <a:pt x="21" y="608"/>
                </a:lnTo>
                <a:cubicBezTo>
                  <a:pt x="21" y="614"/>
                  <a:pt x="17" y="619"/>
                  <a:pt x="11" y="619"/>
                </a:cubicBezTo>
                <a:cubicBezTo>
                  <a:pt x="5" y="619"/>
                  <a:pt x="0" y="614"/>
                  <a:pt x="0" y="608"/>
                </a:cubicBezTo>
                <a:lnTo>
                  <a:pt x="0" y="608"/>
                </a:lnTo>
                <a:cubicBezTo>
                  <a:pt x="0" y="603"/>
                  <a:pt x="5" y="598"/>
                  <a:pt x="11" y="598"/>
                </a:cubicBezTo>
                <a:cubicBezTo>
                  <a:pt x="17" y="598"/>
                  <a:pt x="21" y="603"/>
                  <a:pt x="21" y="608"/>
                </a:cubicBezTo>
                <a:close/>
                <a:moveTo>
                  <a:pt x="21" y="672"/>
                </a:moveTo>
                <a:lnTo>
                  <a:pt x="21" y="673"/>
                </a:lnTo>
                <a:cubicBezTo>
                  <a:pt x="21" y="678"/>
                  <a:pt x="17" y="683"/>
                  <a:pt x="11" y="683"/>
                </a:cubicBezTo>
                <a:cubicBezTo>
                  <a:pt x="5" y="683"/>
                  <a:pt x="0" y="678"/>
                  <a:pt x="0" y="673"/>
                </a:cubicBezTo>
                <a:lnTo>
                  <a:pt x="0" y="672"/>
                </a:lnTo>
                <a:cubicBezTo>
                  <a:pt x="0" y="667"/>
                  <a:pt x="5" y="662"/>
                  <a:pt x="11" y="662"/>
                </a:cubicBezTo>
                <a:cubicBezTo>
                  <a:pt x="17" y="662"/>
                  <a:pt x="21" y="667"/>
                  <a:pt x="21" y="672"/>
                </a:cubicBezTo>
                <a:close/>
                <a:moveTo>
                  <a:pt x="21" y="737"/>
                </a:moveTo>
                <a:lnTo>
                  <a:pt x="21" y="737"/>
                </a:lnTo>
                <a:cubicBezTo>
                  <a:pt x="21" y="742"/>
                  <a:pt x="17" y="747"/>
                  <a:pt x="11" y="747"/>
                </a:cubicBezTo>
                <a:cubicBezTo>
                  <a:pt x="5" y="747"/>
                  <a:pt x="0" y="742"/>
                  <a:pt x="0" y="737"/>
                </a:cubicBezTo>
                <a:lnTo>
                  <a:pt x="0" y="737"/>
                </a:lnTo>
                <a:cubicBezTo>
                  <a:pt x="0" y="731"/>
                  <a:pt x="5" y="726"/>
                  <a:pt x="11" y="726"/>
                </a:cubicBezTo>
                <a:cubicBezTo>
                  <a:pt x="17" y="726"/>
                  <a:pt x="21" y="731"/>
                  <a:pt x="21" y="737"/>
                </a:cubicBezTo>
                <a:close/>
                <a:moveTo>
                  <a:pt x="21" y="801"/>
                </a:moveTo>
                <a:lnTo>
                  <a:pt x="21" y="801"/>
                </a:lnTo>
                <a:cubicBezTo>
                  <a:pt x="21" y="806"/>
                  <a:pt x="17" y="811"/>
                  <a:pt x="11" y="811"/>
                </a:cubicBezTo>
                <a:cubicBezTo>
                  <a:pt x="5" y="811"/>
                  <a:pt x="0" y="806"/>
                  <a:pt x="0" y="801"/>
                </a:cubicBezTo>
                <a:lnTo>
                  <a:pt x="0" y="801"/>
                </a:lnTo>
                <a:cubicBezTo>
                  <a:pt x="0" y="795"/>
                  <a:pt x="5" y="790"/>
                  <a:pt x="11" y="790"/>
                </a:cubicBezTo>
                <a:cubicBezTo>
                  <a:pt x="17" y="790"/>
                  <a:pt x="21" y="795"/>
                  <a:pt x="21" y="801"/>
                </a:cubicBezTo>
                <a:close/>
                <a:moveTo>
                  <a:pt x="21" y="865"/>
                </a:moveTo>
                <a:lnTo>
                  <a:pt x="21" y="865"/>
                </a:lnTo>
                <a:cubicBezTo>
                  <a:pt x="21" y="870"/>
                  <a:pt x="17" y="875"/>
                  <a:pt x="11" y="875"/>
                </a:cubicBezTo>
                <a:cubicBezTo>
                  <a:pt x="5" y="875"/>
                  <a:pt x="0" y="870"/>
                  <a:pt x="0" y="865"/>
                </a:cubicBezTo>
                <a:lnTo>
                  <a:pt x="0" y="865"/>
                </a:lnTo>
                <a:cubicBezTo>
                  <a:pt x="0" y="859"/>
                  <a:pt x="5" y="854"/>
                  <a:pt x="11" y="854"/>
                </a:cubicBezTo>
                <a:cubicBezTo>
                  <a:pt x="17" y="854"/>
                  <a:pt x="21" y="859"/>
                  <a:pt x="21" y="865"/>
                </a:cubicBezTo>
                <a:close/>
                <a:moveTo>
                  <a:pt x="21" y="929"/>
                </a:moveTo>
                <a:lnTo>
                  <a:pt x="21" y="929"/>
                </a:lnTo>
                <a:cubicBezTo>
                  <a:pt x="21" y="934"/>
                  <a:pt x="17" y="939"/>
                  <a:pt x="11" y="939"/>
                </a:cubicBezTo>
                <a:cubicBezTo>
                  <a:pt x="5" y="939"/>
                  <a:pt x="0" y="934"/>
                  <a:pt x="0" y="929"/>
                </a:cubicBezTo>
                <a:lnTo>
                  <a:pt x="0" y="929"/>
                </a:lnTo>
                <a:cubicBezTo>
                  <a:pt x="0" y="923"/>
                  <a:pt x="5" y="918"/>
                  <a:pt x="11" y="918"/>
                </a:cubicBezTo>
                <a:cubicBezTo>
                  <a:pt x="17" y="918"/>
                  <a:pt x="21" y="923"/>
                  <a:pt x="21" y="929"/>
                </a:cubicBezTo>
                <a:close/>
                <a:moveTo>
                  <a:pt x="21" y="993"/>
                </a:moveTo>
                <a:lnTo>
                  <a:pt x="21" y="993"/>
                </a:lnTo>
                <a:cubicBezTo>
                  <a:pt x="21" y="999"/>
                  <a:pt x="17" y="1003"/>
                  <a:pt x="11" y="1003"/>
                </a:cubicBezTo>
                <a:cubicBezTo>
                  <a:pt x="5" y="1003"/>
                  <a:pt x="0" y="999"/>
                  <a:pt x="0" y="993"/>
                </a:cubicBezTo>
                <a:lnTo>
                  <a:pt x="0" y="993"/>
                </a:lnTo>
                <a:cubicBezTo>
                  <a:pt x="0" y="987"/>
                  <a:pt x="5" y="982"/>
                  <a:pt x="11" y="982"/>
                </a:cubicBezTo>
                <a:cubicBezTo>
                  <a:pt x="17" y="982"/>
                  <a:pt x="21" y="987"/>
                  <a:pt x="21" y="993"/>
                </a:cubicBezTo>
                <a:close/>
                <a:moveTo>
                  <a:pt x="21" y="1057"/>
                </a:moveTo>
                <a:lnTo>
                  <a:pt x="21" y="1057"/>
                </a:lnTo>
                <a:cubicBezTo>
                  <a:pt x="21" y="1063"/>
                  <a:pt x="17" y="1067"/>
                  <a:pt x="11" y="1067"/>
                </a:cubicBezTo>
                <a:cubicBezTo>
                  <a:pt x="5" y="1067"/>
                  <a:pt x="0" y="1063"/>
                  <a:pt x="0" y="1057"/>
                </a:cubicBezTo>
                <a:lnTo>
                  <a:pt x="0" y="1057"/>
                </a:lnTo>
                <a:cubicBezTo>
                  <a:pt x="0" y="1051"/>
                  <a:pt x="5" y="1046"/>
                  <a:pt x="11" y="1046"/>
                </a:cubicBezTo>
                <a:cubicBezTo>
                  <a:pt x="17" y="1046"/>
                  <a:pt x="21" y="1051"/>
                  <a:pt x="21" y="1057"/>
                </a:cubicBezTo>
                <a:close/>
                <a:moveTo>
                  <a:pt x="21" y="1121"/>
                </a:moveTo>
                <a:lnTo>
                  <a:pt x="21" y="1121"/>
                </a:lnTo>
                <a:cubicBezTo>
                  <a:pt x="21" y="1127"/>
                  <a:pt x="17" y="1131"/>
                  <a:pt x="11" y="1131"/>
                </a:cubicBezTo>
                <a:cubicBezTo>
                  <a:pt x="5" y="1131"/>
                  <a:pt x="0" y="1127"/>
                  <a:pt x="0" y="1121"/>
                </a:cubicBezTo>
                <a:lnTo>
                  <a:pt x="0" y="1121"/>
                </a:lnTo>
                <a:cubicBezTo>
                  <a:pt x="0" y="1115"/>
                  <a:pt x="5" y="1110"/>
                  <a:pt x="11" y="1110"/>
                </a:cubicBezTo>
                <a:cubicBezTo>
                  <a:pt x="17" y="1110"/>
                  <a:pt x="21" y="1115"/>
                  <a:pt x="21" y="1121"/>
                </a:cubicBezTo>
                <a:close/>
                <a:moveTo>
                  <a:pt x="21" y="1185"/>
                </a:moveTo>
                <a:lnTo>
                  <a:pt x="21" y="1185"/>
                </a:lnTo>
                <a:cubicBezTo>
                  <a:pt x="21" y="1191"/>
                  <a:pt x="17" y="1195"/>
                  <a:pt x="11" y="1195"/>
                </a:cubicBezTo>
                <a:cubicBezTo>
                  <a:pt x="5" y="1195"/>
                  <a:pt x="0" y="1191"/>
                  <a:pt x="0" y="1185"/>
                </a:cubicBezTo>
                <a:lnTo>
                  <a:pt x="0" y="1185"/>
                </a:lnTo>
                <a:cubicBezTo>
                  <a:pt x="0" y="1179"/>
                  <a:pt x="5" y="1174"/>
                  <a:pt x="11" y="1174"/>
                </a:cubicBezTo>
                <a:cubicBezTo>
                  <a:pt x="17" y="1174"/>
                  <a:pt x="21" y="1179"/>
                  <a:pt x="21" y="1185"/>
                </a:cubicBezTo>
                <a:close/>
                <a:moveTo>
                  <a:pt x="21" y="1249"/>
                </a:moveTo>
                <a:lnTo>
                  <a:pt x="21" y="1249"/>
                </a:lnTo>
                <a:cubicBezTo>
                  <a:pt x="21" y="1255"/>
                  <a:pt x="17" y="1259"/>
                  <a:pt x="11" y="1259"/>
                </a:cubicBezTo>
                <a:cubicBezTo>
                  <a:pt x="5" y="1259"/>
                  <a:pt x="0" y="1255"/>
                  <a:pt x="0" y="1249"/>
                </a:cubicBezTo>
                <a:lnTo>
                  <a:pt x="0" y="1249"/>
                </a:lnTo>
                <a:cubicBezTo>
                  <a:pt x="0" y="1243"/>
                  <a:pt x="5" y="1238"/>
                  <a:pt x="11" y="1238"/>
                </a:cubicBezTo>
                <a:cubicBezTo>
                  <a:pt x="17" y="1238"/>
                  <a:pt x="21" y="1243"/>
                  <a:pt x="21" y="1249"/>
                </a:cubicBezTo>
                <a:close/>
                <a:moveTo>
                  <a:pt x="21" y="1313"/>
                </a:moveTo>
                <a:lnTo>
                  <a:pt x="21" y="1313"/>
                </a:lnTo>
                <a:cubicBezTo>
                  <a:pt x="21" y="1319"/>
                  <a:pt x="17" y="1323"/>
                  <a:pt x="11" y="1323"/>
                </a:cubicBezTo>
                <a:cubicBezTo>
                  <a:pt x="5" y="1323"/>
                  <a:pt x="0" y="1319"/>
                  <a:pt x="0" y="1313"/>
                </a:cubicBezTo>
                <a:lnTo>
                  <a:pt x="0" y="1313"/>
                </a:lnTo>
                <a:cubicBezTo>
                  <a:pt x="0" y="1307"/>
                  <a:pt x="5" y="1302"/>
                  <a:pt x="11" y="1302"/>
                </a:cubicBezTo>
                <a:cubicBezTo>
                  <a:pt x="17" y="1302"/>
                  <a:pt x="21" y="1307"/>
                  <a:pt x="21" y="1313"/>
                </a:cubicBezTo>
                <a:close/>
                <a:moveTo>
                  <a:pt x="21" y="1377"/>
                </a:moveTo>
                <a:lnTo>
                  <a:pt x="21" y="1377"/>
                </a:lnTo>
                <a:cubicBezTo>
                  <a:pt x="21" y="1383"/>
                  <a:pt x="17" y="1387"/>
                  <a:pt x="11" y="1387"/>
                </a:cubicBezTo>
                <a:cubicBezTo>
                  <a:pt x="5" y="1387"/>
                  <a:pt x="0" y="1383"/>
                  <a:pt x="0" y="1377"/>
                </a:cubicBezTo>
                <a:lnTo>
                  <a:pt x="0" y="1377"/>
                </a:lnTo>
                <a:cubicBezTo>
                  <a:pt x="0" y="1371"/>
                  <a:pt x="5" y="1366"/>
                  <a:pt x="11" y="1366"/>
                </a:cubicBezTo>
                <a:cubicBezTo>
                  <a:pt x="17" y="1366"/>
                  <a:pt x="21" y="1371"/>
                  <a:pt x="21" y="1377"/>
                </a:cubicBezTo>
                <a:close/>
                <a:moveTo>
                  <a:pt x="21" y="1441"/>
                </a:moveTo>
                <a:lnTo>
                  <a:pt x="21" y="1441"/>
                </a:lnTo>
                <a:cubicBezTo>
                  <a:pt x="21" y="1447"/>
                  <a:pt x="17" y="1451"/>
                  <a:pt x="11" y="1451"/>
                </a:cubicBezTo>
                <a:cubicBezTo>
                  <a:pt x="5" y="1451"/>
                  <a:pt x="0" y="1447"/>
                  <a:pt x="0" y="1441"/>
                </a:cubicBezTo>
                <a:lnTo>
                  <a:pt x="0" y="1441"/>
                </a:lnTo>
                <a:cubicBezTo>
                  <a:pt x="0" y="1435"/>
                  <a:pt x="5" y="1430"/>
                  <a:pt x="11" y="1430"/>
                </a:cubicBezTo>
                <a:cubicBezTo>
                  <a:pt x="17" y="1430"/>
                  <a:pt x="21" y="1435"/>
                  <a:pt x="21" y="1441"/>
                </a:cubicBezTo>
                <a:close/>
                <a:moveTo>
                  <a:pt x="21" y="1505"/>
                </a:moveTo>
                <a:lnTo>
                  <a:pt x="21" y="1505"/>
                </a:lnTo>
                <a:cubicBezTo>
                  <a:pt x="21" y="1511"/>
                  <a:pt x="17" y="1515"/>
                  <a:pt x="11" y="1515"/>
                </a:cubicBezTo>
                <a:cubicBezTo>
                  <a:pt x="5" y="1515"/>
                  <a:pt x="0" y="1511"/>
                  <a:pt x="0" y="1505"/>
                </a:cubicBezTo>
                <a:lnTo>
                  <a:pt x="0" y="1505"/>
                </a:lnTo>
                <a:cubicBezTo>
                  <a:pt x="0" y="1499"/>
                  <a:pt x="5" y="1494"/>
                  <a:pt x="11" y="1494"/>
                </a:cubicBezTo>
                <a:cubicBezTo>
                  <a:pt x="17" y="1494"/>
                  <a:pt x="21" y="1499"/>
                  <a:pt x="21" y="1505"/>
                </a:cubicBezTo>
                <a:close/>
                <a:moveTo>
                  <a:pt x="21" y="1569"/>
                </a:moveTo>
                <a:lnTo>
                  <a:pt x="21" y="1569"/>
                </a:lnTo>
                <a:cubicBezTo>
                  <a:pt x="21" y="1575"/>
                  <a:pt x="17" y="1579"/>
                  <a:pt x="11" y="1579"/>
                </a:cubicBezTo>
                <a:cubicBezTo>
                  <a:pt x="5" y="1579"/>
                  <a:pt x="0" y="1575"/>
                  <a:pt x="0" y="1569"/>
                </a:cubicBezTo>
                <a:lnTo>
                  <a:pt x="0" y="1569"/>
                </a:lnTo>
                <a:cubicBezTo>
                  <a:pt x="0" y="1563"/>
                  <a:pt x="5" y="1558"/>
                  <a:pt x="11" y="1558"/>
                </a:cubicBezTo>
                <a:cubicBezTo>
                  <a:pt x="17" y="1558"/>
                  <a:pt x="21" y="1563"/>
                  <a:pt x="21" y="1569"/>
                </a:cubicBezTo>
                <a:close/>
                <a:moveTo>
                  <a:pt x="21" y="1633"/>
                </a:moveTo>
                <a:lnTo>
                  <a:pt x="21" y="1633"/>
                </a:lnTo>
                <a:cubicBezTo>
                  <a:pt x="21" y="1639"/>
                  <a:pt x="17" y="1643"/>
                  <a:pt x="11" y="1643"/>
                </a:cubicBezTo>
                <a:cubicBezTo>
                  <a:pt x="5" y="1643"/>
                  <a:pt x="0" y="1639"/>
                  <a:pt x="0" y="1633"/>
                </a:cubicBezTo>
                <a:lnTo>
                  <a:pt x="0" y="1633"/>
                </a:lnTo>
                <a:cubicBezTo>
                  <a:pt x="0" y="1627"/>
                  <a:pt x="5" y="1622"/>
                  <a:pt x="11" y="1622"/>
                </a:cubicBezTo>
                <a:cubicBezTo>
                  <a:pt x="17" y="1622"/>
                  <a:pt x="21" y="1627"/>
                  <a:pt x="21" y="1633"/>
                </a:cubicBezTo>
                <a:close/>
                <a:moveTo>
                  <a:pt x="21" y="1697"/>
                </a:moveTo>
                <a:lnTo>
                  <a:pt x="21" y="1697"/>
                </a:lnTo>
                <a:cubicBezTo>
                  <a:pt x="21" y="1703"/>
                  <a:pt x="17" y="1708"/>
                  <a:pt x="11" y="1708"/>
                </a:cubicBezTo>
                <a:cubicBezTo>
                  <a:pt x="5" y="1708"/>
                  <a:pt x="0" y="1703"/>
                  <a:pt x="0" y="1697"/>
                </a:cubicBezTo>
                <a:lnTo>
                  <a:pt x="0" y="1697"/>
                </a:lnTo>
                <a:cubicBezTo>
                  <a:pt x="0" y="1691"/>
                  <a:pt x="5" y="1686"/>
                  <a:pt x="11" y="1686"/>
                </a:cubicBezTo>
                <a:cubicBezTo>
                  <a:pt x="17" y="1686"/>
                  <a:pt x="21" y="1691"/>
                  <a:pt x="21" y="1697"/>
                </a:cubicBezTo>
                <a:close/>
                <a:moveTo>
                  <a:pt x="21" y="1761"/>
                </a:moveTo>
                <a:lnTo>
                  <a:pt x="21" y="1761"/>
                </a:lnTo>
                <a:cubicBezTo>
                  <a:pt x="21" y="1767"/>
                  <a:pt x="17" y="1772"/>
                  <a:pt x="11" y="1772"/>
                </a:cubicBezTo>
                <a:cubicBezTo>
                  <a:pt x="5" y="1772"/>
                  <a:pt x="0" y="1767"/>
                  <a:pt x="0" y="1761"/>
                </a:cubicBezTo>
                <a:lnTo>
                  <a:pt x="0" y="1761"/>
                </a:lnTo>
                <a:cubicBezTo>
                  <a:pt x="0" y="1755"/>
                  <a:pt x="5" y="1750"/>
                  <a:pt x="11" y="1750"/>
                </a:cubicBezTo>
                <a:cubicBezTo>
                  <a:pt x="17" y="1750"/>
                  <a:pt x="21" y="1755"/>
                  <a:pt x="21" y="1761"/>
                </a:cubicBezTo>
                <a:close/>
                <a:moveTo>
                  <a:pt x="21" y="1825"/>
                </a:moveTo>
                <a:lnTo>
                  <a:pt x="21" y="1825"/>
                </a:lnTo>
                <a:cubicBezTo>
                  <a:pt x="21" y="1831"/>
                  <a:pt x="17" y="1836"/>
                  <a:pt x="11" y="1836"/>
                </a:cubicBezTo>
                <a:cubicBezTo>
                  <a:pt x="5" y="1836"/>
                  <a:pt x="0" y="1831"/>
                  <a:pt x="0" y="1825"/>
                </a:cubicBezTo>
                <a:lnTo>
                  <a:pt x="0" y="1825"/>
                </a:lnTo>
                <a:cubicBezTo>
                  <a:pt x="0" y="1819"/>
                  <a:pt x="5" y="1814"/>
                  <a:pt x="11" y="1814"/>
                </a:cubicBezTo>
                <a:cubicBezTo>
                  <a:pt x="17" y="1814"/>
                  <a:pt x="21" y="1819"/>
                  <a:pt x="21" y="1825"/>
                </a:cubicBezTo>
                <a:close/>
                <a:moveTo>
                  <a:pt x="21" y="1889"/>
                </a:moveTo>
                <a:lnTo>
                  <a:pt x="21" y="1889"/>
                </a:lnTo>
                <a:cubicBezTo>
                  <a:pt x="21" y="1895"/>
                  <a:pt x="17" y="1900"/>
                  <a:pt x="11" y="1900"/>
                </a:cubicBezTo>
                <a:cubicBezTo>
                  <a:pt x="5" y="1900"/>
                  <a:pt x="0" y="1895"/>
                  <a:pt x="0" y="1889"/>
                </a:cubicBezTo>
                <a:lnTo>
                  <a:pt x="0" y="1889"/>
                </a:lnTo>
                <a:cubicBezTo>
                  <a:pt x="0" y="1883"/>
                  <a:pt x="5" y="1878"/>
                  <a:pt x="11" y="1878"/>
                </a:cubicBezTo>
                <a:cubicBezTo>
                  <a:pt x="17" y="1878"/>
                  <a:pt x="21" y="1883"/>
                  <a:pt x="21" y="1889"/>
                </a:cubicBezTo>
                <a:close/>
                <a:moveTo>
                  <a:pt x="21" y="1953"/>
                </a:moveTo>
                <a:lnTo>
                  <a:pt x="21" y="1953"/>
                </a:lnTo>
                <a:cubicBezTo>
                  <a:pt x="21" y="1959"/>
                  <a:pt x="17" y="1964"/>
                  <a:pt x="11" y="1964"/>
                </a:cubicBezTo>
                <a:cubicBezTo>
                  <a:pt x="5" y="1964"/>
                  <a:pt x="0" y="1959"/>
                  <a:pt x="0" y="1953"/>
                </a:cubicBezTo>
                <a:lnTo>
                  <a:pt x="0" y="1953"/>
                </a:lnTo>
                <a:cubicBezTo>
                  <a:pt x="0" y="1947"/>
                  <a:pt x="5" y="1942"/>
                  <a:pt x="11" y="1942"/>
                </a:cubicBezTo>
                <a:cubicBezTo>
                  <a:pt x="17" y="1942"/>
                  <a:pt x="21" y="1947"/>
                  <a:pt x="21" y="1953"/>
                </a:cubicBezTo>
                <a:close/>
                <a:moveTo>
                  <a:pt x="21" y="2017"/>
                </a:moveTo>
                <a:lnTo>
                  <a:pt x="21" y="2017"/>
                </a:lnTo>
                <a:cubicBezTo>
                  <a:pt x="21" y="2023"/>
                  <a:pt x="17" y="2028"/>
                  <a:pt x="11" y="2028"/>
                </a:cubicBezTo>
                <a:cubicBezTo>
                  <a:pt x="5" y="2028"/>
                  <a:pt x="0" y="2023"/>
                  <a:pt x="0" y="2017"/>
                </a:cubicBezTo>
                <a:lnTo>
                  <a:pt x="0" y="2017"/>
                </a:lnTo>
                <a:cubicBezTo>
                  <a:pt x="0" y="2011"/>
                  <a:pt x="5" y="2006"/>
                  <a:pt x="11" y="2006"/>
                </a:cubicBezTo>
                <a:cubicBezTo>
                  <a:pt x="17" y="2006"/>
                  <a:pt x="21" y="2011"/>
                  <a:pt x="21" y="2017"/>
                </a:cubicBezTo>
                <a:close/>
                <a:moveTo>
                  <a:pt x="21" y="2081"/>
                </a:moveTo>
                <a:lnTo>
                  <a:pt x="21" y="2081"/>
                </a:lnTo>
                <a:cubicBezTo>
                  <a:pt x="21" y="2087"/>
                  <a:pt x="17" y="2092"/>
                  <a:pt x="11" y="2092"/>
                </a:cubicBezTo>
                <a:cubicBezTo>
                  <a:pt x="5" y="2092"/>
                  <a:pt x="0" y="2087"/>
                  <a:pt x="0" y="2081"/>
                </a:cubicBezTo>
                <a:lnTo>
                  <a:pt x="0" y="2081"/>
                </a:lnTo>
                <a:cubicBezTo>
                  <a:pt x="0" y="2075"/>
                  <a:pt x="5" y="2070"/>
                  <a:pt x="11" y="2070"/>
                </a:cubicBezTo>
                <a:cubicBezTo>
                  <a:pt x="17" y="2070"/>
                  <a:pt x="21" y="2075"/>
                  <a:pt x="21" y="2081"/>
                </a:cubicBezTo>
                <a:close/>
                <a:moveTo>
                  <a:pt x="21" y="2145"/>
                </a:moveTo>
                <a:lnTo>
                  <a:pt x="21" y="2145"/>
                </a:lnTo>
                <a:cubicBezTo>
                  <a:pt x="21" y="2151"/>
                  <a:pt x="17" y="2156"/>
                  <a:pt x="11" y="2156"/>
                </a:cubicBezTo>
                <a:cubicBezTo>
                  <a:pt x="5" y="2156"/>
                  <a:pt x="0" y="2151"/>
                  <a:pt x="0" y="2145"/>
                </a:cubicBezTo>
                <a:lnTo>
                  <a:pt x="0" y="2145"/>
                </a:lnTo>
                <a:cubicBezTo>
                  <a:pt x="0" y="2139"/>
                  <a:pt x="5" y="2134"/>
                  <a:pt x="11" y="2134"/>
                </a:cubicBezTo>
                <a:cubicBezTo>
                  <a:pt x="17" y="2134"/>
                  <a:pt x="21" y="2139"/>
                  <a:pt x="21" y="2145"/>
                </a:cubicBezTo>
                <a:close/>
                <a:moveTo>
                  <a:pt x="21" y="2209"/>
                </a:moveTo>
                <a:lnTo>
                  <a:pt x="21" y="2209"/>
                </a:lnTo>
                <a:cubicBezTo>
                  <a:pt x="21" y="2215"/>
                  <a:pt x="17" y="2220"/>
                  <a:pt x="11" y="2220"/>
                </a:cubicBezTo>
                <a:cubicBezTo>
                  <a:pt x="5" y="2220"/>
                  <a:pt x="0" y="2215"/>
                  <a:pt x="0" y="2209"/>
                </a:cubicBezTo>
                <a:lnTo>
                  <a:pt x="0" y="2209"/>
                </a:lnTo>
                <a:cubicBezTo>
                  <a:pt x="0" y="2203"/>
                  <a:pt x="5" y="2198"/>
                  <a:pt x="11" y="2198"/>
                </a:cubicBezTo>
                <a:cubicBezTo>
                  <a:pt x="17" y="2198"/>
                  <a:pt x="21" y="2203"/>
                  <a:pt x="21" y="2209"/>
                </a:cubicBezTo>
                <a:close/>
                <a:moveTo>
                  <a:pt x="21" y="2273"/>
                </a:moveTo>
                <a:lnTo>
                  <a:pt x="21" y="2273"/>
                </a:lnTo>
                <a:cubicBezTo>
                  <a:pt x="21" y="2279"/>
                  <a:pt x="17" y="2284"/>
                  <a:pt x="11" y="2284"/>
                </a:cubicBezTo>
                <a:cubicBezTo>
                  <a:pt x="5" y="2284"/>
                  <a:pt x="0" y="2279"/>
                  <a:pt x="0" y="2273"/>
                </a:cubicBezTo>
                <a:lnTo>
                  <a:pt x="0" y="2273"/>
                </a:lnTo>
                <a:cubicBezTo>
                  <a:pt x="0" y="2267"/>
                  <a:pt x="5" y="2262"/>
                  <a:pt x="11" y="2262"/>
                </a:cubicBezTo>
                <a:cubicBezTo>
                  <a:pt x="17" y="2262"/>
                  <a:pt x="21" y="2267"/>
                  <a:pt x="21" y="2273"/>
                </a:cubicBezTo>
                <a:close/>
                <a:moveTo>
                  <a:pt x="21" y="2337"/>
                </a:moveTo>
                <a:lnTo>
                  <a:pt x="21" y="2337"/>
                </a:lnTo>
                <a:cubicBezTo>
                  <a:pt x="21" y="2343"/>
                  <a:pt x="17" y="2348"/>
                  <a:pt x="11" y="2348"/>
                </a:cubicBezTo>
                <a:cubicBezTo>
                  <a:pt x="5" y="2348"/>
                  <a:pt x="0" y="2343"/>
                  <a:pt x="0" y="2337"/>
                </a:cubicBezTo>
                <a:lnTo>
                  <a:pt x="0" y="2337"/>
                </a:lnTo>
                <a:cubicBezTo>
                  <a:pt x="0" y="2331"/>
                  <a:pt x="5" y="2326"/>
                  <a:pt x="11" y="2326"/>
                </a:cubicBezTo>
                <a:cubicBezTo>
                  <a:pt x="17" y="2326"/>
                  <a:pt x="21" y="2331"/>
                  <a:pt x="21" y="2337"/>
                </a:cubicBezTo>
                <a:close/>
                <a:moveTo>
                  <a:pt x="21" y="2401"/>
                </a:moveTo>
                <a:lnTo>
                  <a:pt x="21" y="2401"/>
                </a:lnTo>
                <a:cubicBezTo>
                  <a:pt x="21" y="2407"/>
                  <a:pt x="17" y="2412"/>
                  <a:pt x="11" y="2412"/>
                </a:cubicBezTo>
                <a:cubicBezTo>
                  <a:pt x="5" y="2412"/>
                  <a:pt x="0" y="2407"/>
                  <a:pt x="0" y="2401"/>
                </a:cubicBezTo>
                <a:lnTo>
                  <a:pt x="0" y="2401"/>
                </a:lnTo>
                <a:cubicBezTo>
                  <a:pt x="0" y="2395"/>
                  <a:pt x="5" y="2390"/>
                  <a:pt x="11" y="2390"/>
                </a:cubicBezTo>
                <a:cubicBezTo>
                  <a:pt x="17" y="2390"/>
                  <a:pt x="21" y="2395"/>
                  <a:pt x="21" y="2401"/>
                </a:cubicBezTo>
                <a:close/>
                <a:moveTo>
                  <a:pt x="21" y="2465"/>
                </a:moveTo>
                <a:lnTo>
                  <a:pt x="21" y="2465"/>
                </a:lnTo>
                <a:cubicBezTo>
                  <a:pt x="21" y="2471"/>
                  <a:pt x="17" y="2476"/>
                  <a:pt x="11" y="2476"/>
                </a:cubicBezTo>
                <a:cubicBezTo>
                  <a:pt x="5" y="2476"/>
                  <a:pt x="0" y="2471"/>
                  <a:pt x="0" y="2465"/>
                </a:cubicBezTo>
                <a:lnTo>
                  <a:pt x="0" y="2465"/>
                </a:lnTo>
                <a:cubicBezTo>
                  <a:pt x="0" y="2459"/>
                  <a:pt x="5" y="2454"/>
                  <a:pt x="11" y="2454"/>
                </a:cubicBezTo>
                <a:cubicBezTo>
                  <a:pt x="17" y="2454"/>
                  <a:pt x="21" y="2459"/>
                  <a:pt x="21" y="2465"/>
                </a:cubicBezTo>
                <a:close/>
                <a:moveTo>
                  <a:pt x="21" y="2529"/>
                </a:moveTo>
                <a:lnTo>
                  <a:pt x="21" y="2529"/>
                </a:lnTo>
                <a:cubicBezTo>
                  <a:pt x="21" y="2535"/>
                  <a:pt x="17" y="2540"/>
                  <a:pt x="11" y="2540"/>
                </a:cubicBezTo>
                <a:cubicBezTo>
                  <a:pt x="5" y="2540"/>
                  <a:pt x="0" y="2535"/>
                  <a:pt x="0" y="2529"/>
                </a:cubicBezTo>
                <a:lnTo>
                  <a:pt x="0" y="2529"/>
                </a:lnTo>
                <a:cubicBezTo>
                  <a:pt x="0" y="2523"/>
                  <a:pt x="5" y="2518"/>
                  <a:pt x="11" y="2518"/>
                </a:cubicBezTo>
                <a:cubicBezTo>
                  <a:pt x="17" y="2518"/>
                  <a:pt x="21" y="2523"/>
                  <a:pt x="21" y="2529"/>
                </a:cubicBezTo>
                <a:close/>
                <a:moveTo>
                  <a:pt x="21" y="2593"/>
                </a:moveTo>
                <a:lnTo>
                  <a:pt x="21" y="2593"/>
                </a:lnTo>
                <a:cubicBezTo>
                  <a:pt x="21" y="2599"/>
                  <a:pt x="17" y="2604"/>
                  <a:pt x="11" y="2604"/>
                </a:cubicBezTo>
                <a:cubicBezTo>
                  <a:pt x="5" y="2604"/>
                  <a:pt x="0" y="2599"/>
                  <a:pt x="0" y="2593"/>
                </a:cubicBezTo>
                <a:lnTo>
                  <a:pt x="0" y="2593"/>
                </a:lnTo>
                <a:cubicBezTo>
                  <a:pt x="0" y="2587"/>
                  <a:pt x="5" y="2582"/>
                  <a:pt x="11" y="2582"/>
                </a:cubicBezTo>
                <a:cubicBezTo>
                  <a:pt x="17" y="2582"/>
                  <a:pt x="21" y="2587"/>
                  <a:pt x="21" y="2593"/>
                </a:cubicBezTo>
                <a:close/>
                <a:moveTo>
                  <a:pt x="21" y="2657"/>
                </a:moveTo>
                <a:lnTo>
                  <a:pt x="21" y="2657"/>
                </a:lnTo>
                <a:cubicBezTo>
                  <a:pt x="21" y="2663"/>
                  <a:pt x="17" y="2668"/>
                  <a:pt x="11" y="2668"/>
                </a:cubicBezTo>
                <a:cubicBezTo>
                  <a:pt x="5" y="2668"/>
                  <a:pt x="0" y="2663"/>
                  <a:pt x="0" y="2657"/>
                </a:cubicBezTo>
                <a:lnTo>
                  <a:pt x="0" y="2657"/>
                </a:lnTo>
                <a:cubicBezTo>
                  <a:pt x="0" y="2651"/>
                  <a:pt x="5" y="2646"/>
                  <a:pt x="11" y="2646"/>
                </a:cubicBezTo>
                <a:cubicBezTo>
                  <a:pt x="17" y="2646"/>
                  <a:pt x="21" y="2651"/>
                  <a:pt x="21" y="2657"/>
                </a:cubicBezTo>
                <a:close/>
                <a:moveTo>
                  <a:pt x="21" y="2721"/>
                </a:moveTo>
                <a:lnTo>
                  <a:pt x="21" y="2721"/>
                </a:lnTo>
                <a:cubicBezTo>
                  <a:pt x="21" y="2727"/>
                  <a:pt x="17" y="2732"/>
                  <a:pt x="11" y="2732"/>
                </a:cubicBezTo>
                <a:cubicBezTo>
                  <a:pt x="5" y="2732"/>
                  <a:pt x="0" y="2727"/>
                  <a:pt x="0" y="2721"/>
                </a:cubicBezTo>
                <a:lnTo>
                  <a:pt x="0" y="2721"/>
                </a:lnTo>
                <a:cubicBezTo>
                  <a:pt x="0" y="2715"/>
                  <a:pt x="5" y="2711"/>
                  <a:pt x="11" y="2711"/>
                </a:cubicBezTo>
                <a:cubicBezTo>
                  <a:pt x="17" y="2711"/>
                  <a:pt x="21" y="2715"/>
                  <a:pt x="21" y="2721"/>
                </a:cubicBezTo>
                <a:close/>
                <a:moveTo>
                  <a:pt x="21" y="2785"/>
                </a:moveTo>
                <a:lnTo>
                  <a:pt x="21" y="2785"/>
                </a:lnTo>
                <a:cubicBezTo>
                  <a:pt x="21" y="2791"/>
                  <a:pt x="17" y="2796"/>
                  <a:pt x="11" y="2796"/>
                </a:cubicBezTo>
                <a:cubicBezTo>
                  <a:pt x="5" y="2796"/>
                  <a:pt x="0" y="2791"/>
                  <a:pt x="0" y="2785"/>
                </a:cubicBezTo>
                <a:lnTo>
                  <a:pt x="0" y="2785"/>
                </a:lnTo>
                <a:cubicBezTo>
                  <a:pt x="0" y="2779"/>
                  <a:pt x="5" y="2775"/>
                  <a:pt x="11" y="2775"/>
                </a:cubicBezTo>
                <a:cubicBezTo>
                  <a:pt x="17" y="2775"/>
                  <a:pt x="21" y="2779"/>
                  <a:pt x="21" y="2785"/>
                </a:cubicBezTo>
                <a:close/>
                <a:moveTo>
                  <a:pt x="21" y="2849"/>
                </a:moveTo>
                <a:lnTo>
                  <a:pt x="21" y="2849"/>
                </a:lnTo>
                <a:cubicBezTo>
                  <a:pt x="21" y="2855"/>
                  <a:pt x="17" y="2860"/>
                  <a:pt x="11" y="2860"/>
                </a:cubicBezTo>
                <a:cubicBezTo>
                  <a:pt x="5" y="2860"/>
                  <a:pt x="0" y="2855"/>
                  <a:pt x="0" y="2849"/>
                </a:cubicBezTo>
                <a:lnTo>
                  <a:pt x="0" y="2849"/>
                </a:lnTo>
                <a:cubicBezTo>
                  <a:pt x="0" y="2843"/>
                  <a:pt x="5" y="2839"/>
                  <a:pt x="11" y="2839"/>
                </a:cubicBezTo>
                <a:cubicBezTo>
                  <a:pt x="17" y="2839"/>
                  <a:pt x="21" y="2843"/>
                  <a:pt x="21" y="2849"/>
                </a:cubicBezTo>
                <a:close/>
                <a:moveTo>
                  <a:pt x="21" y="2913"/>
                </a:moveTo>
                <a:lnTo>
                  <a:pt x="21" y="2913"/>
                </a:lnTo>
                <a:cubicBezTo>
                  <a:pt x="21" y="2919"/>
                  <a:pt x="17" y="2924"/>
                  <a:pt x="11" y="2924"/>
                </a:cubicBezTo>
                <a:cubicBezTo>
                  <a:pt x="5" y="2924"/>
                  <a:pt x="0" y="2919"/>
                  <a:pt x="0" y="2913"/>
                </a:cubicBezTo>
                <a:lnTo>
                  <a:pt x="0" y="2913"/>
                </a:lnTo>
                <a:cubicBezTo>
                  <a:pt x="0" y="2907"/>
                  <a:pt x="5" y="2903"/>
                  <a:pt x="11" y="2903"/>
                </a:cubicBezTo>
                <a:cubicBezTo>
                  <a:pt x="17" y="2903"/>
                  <a:pt x="21" y="2907"/>
                  <a:pt x="21" y="2913"/>
                </a:cubicBezTo>
                <a:close/>
                <a:moveTo>
                  <a:pt x="21" y="2977"/>
                </a:moveTo>
                <a:lnTo>
                  <a:pt x="21" y="2977"/>
                </a:lnTo>
                <a:cubicBezTo>
                  <a:pt x="21" y="2983"/>
                  <a:pt x="17" y="2988"/>
                  <a:pt x="11" y="2988"/>
                </a:cubicBezTo>
                <a:cubicBezTo>
                  <a:pt x="5" y="2988"/>
                  <a:pt x="0" y="2983"/>
                  <a:pt x="0" y="2977"/>
                </a:cubicBezTo>
                <a:lnTo>
                  <a:pt x="0" y="2977"/>
                </a:lnTo>
                <a:cubicBezTo>
                  <a:pt x="0" y="2971"/>
                  <a:pt x="5" y="2967"/>
                  <a:pt x="11" y="2967"/>
                </a:cubicBezTo>
                <a:cubicBezTo>
                  <a:pt x="17" y="2967"/>
                  <a:pt x="21" y="2971"/>
                  <a:pt x="21" y="2977"/>
                </a:cubicBezTo>
                <a:close/>
                <a:moveTo>
                  <a:pt x="21" y="3041"/>
                </a:moveTo>
                <a:lnTo>
                  <a:pt x="21" y="3041"/>
                </a:lnTo>
                <a:cubicBezTo>
                  <a:pt x="21" y="3047"/>
                  <a:pt x="17" y="3052"/>
                  <a:pt x="11" y="3052"/>
                </a:cubicBezTo>
                <a:cubicBezTo>
                  <a:pt x="5" y="3052"/>
                  <a:pt x="0" y="3047"/>
                  <a:pt x="0" y="3041"/>
                </a:cubicBezTo>
                <a:lnTo>
                  <a:pt x="0" y="3041"/>
                </a:lnTo>
                <a:cubicBezTo>
                  <a:pt x="0" y="3035"/>
                  <a:pt x="5" y="3031"/>
                  <a:pt x="11" y="3031"/>
                </a:cubicBezTo>
                <a:cubicBezTo>
                  <a:pt x="17" y="3031"/>
                  <a:pt x="21" y="3035"/>
                  <a:pt x="21" y="3041"/>
                </a:cubicBezTo>
                <a:close/>
                <a:moveTo>
                  <a:pt x="21" y="3105"/>
                </a:moveTo>
                <a:lnTo>
                  <a:pt x="21" y="3105"/>
                </a:lnTo>
                <a:cubicBezTo>
                  <a:pt x="21" y="3111"/>
                  <a:pt x="17" y="3116"/>
                  <a:pt x="11" y="3116"/>
                </a:cubicBezTo>
                <a:cubicBezTo>
                  <a:pt x="5" y="3116"/>
                  <a:pt x="0" y="3111"/>
                  <a:pt x="0" y="3105"/>
                </a:cubicBezTo>
                <a:lnTo>
                  <a:pt x="0" y="3105"/>
                </a:lnTo>
                <a:cubicBezTo>
                  <a:pt x="0" y="3099"/>
                  <a:pt x="5" y="3095"/>
                  <a:pt x="11" y="3095"/>
                </a:cubicBezTo>
                <a:cubicBezTo>
                  <a:pt x="17" y="3095"/>
                  <a:pt x="21" y="3099"/>
                  <a:pt x="21" y="3105"/>
                </a:cubicBezTo>
                <a:close/>
                <a:moveTo>
                  <a:pt x="21" y="3169"/>
                </a:moveTo>
                <a:lnTo>
                  <a:pt x="21" y="3169"/>
                </a:lnTo>
                <a:cubicBezTo>
                  <a:pt x="21" y="3175"/>
                  <a:pt x="17" y="3180"/>
                  <a:pt x="11" y="3180"/>
                </a:cubicBezTo>
                <a:cubicBezTo>
                  <a:pt x="5" y="3180"/>
                  <a:pt x="0" y="3175"/>
                  <a:pt x="0" y="3169"/>
                </a:cubicBezTo>
                <a:lnTo>
                  <a:pt x="0" y="3169"/>
                </a:lnTo>
                <a:cubicBezTo>
                  <a:pt x="0" y="3163"/>
                  <a:pt x="5" y="3159"/>
                  <a:pt x="11" y="3159"/>
                </a:cubicBezTo>
                <a:cubicBezTo>
                  <a:pt x="17" y="3159"/>
                  <a:pt x="21" y="3163"/>
                  <a:pt x="21" y="3169"/>
                </a:cubicBezTo>
                <a:close/>
                <a:moveTo>
                  <a:pt x="27" y="3207"/>
                </a:moveTo>
                <a:lnTo>
                  <a:pt x="27" y="3207"/>
                </a:lnTo>
                <a:cubicBezTo>
                  <a:pt x="33" y="3207"/>
                  <a:pt x="38" y="3211"/>
                  <a:pt x="38" y="3217"/>
                </a:cubicBezTo>
                <a:cubicBezTo>
                  <a:pt x="38" y="3223"/>
                  <a:pt x="33" y="3228"/>
                  <a:pt x="27" y="3228"/>
                </a:cubicBezTo>
                <a:lnTo>
                  <a:pt x="27" y="3228"/>
                </a:lnTo>
                <a:cubicBezTo>
                  <a:pt x="21" y="3228"/>
                  <a:pt x="16" y="3223"/>
                  <a:pt x="16" y="3217"/>
                </a:cubicBezTo>
                <a:cubicBezTo>
                  <a:pt x="16" y="3211"/>
                  <a:pt x="21" y="3207"/>
                  <a:pt x="27" y="3207"/>
                </a:cubicBezTo>
                <a:close/>
                <a:moveTo>
                  <a:pt x="91" y="3207"/>
                </a:moveTo>
                <a:lnTo>
                  <a:pt x="91" y="3207"/>
                </a:lnTo>
                <a:cubicBezTo>
                  <a:pt x="97" y="3207"/>
                  <a:pt x="102" y="3211"/>
                  <a:pt x="102" y="3217"/>
                </a:cubicBezTo>
                <a:cubicBezTo>
                  <a:pt x="102" y="3223"/>
                  <a:pt x="97" y="3228"/>
                  <a:pt x="91" y="3228"/>
                </a:cubicBezTo>
                <a:lnTo>
                  <a:pt x="91" y="3228"/>
                </a:lnTo>
                <a:cubicBezTo>
                  <a:pt x="85" y="3228"/>
                  <a:pt x="80" y="3223"/>
                  <a:pt x="80" y="3217"/>
                </a:cubicBezTo>
                <a:cubicBezTo>
                  <a:pt x="80" y="3211"/>
                  <a:pt x="85" y="3207"/>
                  <a:pt x="91" y="3207"/>
                </a:cubicBezTo>
                <a:close/>
                <a:moveTo>
                  <a:pt x="155" y="3207"/>
                </a:moveTo>
                <a:lnTo>
                  <a:pt x="155" y="3207"/>
                </a:lnTo>
                <a:cubicBezTo>
                  <a:pt x="161" y="3207"/>
                  <a:pt x="166" y="3211"/>
                  <a:pt x="166" y="3217"/>
                </a:cubicBezTo>
                <a:cubicBezTo>
                  <a:pt x="166" y="3223"/>
                  <a:pt x="161" y="3228"/>
                  <a:pt x="155" y="3228"/>
                </a:cubicBezTo>
                <a:lnTo>
                  <a:pt x="155" y="3228"/>
                </a:lnTo>
                <a:cubicBezTo>
                  <a:pt x="149" y="3228"/>
                  <a:pt x="144" y="3223"/>
                  <a:pt x="144" y="3217"/>
                </a:cubicBezTo>
                <a:cubicBezTo>
                  <a:pt x="144" y="3211"/>
                  <a:pt x="149" y="3207"/>
                  <a:pt x="155" y="3207"/>
                </a:cubicBezTo>
                <a:close/>
                <a:moveTo>
                  <a:pt x="219" y="3207"/>
                </a:moveTo>
                <a:lnTo>
                  <a:pt x="219" y="3207"/>
                </a:lnTo>
                <a:cubicBezTo>
                  <a:pt x="225" y="3207"/>
                  <a:pt x="230" y="3211"/>
                  <a:pt x="230" y="3217"/>
                </a:cubicBezTo>
                <a:cubicBezTo>
                  <a:pt x="230" y="3223"/>
                  <a:pt x="225" y="3228"/>
                  <a:pt x="219" y="3228"/>
                </a:cubicBezTo>
                <a:lnTo>
                  <a:pt x="219" y="3228"/>
                </a:lnTo>
                <a:cubicBezTo>
                  <a:pt x="213" y="3228"/>
                  <a:pt x="208" y="3223"/>
                  <a:pt x="208" y="3217"/>
                </a:cubicBezTo>
                <a:cubicBezTo>
                  <a:pt x="208" y="3211"/>
                  <a:pt x="213" y="3207"/>
                  <a:pt x="219" y="3207"/>
                </a:cubicBezTo>
                <a:close/>
                <a:moveTo>
                  <a:pt x="283" y="3207"/>
                </a:moveTo>
                <a:lnTo>
                  <a:pt x="283" y="3207"/>
                </a:lnTo>
                <a:cubicBezTo>
                  <a:pt x="289" y="3207"/>
                  <a:pt x="294" y="3211"/>
                  <a:pt x="294" y="3217"/>
                </a:cubicBezTo>
                <a:cubicBezTo>
                  <a:pt x="294" y="3223"/>
                  <a:pt x="289" y="3228"/>
                  <a:pt x="283" y="3228"/>
                </a:cubicBezTo>
                <a:lnTo>
                  <a:pt x="283" y="3228"/>
                </a:lnTo>
                <a:cubicBezTo>
                  <a:pt x="277" y="3228"/>
                  <a:pt x="272" y="3223"/>
                  <a:pt x="272" y="3217"/>
                </a:cubicBezTo>
                <a:cubicBezTo>
                  <a:pt x="272" y="3211"/>
                  <a:pt x="277" y="3207"/>
                  <a:pt x="283" y="3207"/>
                </a:cubicBezTo>
                <a:close/>
                <a:moveTo>
                  <a:pt x="347" y="3207"/>
                </a:moveTo>
                <a:lnTo>
                  <a:pt x="347" y="3207"/>
                </a:lnTo>
                <a:cubicBezTo>
                  <a:pt x="353" y="3207"/>
                  <a:pt x="358" y="3211"/>
                  <a:pt x="358" y="3217"/>
                </a:cubicBezTo>
                <a:cubicBezTo>
                  <a:pt x="358" y="3223"/>
                  <a:pt x="353" y="3228"/>
                  <a:pt x="347" y="3228"/>
                </a:cubicBezTo>
                <a:lnTo>
                  <a:pt x="347" y="3228"/>
                </a:lnTo>
                <a:cubicBezTo>
                  <a:pt x="341" y="3228"/>
                  <a:pt x="336" y="3223"/>
                  <a:pt x="336" y="3217"/>
                </a:cubicBezTo>
                <a:cubicBezTo>
                  <a:pt x="336" y="3211"/>
                  <a:pt x="341" y="3207"/>
                  <a:pt x="347" y="3207"/>
                </a:cubicBezTo>
                <a:close/>
                <a:moveTo>
                  <a:pt x="411" y="3207"/>
                </a:moveTo>
                <a:lnTo>
                  <a:pt x="411" y="3207"/>
                </a:lnTo>
                <a:cubicBezTo>
                  <a:pt x="417" y="3207"/>
                  <a:pt x="422" y="3211"/>
                  <a:pt x="422" y="3217"/>
                </a:cubicBezTo>
                <a:cubicBezTo>
                  <a:pt x="422" y="3223"/>
                  <a:pt x="417" y="3228"/>
                  <a:pt x="411" y="3228"/>
                </a:cubicBezTo>
                <a:lnTo>
                  <a:pt x="411" y="3228"/>
                </a:lnTo>
                <a:cubicBezTo>
                  <a:pt x="405" y="3228"/>
                  <a:pt x="400" y="3223"/>
                  <a:pt x="400" y="3217"/>
                </a:cubicBezTo>
                <a:cubicBezTo>
                  <a:pt x="400" y="3211"/>
                  <a:pt x="405" y="3207"/>
                  <a:pt x="411" y="3207"/>
                </a:cubicBezTo>
                <a:close/>
                <a:moveTo>
                  <a:pt x="475" y="3207"/>
                </a:moveTo>
                <a:lnTo>
                  <a:pt x="475" y="3207"/>
                </a:lnTo>
                <a:cubicBezTo>
                  <a:pt x="481" y="3207"/>
                  <a:pt x="486" y="3211"/>
                  <a:pt x="486" y="3217"/>
                </a:cubicBezTo>
                <a:cubicBezTo>
                  <a:pt x="486" y="3223"/>
                  <a:pt x="481" y="3228"/>
                  <a:pt x="475" y="3228"/>
                </a:cubicBezTo>
                <a:lnTo>
                  <a:pt x="475" y="3228"/>
                </a:lnTo>
                <a:cubicBezTo>
                  <a:pt x="469" y="3228"/>
                  <a:pt x="464" y="3223"/>
                  <a:pt x="464" y="3217"/>
                </a:cubicBezTo>
                <a:cubicBezTo>
                  <a:pt x="464" y="3211"/>
                  <a:pt x="469" y="3207"/>
                  <a:pt x="475" y="3207"/>
                </a:cubicBezTo>
                <a:close/>
                <a:moveTo>
                  <a:pt x="539" y="3207"/>
                </a:moveTo>
                <a:lnTo>
                  <a:pt x="539" y="3207"/>
                </a:lnTo>
                <a:cubicBezTo>
                  <a:pt x="545" y="3207"/>
                  <a:pt x="550" y="3211"/>
                  <a:pt x="550" y="3217"/>
                </a:cubicBezTo>
                <a:cubicBezTo>
                  <a:pt x="550" y="3223"/>
                  <a:pt x="545" y="3228"/>
                  <a:pt x="539" y="3228"/>
                </a:cubicBezTo>
                <a:lnTo>
                  <a:pt x="539" y="3228"/>
                </a:lnTo>
                <a:cubicBezTo>
                  <a:pt x="533" y="3228"/>
                  <a:pt x="528" y="3223"/>
                  <a:pt x="528" y="3217"/>
                </a:cubicBezTo>
                <a:cubicBezTo>
                  <a:pt x="528" y="3211"/>
                  <a:pt x="533" y="3207"/>
                  <a:pt x="539" y="3207"/>
                </a:cubicBezTo>
                <a:close/>
                <a:moveTo>
                  <a:pt x="603" y="3207"/>
                </a:moveTo>
                <a:lnTo>
                  <a:pt x="603" y="3207"/>
                </a:lnTo>
                <a:cubicBezTo>
                  <a:pt x="609" y="3207"/>
                  <a:pt x="614" y="3211"/>
                  <a:pt x="614" y="3217"/>
                </a:cubicBezTo>
                <a:cubicBezTo>
                  <a:pt x="614" y="3223"/>
                  <a:pt x="609" y="3228"/>
                  <a:pt x="603" y="3228"/>
                </a:cubicBezTo>
                <a:lnTo>
                  <a:pt x="603" y="3228"/>
                </a:lnTo>
                <a:cubicBezTo>
                  <a:pt x="597" y="3228"/>
                  <a:pt x="592" y="3223"/>
                  <a:pt x="592" y="3217"/>
                </a:cubicBezTo>
                <a:cubicBezTo>
                  <a:pt x="592" y="3211"/>
                  <a:pt x="597" y="3207"/>
                  <a:pt x="603" y="3207"/>
                </a:cubicBezTo>
                <a:close/>
                <a:moveTo>
                  <a:pt x="667" y="3207"/>
                </a:moveTo>
                <a:lnTo>
                  <a:pt x="667" y="3207"/>
                </a:lnTo>
                <a:cubicBezTo>
                  <a:pt x="673" y="3207"/>
                  <a:pt x="678" y="3211"/>
                  <a:pt x="678" y="3217"/>
                </a:cubicBezTo>
                <a:cubicBezTo>
                  <a:pt x="678" y="3223"/>
                  <a:pt x="673" y="3228"/>
                  <a:pt x="667" y="3228"/>
                </a:cubicBezTo>
                <a:lnTo>
                  <a:pt x="667" y="3228"/>
                </a:lnTo>
                <a:cubicBezTo>
                  <a:pt x="661" y="3228"/>
                  <a:pt x="656" y="3223"/>
                  <a:pt x="656" y="3217"/>
                </a:cubicBezTo>
                <a:cubicBezTo>
                  <a:pt x="656" y="3211"/>
                  <a:pt x="661" y="3207"/>
                  <a:pt x="667" y="3207"/>
                </a:cubicBezTo>
                <a:close/>
                <a:moveTo>
                  <a:pt x="731" y="3207"/>
                </a:moveTo>
                <a:lnTo>
                  <a:pt x="731" y="3207"/>
                </a:lnTo>
                <a:cubicBezTo>
                  <a:pt x="737" y="3207"/>
                  <a:pt x="742" y="3211"/>
                  <a:pt x="742" y="3217"/>
                </a:cubicBezTo>
                <a:cubicBezTo>
                  <a:pt x="742" y="3223"/>
                  <a:pt x="737" y="3228"/>
                  <a:pt x="731" y="3228"/>
                </a:cubicBezTo>
                <a:lnTo>
                  <a:pt x="731" y="3228"/>
                </a:lnTo>
                <a:cubicBezTo>
                  <a:pt x="725" y="3228"/>
                  <a:pt x="720" y="3223"/>
                  <a:pt x="720" y="3217"/>
                </a:cubicBezTo>
                <a:cubicBezTo>
                  <a:pt x="720" y="3211"/>
                  <a:pt x="725" y="3207"/>
                  <a:pt x="731" y="3207"/>
                </a:cubicBezTo>
                <a:close/>
                <a:moveTo>
                  <a:pt x="795" y="3207"/>
                </a:moveTo>
                <a:lnTo>
                  <a:pt x="795" y="3207"/>
                </a:lnTo>
                <a:cubicBezTo>
                  <a:pt x="801" y="3207"/>
                  <a:pt x="806" y="3211"/>
                  <a:pt x="806" y="3217"/>
                </a:cubicBezTo>
                <a:cubicBezTo>
                  <a:pt x="806" y="3223"/>
                  <a:pt x="801" y="3228"/>
                  <a:pt x="795" y="3228"/>
                </a:cubicBezTo>
                <a:lnTo>
                  <a:pt x="795" y="3228"/>
                </a:lnTo>
                <a:cubicBezTo>
                  <a:pt x="789" y="3228"/>
                  <a:pt x="784" y="3223"/>
                  <a:pt x="784" y="3217"/>
                </a:cubicBezTo>
                <a:cubicBezTo>
                  <a:pt x="784" y="3211"/>
                  <a:pt x="789" y="3207"/>
                  <a:pt x="795" y="3207"/>
                </a:cubicBezTo>
                <a:close/>
                <a:moveTo>
                  <a:pt x="859" y="3207"/>
                </a:moveTo>
                <a:lnTo>
                  <a:pt x="859" y="3207"/>
                </a:lnTo>
                <a:cubicBezTo>
                  <a:pt x="865" y="3207"/>
                  <a:pt x="870" y="3211"/>
                  <a:pt x="870" y="3217"/>
                </a:cubicBezTo>
                <a:cubicBezTo>
                  <a:pt x="870" y="3223"/>
                  <a:pt x="865" y="3228"/>
                  <a:pt x="859" y="3228"/>
                </a:cubicBezTo>
                <a:lnTo>
                  <a:pt x="859" y="3228"/>
                </a:lnTo>
                <a:cubicBezTo>
                  <a:pt x="853" y="3228"/>
                  <a:pt x="848" y="3223"/>
                  <a:pt x="848" y="3217"/>
                </a:cubicBezTo>
                <a:cubicBezTo>
                  <a:pt x="848" y="3211"/>
                  <a:pt x="853" y="3207"/>
                  <a:pt x="859" y="3207"/>
                </a:cubicBezTo>
                <a:close/>
                <a:moveTo>
                  <a:pt x="923" y="3207"/>
                </a:moveTo>
                <a:lnTo>
                  <a:pt x="923" y="3207"/>
                </a:lnTo>
                <a:cubicBezTo>
                  <a:pt x="929" y="3207"/>
                  <a:pt x="934" y="3211"/>
                  <a:pt x="934" y="3217"/>
                </a:cubicBezTo>
                <a:cubicBezTo>
                  <a:pt x="934" y="3223"/>
                  <a:pt x="929" y="3228"/>
                  <a:pt x="923" y="3228"/>
                </a:cubicBezTo>
                <a:lnTo>
                  <a:pt x="923" y="3228"/>
                </a:lnTo>
                <a:cubicBezTo>
                  <a:pt x="917" y="3228"/>
                  <a:pt x="912" y="3223"/>
                  <a:pt x="912" y="3217"/>
                </a:cubicBezTo>
                <a:cubicBezTo>
                  <a:pt x="912" y="3211"/>
                  <a:pt x="917" y="3207"/>
                  <a:pt x="923" y="3207"/>
                </a:cubicBezTo>
                <a:close/>
                <a:moveTo>
                  <a:pt x="987" y="3207"/>
                </a:moveTo>
                <a:lnTo>
                  <a:pt x="987" y="3207"/>
                </a:lnTo>
                <a:cubicBezTo>
                  <a:pt x="993" y="3207"/>
                  <a:pt x="998" y="3211"/>
                  <a:pt x="998" y="3217"/>
                </a:cubicBezTo>
                <a:cubicBezTo>
                  <a:pt x="998" y="3223"/>
                  <a:pt x="993" y="3228"/>
                  <a:pt x="987" y="3228"/>
                </a:cubicBezTo>
                <a:lnTo>
                  <a:pt x="987" y="3228"/>
                </a:lnTo>
                <a:cubicBezTo>
                  <a:pt x="981" y="3228"/>
                  <a:pt x="977" y="3223"/>
                  <a:pt x="977" y="3217"/>
                </a:cubicBezTo>
                <a:cubicBezTo>
                  <a:pt x="977" y="3211"/>
                  <a:pt x="981" y="3207"/>
                  <a:pt x="987" y="3207"/>
                </a:cubicBezTo>
                <a:close/>
                <a:moveTo>
                  <a:pt x="1051" y="3207"/>
                </a:moveTo>
                <a:lnTo>
                  <a:pt x="1051" y="3207"/>
                </a:lnTo>
                <a:cubicBezTo>
                  <a:pt x="1057" y="3207"/>
                  <a:pt x="1062" y="3211"/>
                  <a:pt x="1062" y="3217"/>
                </a:cubicBezTo>
                <a:cubicBezTo>
                  <a:pt x="1062" y="3223"/>
                  <a:pt x="1057" y="3228"/>
                  <a:pt x="1051" y="3228"/>
                </a:cubicBezTo>
                <a:lnTo>
                  <a:pt x="1051" y="3228"/>
                </a:lnTo>
                <a:cubicBezTo>
                  <a:pt x="1045" y="3228"/>
                  <a:pt x="1041" y="3223"/>
                  <a:pt x="1041" y="3217"/>
                </a:cubicBezTo>
                <a:cubicBezTo>
                  <a:pt x="1041" y="3211"/>
                  <a:pt x="1045" y="3207"/>
                  <a:pt x="1051" y="3207"/>
                </a:cubicBezTo>
                <a:close/>
                <a:moveTo>
                  <a:pt x="1115" y="3207"/>
                </a:moveTo>
                <a:lnTo>
                  <a:pt x="1115" y="3207"/>
                </a:lnTo>
                <a:cubicBezTo>
                  <a:pt x="1121" y="3207"/>
                  <a:pt x="1126" y="3211"/>
                  <a:pt x="1126" y="3217"/>
                </a:cubicBezTo>
                <a:cubicBezTo>
                  <a:pt x="1126" y="3223"/>
                  <a:pt x="1121" y="3228"/>
                  <a:pt x="1115" y="3228"/>
                </a:cubicBezTo>
                <a:lnTo>
                  <a:pt x="1115" y="3228"/>
                </a:lnTo>
                <a:cubicBezTo>
                  <a:pt x="1109" y="3228"/>
                  <a:pt x="1105" y="3223"/>
                  <a:pt x="1105" y="3217"/>
                </a:cubicBezTo>
                <a:cubicBezTo>
                  <a:pt x="1105" y="3211"/>
                  <a:pt x="1109" y="3207"/>
                  <a:pt x="1115" y="3207"/>
                </a:cubicBezTo>
                <a:close/>
                <a:moveTo>
                  <a:pt x="1179" y="3207"/>
                </a:moveTo>
                <a:lnTo>
                  <a:pt x="1179" y="3207"/>
                </a:lnTo>
                <a:cubicBezTo>
                  <a:pt x="1185" y="3207"/>
                  <a:pt x="1190" y="3211"/>
                  <a:pt x="1190" y="3217"/>
                </a:cubicBezTo>
                <a:cubicBezTo>
                  <a:pt x="1190" y="3223"/>
                  <a:pt x="1185" y="3228"/>
                  <a:pt x="1179" y="3228"/>
                </a:cubicBezTo>
                <a:lnTo>
                  <a:pt x="1179" y="3228"/>
                </a:lnTo>
                <a:cubicBezTo>
                  <a:pt x="1173" y="3228"/>
                  <a:pt x="1169" y="3223"/>
                  <a:pt x="1169" y="3217"/>
                </a:cubicBezTo>
                <a:cubicBezTo>
                  <a:pt x="1169" y="3211"/>
                  <a:pt x="1173" y="3207"/>
                  <a:pt x="1179" y="3207"/>
                </a:cubicBezTo>
                <a:close/>
                <a:moveTo>
                  <a:pt x="1243" y="3207"/>
                </a:moveTo>
                <a:lnTo>
                  <a:pt x="1243" y="3207"/>
                </a:lnTo>
                <a:cubicBezTo>
                  <a:pt x="1249" y="3207"/>
                  <a:pt x="1254" y="3211"/>
                  <a:pt x="1254" y="3217"/>
                </a:cubicBezTo>
                <a:cubicBezTo>
                  <a:pt x="1254" y="3223"/>
                  <a:pt x="1249" y="3228"/>
                  <a:pt x="1243" y="3228"/>
                </a:cubicBezTo>
                <a:lnTo>
                  <a:pt x="1243" y="3228"/>
                </a:lnTo>
                <a:cubicBezTo>
                  <a:pt x="1237" y="3228"/>
                  <a:pt x="1233" y="3223"/>
                  <a:pt x="1233" y="3217"/>
                </a:cubicBezTo>
                <a:cubicBezTo>
                  <a:pt x="1233" y="3211"/>
                  <a:pt x="1237" y="3207"/>
                  <a:pt x="1243" y="3207"/>
                </a:cubicBezTo>
                <a:close/>
                <a:moveTo>
                  <a:pt x="1307" y="3207"/>
                </a:moveTo>
                <a:lnTo>
                  <a:pt x="1307" y="3207"/>
                </a:lnTo>
                <a:cubicBezTo>
                  <a:pt x="1313" y="3207"/>
                  <a:pt x="1318" y="3211"/>
                  <a:pt x="1318" y="3217"/>
                </a:cubicBezTo>
                <a:cubicBezTo>
                  <a:pt x="1318" y="3223"/>
                  <a:pt x="1313" y="3228"/>
                  <a:pt x="1307" y="3228"/>
                </a:cubicBezTo>
                <a:lnTo>
                  <a:pt x="1307" y="3228"/>
                </a:lnTo>
                <a:cubicBezTo>
                  <a:pt x="1301" y="3228"/>
                  <a:pt x="1297" y="3223"/>
                  <a:pt x="1297" y="3217"/>
                </a:cubicBezTo>
                <a:cubicBezTo>
                  <a:pt x="1297" y="3211"/>
                  <a:pt x="1301" y="3207"/>
                  <a:pt x="1307" y="3207"/>
                </a:cubicBezTo>
                <a:close/>
                <a:moveTo>
                  <a:pt x="1371" y="3207"/>
                </a:moveTo>
                <a:lnTo>
                  <a:pt x="1371" y="3207"/>
                </a:lnTo>
                <a:cubicBezTo>
                  <a:pt x="1377" y="3207"/>
                  <a:pt x="1382" y="3211"/>
                  <a:pt x="1382" y="3217"/>
                </a:cubicBezTo>
                <a:cubicBezTo>
                  <a:pt x="1382" y="3223"/>
                  <a:pt x="1377" y="3228"/>
                  <a:pt x="1371" y="3228"/>
                </a:cubicBezTo>
                <a:lnTo>
                  <a:pt x="1371" y="3228"/>
                </a:lnTo>
                <a:cubicBezTo>
                  <a:pt x="1365" y="3228"/>
                  <a:pt x="1361" y="3223"/>
                  <a:pt x="1361" y="3217"/>
                </a:cubicBezTo>
                <a:cubicBezTo>
                  <a:pt x="1361" y="3211"/>
                  <a:pt x="1365" y="3207"/>
                  <a:pt x="1371" y="3207"/>
                </a:cubicBezTo>
                <a:close/>
                <a:moveTo>
                  <a:pt x="1435" y="3207"/>
                </a:moveTo>
                <a:lnTo>
                  <a:pt x="1435" y="3207"/>
                </a:lnTo>
                <a:cubicBezTo>
                  <a:pt x="1441" y="3207"/>
                  <a:pt x="1446" y="3211"/>
                  <a:pt x="1446" y="3217"/>
                </a:cubicBezTo>
                <a:cubicBezTo>
                  <a:pt x="1446" y="3223"/>
                  <a:pt x="1441" y="3228"/>
                  <a:pt x="1435" y="3228"/>
                </a:cubicBezTo>
                <a:lnTo>
                  <a:pt x="1435" y="3228"/>
                </a:lnTo>
                <a:cubicBezTo>
                  <a:pt x="1429" y="3228"/>
                  <a:pt x="1425" y="3223"/>
                  <a:pt x="1425" y="3217"/>
                </a:cubicBezTo>
                <a:cubicBezTo>
                  <a:pt x="1425" y="3211"/>
                  <a:pt x="1429" y="3207"/>
                  <a:pt x="1435" y="3207"/>
                </a:cubicBezTo>
                <a:close/>
                <a:moveTo>
                  <a:pt x="1499" y="3207"/>
                </a:moveTo>
                <a:lnTo>
                  <a:pt x="1499" y="3207"/>
                </a:lnTo>
                <a:cubicBezTo>
                  <a:pt x="1505" y="3207"/>
                  <a:pt x="1510" y="3211"/>
                  <a:pt x="1510" y="3217"/>
                </a:cubicBezTo>
                <a:cubicBezTo>
                  <a:pt x="1510" y="3223"/>
                  <a:pt x="1505" y="3228"/>
                  <a:pt x="1499" y="3228"/>
                </a:cubicBezTo>
                <a:lnTo>
                  <a:pt x="1499" y="3228"/>
                </a:lnTo>
                <a:cubicBezTo>
                  <a:pt x="1493" y="3228"/>
                  <a:pt x="1489" y="3223"/>
                  <a:pt x="1489" y="3217"/>
                </a:cubicBezTo>
                <a:cubicBezTo>
                  <a:pt x="1489" y="3211"/>
                  <a:pt x="1493" y="3207"/>
                  <a:pt x="1499" y="3207"/>
                </a:cubicBezTo>
                <a:close/>
                <a:moveTo>
                  <a:pt x="1563" y="3207"/>
                </a:moveTo>
                <a:lnTo>
                  <a:pt x="1563" y="3207"/>
                </a:lnTo>
                <a:cubicBezTo>
                  <a:pt x="1569" y="3207"/>
                  <a:pt x="1574" y="3211"/>
                  <a:pt x="1574" y="3217"/>
                </a:cubicBezTo>
                <a:cubicBezTo>
                  <a:pt x="1574" y="3223"/>
                  <a:pt x="1569" y="3228"/>
                  <a:pt x="1563" y="3228"/>
                </a:cubicBezTo>
                <a:lnTo>
                  <a:pt x="1563" y="3228"/>
                </a:lnTo>
                <a:cubicBezTo>
                  <a:pt x="1557" y="3228"/>
                  <a:pt x="1553" y="3223"/>
                  <a:pt x="1553" y="3217"/>
                </a:cubicBezTo>
                <a:cubicBezTo>
                  <a:pt x="1553" y="3211"/>
                  <a:pt x="1557" y="3207"/>
                  <a:pt x="1563" y="3207"/>
                </a:cubicBezTo>
                <a:close/>
                <a:moveTo>
                  <a:pt x="1627" y="3207"/>
                </a:moveTo>
                <a:lnTo>
                  <a:pt x="1627" y="3207"/>
                </a:lnTo>
                <a:cubicBezTo>
                  <a:pt x="1633" y="3207"/>
                  <a:pt x="1638" y="3211"/>
                  <a:pt x="1638" y="3217"/>
                </a:cubicBezTo>
                <a:cubicBezTo>
                  <a:pt x="1638" y="3223"/>
                  <a:pt x="1633" y="3228"/>
                  <a:pt x="1627" y="3228"/>
                </a:cubicBezTo>
                <a:lnTo>
                  <a:pt x="1627" y="3228"/>
                </a:lnTo>
                <a:cubicBezTo>
                  <a:pt x="1621" y="3228"/>
                  <a:pt x="1617" y="3223"/>
                  <a:pt x="1617" y="3217"/>
                </a:cubicBezTo>
                <a:cubicBezTo>
                  <a:pt x="1617" y="3211"/>
                  <a:pt x="1621" y="3207"/>
                  <a:pt x="1627" y="3207"/>
                </a:cubicBezTo>
                <a:close/>
                <a:moveTo>
                  <a:pt x="1691" y="3207"/>
                </a:moveTo>
                <a:lnTo>
                  <a:pt x="1691" y="3207"/>
                </a:lnTo>
                <a:cubicBezTo>
                  <a:pt x="1697" y="3207"/>
                  <a:pt x="1702" y="3211"/>
                  <a:pt x="1702" y="3217"/>
                </a:cubicBezTo>
                <a:cubicBezTo>
                  <a:pt x="1702" y="3223"/>
                  <a:pt x="1697" y="3228"/>
                  <a:pt x="1691" y="3228"/>
                </a:cubicBezTo>
                <a:lnTo>
                  <a:pt x="1691" y="3228"/>
                </a:lnTo>
                <a:cubicBezTo>
                  <a:pt x="1686" y="3228"/>
                  <a:pt x="1681" y="3223"/>
                  <a:pt x="1681" y="3217"/>
                </a:cubicBezTo>
                <a:cubicBezTo>
                  <a:pt x="1681" y="3211"/>
                  <a:pt x="1686" y="3207"/>
                  <a:pt x="1691" y="3207"/>
                </a:cubicBezTo>
                <a:close/>
                <a:moveTo>
                  <a:pt x="1755" y="3207"/>
                </a:moveTo>
                <a:lnTo>
                  <a:pt x="1755" y="3207"/>
                </a:lnTo>
                <a:cubicBezTo>
                  <a:pt x="1761" y="3207"/>
                  <a:pt x="1766" y="3211"/>
                  <a:pt x="1766" y="3217"/>
                </a:cubicBezTo>
                <a:cubicBezTo>
                  <a:pt x="1766" y="3223"/>
                  <a:pt x="1761" y="3228"/>
                  <a:pt x="1755" y="3228"/>
                </a:cubicBezTo>
                <a:lnTo>
                  <a:pt x="1755" y="3228"/>
                </a:lnTo>
                <a:cubicBezTo>
                  <a:pt x="1750" y="3228"/>
                  <a:pt x="1745" y="3223"/>
                  <a:pt x="1745" y="3217"/>
                </a:cubicBezTo>
                <a:cubicBezTo>
                  <a:pt x="1745" y="3211"/>
                  <a:pt x="1750" y="3207"/>
                  <a:pt x="1755" y="3207"/>
                </a:cubicBezTo>
                <a:close/>
                <a:moveTo>
                  <a:pt x="1819" y="3207"/>
                </a:moveTo>
                <a:lnTo>
                  <a:pt x="1819" y="3207"/>
                </a:lnTo>
                <a:cubicBezTo>
                  <a:pt x="1825" y="3207"/>
                  <a:pt x="1830" y="3211"/>
                  <a:pt x="1830" y="3217"/>
                </a:cubicBezTo>
                <a:cubicBezTo>
                  <a:pt x="1830" y="3223"/>
                  <a:pt x="1825" y="3228"/>
                  <a:pt x="1819" y="3228"/>
                </a:cubicBezTo>
                <a:lnTo>
                  <a:pt x="1819" y="3228"/>
                </a:lnTo>
                <a:cubicBezTo>
                  <a:pt x="1814" y="3228"/>
                  <a:pt x="1809" y="3223"/>
                  <a:pt x="1809" y="3217"/>
                </a:cubicBezTo>
                <a:cubicBezTo>
                  <a:pt x="1809" y="3211"/>
                  <a:pt x="1814" y="3207"/>
                  <a:pt x="1819" y="3207"/>
                </a:cubicBezTo>
                <a:close/>
                <a:moveTo>
                  <a:pt x="1883" y="3207"/>
                </a:moveTo>
                <a:lnTo>
                  <a:pt x="1883" y="3207"/>
                </a:lnTo>
                <a:cubicBezTo>
                  <a:pt x="1889" y="3207"/>
                  <a:pt x="1894" y="3211"/>
                  <a:pt x="1894" y="3217"/>
                </a:cubicBezTo>
                <a:cubicBezTo>
                  <a:pt x="1894" y="3223"/>
                  <a:pt x="1889" y="3228"/>
                  <a:pt x="1883" y="3228"/>
                </a:cubicBezTo>
                <a:lnTo>
                  <a:pt x="1883" y="3228"/>
                </a:lnTo>
                <a:cubicBezTo>
                  <a:pt x="1878" y="3228"/>
                  <a:pt x="1873" y="3223"/>
                  <a:pt x="1873" y="3217"/>
                </a:cubicBezTo>
                <a:cubicBezTo>
                  <a:pt x="1873" y="3211"/>
                  <a:pt x="1878" y="3207"/>
                  <a:pt x="1883" y="3207"/>
                </a:cubicBezTo>
                <a:close/>
                <a:moveTo>
                  <a:pt x="1947" y="3207"/>
                </a:moveTo>
                <a:lnTo>
                  <a:pt x="1948" y="3207"/>
                </a:lnTo>
                <a:cubicBezTo>
                  <a:pt x="1953" y="3207"/>
                  <a:pt x="1958" y="3211"/>
                  <a:pt x="1958" y="3217"/>
                </a:cubicBezTo>
                <a:cubicBezTo>
                  <a:pt x="1958" y="3223"/>
                  <a:pt x="1953" y="3228"/>
                  <a:pt x="1948" y="3228"/>
                </a:cubicBezTo>
                <a:lnTo>
                  <a:pt x="1947" y="3228"/>
                </a:lnTo>
                <a:cubicBezTo>
                  <a:pt x="1942" y="3228"/>
                  <a:pt x="1937" y="3223"/>
                  <a:pt x="1937" y="3217"/>
                </a:cubicBezTo>
                <a:cubicBezTo>
                  <a:pt x="1937" y="3211"/>
                  <a:pt x="1942" y="3207"/>
                  <a:pt x="1947" y="3207"/>
                </a:cubicBezTo>
                <a:close/>
                <a:moveTo>
                  <a:pt x="2012" y="3207"/>
                </a:moveTo>
                <a:lnTo>
                  <a:pt x="2012" y="3207"/>
                </a:lnTo>
                <a:cubicBezTo>
                  <a:pt x="2017" y="3207"/>
                  <a:pt x="2022" y="3211"/>
                  <a:pt x="2022" y="3217"/>
                </a:cubicBezTo>
                <a:cubicBezTo>
                  <a:pt x="2022" y="3223"/>
                  <a:pt x="2017" y="3228"/>
                  <a:pt x="2012" y="3228"/>
                </a:cubicBezTo>
                <a:lnTo>
                  <a:pt x="2012" y="3228"/>
                </a:lnTo>
                <a:cubicBezTo>
                  <a:pt x="2006" y="3228"/>
                  <a:pt x="2001" y="3223"/>
                  <a:pt x="2001" y="3217"/>
                </a:cubicBezTo>
                <a:cubicBezTo>
                  <a:pt x="2001" y="3211"/>
                  <a:pt x="2006" y="3207"/>
                  <a:pt x="2012" y="3207"/>
                </a:cubicBezTo>
                <a:close/>
                <a:moveTo>
                  <a:pt x="2076" y="3207"/>
                </a:moveTo>
                <a:lnTo>
                  <a:pt x="2076" y="3207"/>
                </a:lnTo>
                <a:cubicBezTo>
                  <a:pt x="2081" y="3207"/>
                  <a:pt x="2086" y="3211"/>
                  <a:pt x="2086" y="3217"/>
                </a:cubicBezTo>
                <a:cubicBezTo>
                  <a:pt x="2086" y="3223"/>
                  <a:pt x="2081" y="3228"/>
                  <a:pt x="2076" y="3228"/>
                </a:cubicBezTo>
                <a:lnTo>
                  <a:pt x="2076" y="3228"/>
                </a:lnTo>
                <a:cubicBezTo>
                  <a:pt x="2070" y="3228"/>
                  <a:pt x="2065" y="3223"/>
                  <a:pt x="2065" y="3217"/>
                </a:cubicBezTo>
                <a:cubicBezTo>
                  <a:pt x="2065" y="3211"/>
                  <a:pt x="2070" y="3207"/>
                  <a:pt x="2076" y="3207"/>
                </a:cubicBezTo>
                <a:close/>
                <a:moveTo>
                  <a:pt x="2140" y="3207"/>
                </a:moveTo>
                <a:lnTo>
                  <a:pt x="2140" y="3207"/>
                </a:lnTo>
                <a:cubicBezTo>
                  <a:pt x="2145" y="3207"/>
                  <a:pt x="2150" y="3211"/>
                  <a:pt x="2150" y="3217"/>
                </a:cubicBezTo>
                <a:cubicBezTo>
                  <a:pt x="2150" y="3223"/>
                  <a:pt x="2145" y="3228"/>
                  <a:pt x="2140" y="3228"/>
                </a:cubicBezTo>
                <a:lnTo>
                  <a:pt x="2140" y="3228"/>
                </a:lnTo>
                <a:cubicBezTo>
                  <a:pt x="2134" y="3228"/>
                  <a:pt x="2129" y="3223"/>
                  <a:pt x="2129" y="3217"/>
                </a:cubicBezTo>
                <a:cubicBezTo>
                  <a:pt x="2129" y="3211"/>
                  <a:pt x="2134" y="3207"/>
                  <a:pt x="2140" y="3207"/>
                </a:cubicBezTo>
                <a:close/>
                <a:moveTo>
                  <a:pt x="2204" y="3207"/>
                </a:moveTo>
                <a:lnTo>
                  <a:pt x="2204" y="3207"/>
                </a:lnTo>
                <a:cubicBezTo>
                  <a:pt x="2209" y="3207"/>
                  <a:pt x="2214" y="3211"/>
                  <a:pt x="2214" y="3217"/>
                </a:cubicBezTo>
                <a:cubicBezTo>
                  <a:pt x="2214" y="3223"/>
                  <a:pt x="2209" y="3228"/>
                  <a:pt x="2204" y="3228"/>
                </a:cubicBezTo>
                <a:lnTo>
                  <a:pt x="2204" y="3228"/>
                </a:lnTo>
                <a:cubicBezTo>
                  <a:pt x="2198" y="3228"/>
                  <a:pt x="2193" y="3223"/>
                  <a:pt x="2193" y="3217"/>
                </a:cubicBezTo>
                <a:cubicBezTo>
                  <a:pt x="2193" y="3211"/>
                  <a:pt x="2198" y="3207"/>
                  <a:pt x="2204" y="3207"/>
                </a:cubicBezTo>
                <a:close/>
                <a:moveTo>
                  <a:pt x="2268" y="3207"/>
                </a:moveTo>
                <a:lnTo>
                  <a:pt x="2268" y="3207"/>
                </a:lnTo>
                <a:cubicBezTo>
                  <a:pt x="2274" y="3207"/>
                  <a:pt x="2278" y="3211"/>
                  <a:pt x="2278" y="3217"/>
                </a:cubicBezTo>
                <a:cubicBezTo>
                  <a:pt x="2278" y="3223"/>
                  <a:pt x="2274" y="3228"/>
                  <a:pt x="2268" y="3228"/>
                </a:cubicBezTo>
                <a:lnTo>
                  <a:pt x="2268" y="3228"/>
                </a:lnTo>
                <a:cubicBezTo>
                  <a:pt x="2262" y="3228"/>
                  <a:pt x="2257" y="3223"/>
                  <a:pt x="2257" y="3217"/>
                </a:cubicBezTo>
                <a:cubicBezTo>
                  <a:pt x="2257" y="3211"/>
                  <a:pt x="2262" y="3207"/>
                  <a:pt x="2268" y="3207"/>
                </a:cubicBezTo>
                <a:close/>
                <a:moveTo>
                  <a:pt x="2332" y="3207"/>
                </a:moveTo>
                <a:lnTo>
                  <a:pt x="2332" y="3207"/>
                </a:lnTo>
                <a:cubicBezTo>
                  <a:pt x="2338" y="3207"/>
                  <a:pt x="2342" y="3211"/>
                  <a:pt x="2342" y="3217"/>
                </a:cubicBezTo>
                <a:cubicBezTo>
                  <a:pt x="2342" y="3223"/>
                  <a:pt x="2338" y="3228"/>
                  <a:pt x="2332" y="3228"/>
                </a:cubicBezTo>
                <a:lnTo>
                  <a:pt x="2332" y="3228"/>
                </a:lnTo>
                <a:cubicBezTo>
                  <a:pt x="2326" y="3228"/>
                  <a:pt x="2321" y="3223"/>
                  <a:pt x="2321" y="3217"/>
                </a:cubicBezTo>
                <a:cubicBezTo>
                  <a:pt x="2321" y="3211"/>
                  <a:pt x="2326" y="3207"/>
                  <a:pt x="2332" y="3207"/>
                </a:cubicBezTo>
                <a:close/>
                <a:moveTo>
                  <a:pt x="2396" y="3207"/>
                </a:moveTo>
                <a:lnTo>
                  <a:pt x="2396" y="3207"/>
                </a:lnTo>
                <a:cubicBezTo>
                  <a:pt x="2402" y="3207"/>
                  <a:pt x="2406" y="3211"/>
                  <a:pt x="2406" y="3217"/>
                </a:cubicBezTo>
                <a:cubicBezTo>
                  <a:pt x="2406" y="3223"/>
                  <a:pt x="2402" y="3228"/>
                  <a:pt x="2396" y="3228"/>
                </a:cubicBezTo>
                <a:lnTo>
                  <a:pt x="2396" y="3228"/>
                </a:lnTo>
                <a:cubicBezTo>
                  <a:pt x="2390" y="3228"/>
                  <a:pt x="2385" y="3223"/>
                  <a:pt x="2385" y="3217"/>
                </a:cubicBezTo>
                <a:cubicBezTo>
                  <a:pt x="2385" y="3211"/>
                  <a:pt x="2390" y="3207"/>
                  <a:pt x="2396" y="3207"/>
                </a:cubicBezTo>
                <a:close/>
                <a:moveTo>
                  <a:pt x="2460" y="3207"/>
                </a:moveTo>
                <a:lnTo>
                  <a:pt x="2460" y="3207"/>
                </a:lnTo>
                <a:cubicBezTo>
                  <a:pt x="2466" y="3207"/>
                  <a:pt x="2470" y="3211"/>
                  <a:pt x="2470" y="3217"/>
                </a:cubicBezTo>
                <a:cubicBezTo>
                  <a:pt x="2470" y="3223"/>
                  <a:pt x="2466" y="3228"/>
                  <a:pt x="2460" y="3228"/>
                </a:cubicBezTo>
                <a:lnTo>
                  <a:pt x="2460" y="3228"/>
                </a:lnTo>
                <a:cubicBezTo>
                  <a:pt x="2454" y="3228"/>
                  <a:pt x="2449" y="3223"/>
                  <a:pt x="2449" y="3217"/>
                </a:cubicBezTo>
                <a:cubicBezTo>
                  <a:pt x="2449" y="3211"/>
                  <a:pt x="2454" y="3207"/>
                  <a:pt x="2460" y="3207"/>
                </a:cubicBezTo>
                <a:close/>
                <a:moveTo>
                  <a:pt x="2524" y="3207"/>
                </a:moveTo>
                <a:lnTo>
                  <a:pt x="2524" y="3207"/>
                </a:lnTo>
                <a:cubicBezTo>
                  <a:pt x="2530" y="3207"/>
                  <a:pt x="2534" y="3211"/>
                  <a:pt x="2534" y="3217"/>
                </a:cubicBezTo>
                <a:cubicBezTo>
                  <a:pt x="2534" y="3223"/>
                  <a:pt x="2530" y="3228"/>
                  <a:pt x="2524" y="3228"/>
                </a:cubicBezTo>
                <a:lnTo>
                  <a:pt x="2524" y="3228"/>
                </a:lnTo>
                <a:cubicBezTo>
                  <a:pt x="2518" y="3228"/>
                  <a:pt x="2513" y="3223"/>
                  <a:pt x="2513" y="3217"/>
                </a:cubicBezTo>
                <a:cubicBezTo>
                  <a:pt x="2513" y="3211"/>
                  <a:pt x="2518" y="3207"/>
                  <a:pt x="2524" y="3207"/>
                </a:cubicBezTo>
                <a:close/>
                <a:moveTo>
                  <a:pt x="2588" y="3207"/>
                </a:moveTo>
                <a:lnTo>
                  <a:pt x="2588" y="3207"/>
                </a:lnTo>
                <a:cubicBezTo>
                  <a:pt x="2594" y="3207"/>
                  <a:pt x="2598" y="3211"/>
                  <a:pt x="2598" y="3217"/>
                </a:cubicBezTo>
                <a:cubicBezTo>
                  <a:pt x="2598" y="3223"/>
                  <a:pt x="2594" y="3228"/>
                  <a:pt x="2588" y="3228"/>
                </a:cubicBezTo>
                <a:lnTo>
                  <a:pt x="2588" y="3228"/>
                </a:lnTo>
                <a:cubicBezTo>
                  <a:pt x="2582" y="3228"/>
                  <a:pt x="2577" y="3223"/>
                  <a:pt x="2577" y="3217"/>
                </a:cubicBezTo>
                <a:cubicBezTo>
                  <a:pt x="2577" y="3211"/>
                  <a:pt x="2582" y="3207"/>
                  <a:pt x="2588" y="3207"/>
                </a:cubicBezTo>
                <a:close/>
                <a:moveTo>
                  <a:pt x="2652" y="3207"/>
                </a:moveTo>
                <a:lnTo>
                  <a:pt x="2652" y="3207"/>
                </a:lnTo>
                <a:cubicBezTo>
                  <a:pt x="2658" y="3207"/>
                  <a:pt x="2662" y="3211"/>
                  <a:pt x="2662" y="3217"/>
                </a:cubicBezTo>
                <a:cubicBezTo>
                  <a:pt x="2662" y="3223"/>
                  <a:pt x="2658" y="3228"/>
                  <a:pt x="2652" y="3228"/>
                </a:cubicBezTo>
                <a:lnTo>
                  <a:pt x="2652" y="3228"/>
                </a:lnTo>
                <a:cubicBezTo>
                  <a:pt x="2646" y="3228"/>
                  <a:pt x="2641" y="3223"/>
                  <a:pt x="2641" y="3217"/>
                </a:cubicBezTo>
                <a:cubicBezTo>
                  <a:pt x="2641" y="3211"/>
                  <a:pt x="2646" y="3207"/>
                  <a:pt x="2652" y="3207"/>
                </a:cubicBezTo>
                <a:close/>
                <a:moveTo>
                  <a:pt x="2716" y="3207"/>
                </a:moveTo>
                <a:lnTo>
                  <a:pt x="2716" y="3207"/>
                </a:lnTo>
                <a:cubicBezTo>
                  <a:pt x="2722" y="3207"/>
                  <a:pt x="2726" y="3211"/>
                  <a:pt x="2726" y="3217"/>
                </a:cubicBezTo>
                <a:cubicBezTo>
                  <a:pt x="2726" y="3223"/>
                  <a:pt x="2722" y="3228"/>
                  <a:pt x="2716" y="3228"/>
                </a:cubicBezTo>
                <a:lnTo>
                  <a:pt x="2716" y="3228"/>
                </a:lnTo>
                <a:cubicBezTo>
                  <a:pt x="2710" y="3228"/>
                  <a:pt x="2705" y="3223"/>
                  <a:pt x="2705" y="3217"/>
                </a:cubicBezTo>
                <a:cubicBezTo>
                  <a:pt x="2705" y="3211"/>
                  <a:pt x="2710" y="3207"/>
                  <a:pt x="2716" y="3207"/>
                </a:cubicBezTo>
                <a:close/>
                <a:moveTo>
                  <a:pt x="2780" y="3207"/>
                </a:moveTo>
                <a:lnTo>
                  <a:pt x="2780" y="3207"/>
                </a:lnTo>
                <a:cubicBezTo>
                  <a:pt x="2786" y="3207"/>
                  <a:pt x="2790" y="3211"/>
                  <a:pt x="2790" y="3217"/>
                </a:cubicBezTo>
                <a:cubicBezTo>
                  <a:pt x="2790" y="3223"/>
                  <a:pt x="2786" y="3228"/>
                  <a:pt x="2780" y="3228"/>
                </a:cubicBezTo>
                <a:lnTo>
                  <a:pt x="2780" y="3228"/>
                </a:lnTo>
                <a:cubicBezTo>
                  <a:pt x="2774" y="3228"/>
                  <a:pt x="2769" y="3223"/>
                  <a:pt x="2769" y="3217"/>
                </a:cubicBezTo>
                <a:cubicBezTo>
                  <a:pt x="2769" y="3211"/>
                  <a:pt x="2774" y="3207"/>
                  <a:pt x="2780" y="3207"/>
                </a:cubicBezTo>
                <a:close/>
                <a:moveTo>
                  <a:pt x="2844" y="3207"/>
                </a:moveTo>
                <a:lnTo>
                  <a:pt x="2844" y="3207"/>
                </a:lnTo>
                <a:cubicBezTo>
                  <a:pt x="2850" y="3207"/>
                  <a:pt x="2854" y="3211"/>
                  <a:pt x="2854" y="3217"/>
                </a:cubicBezTo>
                <a:cubicBezTo>
                  <a:pt x="2854" y="3223"/>
                  <a:pt x="2850" y="3228"/>
                  <a:pt x="2844" y="3228"/>
                </a:cubicBezTo>
                <a:lnTo>
                  <a:pt x="2844" y="3228"/>
                </a:lnTo>
                <a:cubicBezTo>
                  <a:pt x="2838" y="3228"/>
                  <a:pt x="2833" y="3223"/>
                  <a:pt x="2833" y="3217"/>
                </a:cubicBezTo>
                <a:cubicBezTo>
                  <a:pt x="2833" y="3211"/>
                  <a:pt x="2838" y="3207"/>
                  <a:pt x="2844" y="3207"/>
                </a:cubicBezTo>
                <a:close/>
                <a:moveTo>
                  <a:pt x="2908" y="3207"/>
                </a:moveTo>
                <a:lnTo>
                  <a:pt x="2908" y="3207"/>
                </a:lnTo>
                <a:cubicBezTo>
                  <a:pt x="2914" y="3207"/>
                  <a:pt x="2918" y="3211"/>
                  <a:pt x="2918" y="3217"/>
                </a:cubicBezTo>
                <a:cubicBezTo>
                  <a:pt x="2918" y="3223"/>
                  <a:pt x="2914" y="3228"/>
                  <a:pt x="2908" y="3228"/>
                </a:cubicBezTo>
                <a:lnTo>
                  <a:pt x="2908" y="3228"/>
                </a:lnTo>
                <a:cubicBezTo>
                  <a:pt x="2902" y="3228"/>
                  <a:pt x="2897" y="3223"/>
                  <a:pt x="2897" y="3217"/>
                </a:cubicBezTo>
                <a:cubicBezTo>
                  <a:pt x="2897" y="3211"/>
                  <a:pt x="2902" y="3207"/>
                  <a:pt x="2908" y="3207"/>
                </a:cubicBezTo>
                <a:close/>
                <a:moveTo>
                  <a:pt x="2972" y="3207"/>
                </a:moveTo>
                <a:lnTo>
                  <a:pt x="2972" y="3207"/>
                </a:lnTo>
                <a:cubicBezTo>
                  <a:pt x="2978" y="3207"/>
                  <a:pt x="2983" y="3211"/>
                  <a:pt x="2983" y="3217"/>
                </a:cubicBezTo>
                <a:cubicBezTo>
                  <a:pt x="2983" y="3223"/>
                  <a:pt x="2978" y="3228"/>
                  <a:pt x="2972" y="3228"/>
                </a:cubicBezTo>
                <a:lnTo>
                  <a:pt x="2972" y="3228"/>
                </a:lnTo>
                <a:cubicBezTo>
                  <a:pt x="2966" y="3228"/>
                  <a:pt x="2961" y="3223"/>
                  <a:pt x="2961" y="3217"/>
                </a:cubicBezTo>
                <a:cubicBezTo>
                  <a:pt x="2961" y="3211"/>
                  <a:pt x="2966" y="3207"/>
                  <a:pt x="2972" y="3207"/>
                </a:cubicBezTo>
                <a:close/>
                <a:moveTo>
                  <a:pt x="3036" y="3207"/>
                </a:moveTo>
                <a:lnTo>
                  <a:pt x="3036" y="3207"/>
                </a:lnTo>
                <a:cubicBezTo>
                  <a:pt x="3042" y="3207"/>
                  <a:pt x="3047" y="3211"/>
                  <a:pt x="3047" y="3217"/>
                </a:cubicBezTo>
                <a:cubicBezTo>
                  <a:pt x="3047" y="3223"/>
                  <a:pt x="3042" y="3228"/>
                  <a:pt x="3036" y="3228"/>
                </a:cubicBezTo>
                <a:lnTo>
                  <a:pt x="3036" y="3228"/>
                </a:lnTo>
                <a:cubicBezTo>
                  <a:pt x="3030" y="3228"/>
                  <a:pt x="3025" y="3223"/>
                  <a:pt x="3025" y="3217"/>
                </a:cubicBezTo>
                <a:cubicBezTo>
                  <a:pt x="3025" y="3211"/>
                  <a:pt x="3030" y="3207"/>
                  <a:pt x="3036" y="3207"/>
                </a:cubicBezTo>
                <a:close/>
                <a:moveTo>
                  <a:pt x="3100" y="3207"/>
                </a:moveTo>
                <a:lnTo>
                  <a:pt x="3100" y="3207"/>
                </a:lnTo>
                <a:cubicBezTo>
                  <a:pt x="3106" y="3207"/>
                  <a:pt x="3111" y="3211"/>
                  <a:pt x="3111" y="3217"/>
                </a:cubicBezTo>
                <a:cubicBezTo>
                  <a:pt x="3111" y="3223"/>
                  <a:pt x="3106" y="3228"/>
                  <a:pt x="3100" y="3228"/>
                </a:cubicBezTo>
                <a:lnTo>
                  <a:pt x="3100" y="3228"/>
                </a:lnTo>
                <a:cubicBezTo>
                  <a:pt x="3094" y="3228"/>
                  <a:pt x="3089" y="3223"/>
                  <a:pt x="3089" y="3217"/>
                </a:cubicBezTo>
                <a:cubicBezTo>
                  <a:pt x="3089" y="3211"/>
                  <a:pt x="3094" y="3207"/>
                  <a:pt x="3100" y="3207"/>
                </a:cubicBezTo>
                <a:close/>
                <a:moveTo>
                  <a:pt x="3164" y="3207"/>
                </a:moveTo>
                <a:lnTo>
                  <a:pt x="3164" y="3207"/>
                </a:lnTo>
                <a:cubicBezTo>
                  <a:pt x="3170" y="3207"/>
                  <a:pt x="3175" y="3211"/>
                  <a:pt x="3175" y="3217"/>
                </a:cubicBezTo>
                <a:cubicBezTo>
                  <a:pt x="3175" y="3223"/>
                  <a:pt x="3170" y="3228"/>
                  <a:pt x="3164" y="3228"/>
                </a:cubicBezTo>
                <a:lnTo>
                  <a:pt x="3164" y="3228"/>
                </a:lnTo>
                <a:cubicBezTo>
                  <a:pt x="3158" y="3228"/>
                  <a:pt x="3153" y="3223"/>
                  <a:pt x="3153" y="3217"/>
                </a:cubicBezTo>
                <a:cubicBezTo>
                  <a:pt x="3153" y="3211"/>
                  <a:pt x="3158" y="3207"/>
                  <a:pt x="3164" y="3207"/>
                </a:cubicBezTo>
                <a:close/>
                <a:moveTo>
                  <a:pt x="3228" y="3207"/>
                </a:moveTo>
                <a:lnTo>
                  <a:pt x="3228" y="3207"/>
                </a:lnTo>
                <a:cubicBezTo>
                  <a:pt x="3234" y="3207"/>
                  <a:pt x="3239" y="3211"/>
                  <a:pt x="3239" y="3217"/>
                </a:cubicBezTo>
                <a:cubicBezTo>
                  <a:pt x="3239" y="3223"/>
                  <a:pt x="3234" y="3228"/>
                  <a:pt x="3228" y="3228"/>
                </a:cubicBezTo>
                <a:lnTo>
                  <a:pt x="3228" y="3228"/>
                </a:lnTo>
                <a:cubicBezTo>
                  <a:pt x="3222" y="3228"/>
                  <a:pt x="3217" y="3223"/>
                  <a:pt x="3217" y="3217"/>
                </a:cubicBezTo>
                <a:cubicBezTo>
                  <a:pt x="3217" y="3211"/>
                  <a:pt x="3222" y="3207"/>
                  <a:pt x="3228" y="3207"/>
                </a:cubicBezTo>
                <a:close/>
                <a:moveTo>
                  <a:pt x="3292" y="3207"/>
                </a:moveTo>
                <a:lnTo>
                  <a:pt x="3292" y="3207"/>
                </a:lnTo>
                <a:cubicBezTo>
                  <a:pt x="3298" y="3207"/>
                  <a:pt x="3303" y="3211"/>
                  <a:pt x="3303" y="3217"/>
                </a:cubicBezTo>
                <a:cubicBezTo>
                  <a:pt x="3303" y="3223"/>
                  <a:pt x="3298" y="3228"/>
                  <a:pt x="3292" y="3228"/>
                </a:cubicBezTo>
                <a:lnTo>
                  <a:pt x="3292" y="3228"/>
                </a:lnTo>
                <a:cubicBezTo>
                  <a:pt x="3286" y="3228"/>
                  <a:pt x="3281" y="3223"/>
                  <a:pt x="3281" y="3217"/>
                </a:cubicBezTo>
                <a:cubicBezTo>
                  <a:pt x="3281" y="3211"/>
                  <a:pt x="3286" y="3207"/>
                  <a:pt x="3292" y="3207"/>
                </a:cubicBezTo>
                <a:close/>
                <a:moveTo>
                  <a:pt x="3356" y="3207"/>
                </a:moveTo>
                <a:lnTo>
                  <a:pt x="3356" y="3207"/>
                </a:lnTo>
                <a:cubicBezTo>
                  <a:pt x="3362" y="3207"/>
                  <a:pt x="3367" y="3211"/>
                  <a:pt x="3367" y="3217"/>
                </a:cubicBezTo>
                <a:cubicBezTo>
                  <a:pt x="3367" y="3223"/>
                  <a:pt x="3362" y="3228"/>
                  <a:pt x="3356" y="3228"/>
                </a:cubicBezTo>
                <a:lnTo>
                  <a:pt x="3356" y="3228"/>
                </a:lnTo>
                <a:cubicBezTo>
                  <a:pt x="3350" y="3228"/>
                  <a:pt x="3345" y="3223"/>
                  <a:pt x="3345" y="3217"/>
                </a:cubicBezTo>
                <a:cubicBezTo>
                  <a:pt x="3345" y="3211"/>
                  <a:pt x="3350" y="3207"/>
                  <a:pt x="3356" y="3207"/>
                </a:cubicBezTo>
                <a:close/>
                <a:moveTo>
                  <a:pt x="3420" y="3207"/>
                </a:moveTo>
                <a:lnTo>
                  <a:pt x="3420" y="3207"/>
                </a:lnTo>
                <a:cubicBezTo>
                  <a:pt x="3426" y="3207"/>
                  <a:pt x="3431" y="3211"/>
                  <a:pt x="3431" y="3217"/>
                </a:cubicBezTo>
                <a:cubicBezTo>
                  <a:pt x="3431" y="3223"/>
                  <a:pt x="3426" y="3228"/>
                  <a:pt x="3420" y="3228"/>
                </a:cubicBezTo>
                <a:lnTo>
                  <a:pt x="3420" y="3228"/>
                </a:lnTo>
                <a:cubicBezTo>
                  <a:pt x="3414" y="3228"/>
                  <a:pt x="3409" y="3223"/>
                  <a:pt x="3409" y="3217"/>
                </a:cubicBezTo>
                <a:cubicBezTo>
                  <a:pt x="3409" y="3211"/>
                  <a:pt x="3414" y="3207"/>
                  <a:pt x="3420" y="3207"/>
                </a:cubicBezTo>
                <a:close/>
                <a:moveTo>
                  <a:pt x="3484" y="3207"/>
                </a:moveTo>
                <a:lnTo>
                  <a:pt x="3484" y="3207"/>
                </a:lnTo>
                <a:cubicBezTo>
                  <a:pt x="3490" y="3207"/>
                  <a:pt x="3495" y="3211"/>
                  <a:pt x="3495" y="3217"/>
                </a:cubicBezTo>
                <a:cubicBezTo>
                  <a:pt x="3495" y="3223"/>
                  <a:pt x="3490" y="3228"/>
                  <a:pt x="3484" y="3228"/>
                </a:cubicBezTo>
                <a:lnTo>
                  <a:pt x="3484" y="3228"/>
                </a:lnTo>
                <a:cubicBezTo>
                  <a:pt x="3478" y="3228"/>
                  <a:pt x="3473" y="3223"/>
                  <a:pt x="3473" y="3217"/>
                </a:cubicBezTo>
                <a:cubicBezTo>
                  <a:pt x="3473" y="3211"/>
                  <a:pt x="3478" y="3207"/>
                  <a:pt x="3484" y="3207"/>
                </a:cubicBezTo>
                <a:close/>
                <a:moveTo>
                  <a:pt x="3548" y="3207"/>
                </a:moveTo>
                <a:lnTo>
                  <a:pt x="3548" y="3207"/>
                </a:lnTo>
                <a:cubicBezTo>
                  <a:pt x="3554" y="3207"/>
                  <a:pt x="3559" y="3211"/>
                  <a:pt x="3559" y="3217"/>
                </a:cubicBezTo>
                <a:cubicBezTo>
                  <a:pt x="3559" y="3223"/>
                  <a:pt x="3554" y="3228"/>
                  <a:pt x="3548" y="3228"/>
                </a:cubicBezTo>
                <a:lnTo>
                  <a:pt x="3548" y="3228"/>
                </a:lnTo>
                <a:cubicBezTo>
                  <a:pt x="3542" y="3228"/>
                  <a:pt x="3537" y="3223"/>
                  <a:pt x="3537" y="3217"/>
                </a:cubicBezTo>
                <a:cubicBezTo>
                  <a:pt x="3537" y="3211"/>
                  <a:pt x="3542" y="3207"/>
                  <a:pt x="3548" y="3207"/>
                </a:cubicBezTo>
                <a:close/>
                <a:moveTo>
                  <a:pt x="3612" y="3207"/>
                </a:moveTo>
                <a:lnTo>
                  <a:pt x="3612" y="3207"/>
                </a:lnTo>
                <a:cubicBezTo>
                  <a:pt x="3618" y="3207"/>
                  <a:pt x="3623" y="3211"/>
                  <a:pt x="3623" y="3217"/>
                </a:cubicBezTo>
                <a:cubicBezTo>
                  <a:pt x="3623" y="3223"/>
                  <a:pt x="3618" y="3228"/>
                  <a:pt x="3612" y="3228"/>
                </a:cubicBezTo>
                <a:lnTo>
                  <a:pt x="3612" y="3228"/>
                </a:lnTo>
                <a:cubicBezTo>
                  <a:pt x="3606" y="3228"/>
                  <a:pt x="3601" y="3223"/>
                  <a:pt x="3601" y="3217"/>
                </a:cubicBezTo>
                <a:cubicBezTo>
                  <a:pt x="3601" y="3211"/>
                  <a:pt x="3606" y="3207"/>
                  <a:pt x="3612" y="3207"/>
                </a:cubicBezTo>
                <a:close/>
                <a:moveTo>
                  <a:pt x="3676" y="3207"/>
                </a:moveTo>
                <a:lnTo>
                  <a:pt x="3676" y="3207"/>
                </a:lnTo>
                <a:cubicBezTo>
                  <a:pt x="3682" y="3207"/>
                  <a:pt x="3687" y="3211"/>
                  <a:pt x="3687" y="3217"/>
                </a:cubicBezTo>
                <a:cubicBezTo>
                  <a:pt x="3687" y="3223"/>
                  <a:pt x="3682" y="3228"/>
                  <a:pt x="3676" y="3228"/>
                </a:cubicBezTo>
                <a:lnTo>
                  <a:pt x="3676" y="3228"/>
                </a:lnTo>
                <a:cubicBezTo>
                  <a:pt x="3670" y="3228"/>
                  <a:pt x="3665" y="3223"/>
                  <a:pt x="3665" y="3217"/>
                </a:cubicBezTo>
                <a:cubicBezTo>
                  <a:pt x="3665" y="3211"/>
                  <a:pt x="3670" y="3207"/>
                  <a:pt x="3676" y="3207"/>
                </a:cubicBezTo>
                <a:close/>
                <a:moveTo>
                  <a:pt x="3740" y="3207"/>
                </a:moveTo>
                <a:lnTo>
                  <a:pt x="3740" y="3207"/>
                </a:lnTo>
                <a:cubicBezTo>
                  <a:pt x="3746" y="3207"/>
                  <a:pt x="3751" y="3211"/>
                  <a:pt x="3751" y="3217"/>
                </a:cubicBezTo>
                <a:cubicBezTo>
                  <a:pt x="3751" y="3223"/>
                  <a:pt x="3746" y="3228"/>
                  <a:pt x="3740" y="3228"/>
                </a:cubicBezTo>
                <a:lnTo>
                  <a:pt x="3740" y="3228"/>
                </a:lnTo>
                <a:cubicBezTo>
                  <a:pt x="3734" y="3228"/>
                  <a:pt x="3729" y="3223"/>
                  <a:pt x="3729" y="3217"/>
                </a:cubicBezTo>
                <a:cubicBezTo>
                  <a:pt x="3729" y="3211"/>
                  <a:pt x="3734" y="3207"/>
                  <a:pt x="3740" y="3207"/>
                </a:cubicBezTo>
                <a:close/>
                <a:moveTo>
                  <a:pt x="3804" y="3207"/>
                </a:moveTo>
                <a:lnTo>
                  <a:pt x="3804" y="3207"/>
                </a:lnTo>
                <a:cubicBezTo>
                  <a:pt x="3810" y="3207"/>
                  <a:pt x="3815" y="3211"/>
                  <a:pt x="3815" y="3217"/>
                </a:cubicBezTo>
                <a:cubicBezTo>
                  <a:pt x="3815" y="3223"/>
                  <a:pt x="3810" y="3228"/>
                  <a:pt x="3804" y="3228"/>
                </a:cubicBezTo>
                <a:lnTo>
                  <a:pt x="3804" y="3228"/>
                </a:lnTo>
                <a:cubicBezTo>
                  <a:pt x="3798" y="3228"/>
                  <a:pt x="3793" y="3223"/>
                  <a:pt x="3793" y="3217"/>
                </a:cubicBezTo>
                <a:cubicBezTo>
                  <a:pt x="3793" y="3211"/>
                  <a:pt x="3798" y="3207"/>
                  <a:pt x="3804" y="3207"/>
                </a:cubicBezTo>
                <a:close/>
                <a:moveTo>
                  <a:pt x="3868" y="3207"/>
                </a:moveTo>
                <a:lnTo>
                  <a:pt x="3868" y="3207"/>
                </a:lnTo>
                <a:cubicBezTo>
                  <a:pt x="3874" y="3207"/>
                  <a:pt x="3879" y="3211"/>
                  <a:pt x="3879" y="3217"/>
                </a:cubicBezTo>
                <a:cubicBezTo>
                  <a:pt x="3879" y="3223"/>
                  <a:pt x="3874" y="3228"/>
                  <a:pt x="3868" y="3228"/>
                </a:cubicBezTo>
                <a:lnTo>
                  <a:pt x="3868" y="3228"/>
                </a:lnTo>
                <a:cubicBezTo>
                  <a:pt x="3862" y="3228"/>
                  <a:pt x="3857" y="3223"/>
                  <a:pt x="3857" y="3217"/>
                </a:cubicBezTo>
                <a:cubicBezTo>
                  <a:pt x="3857" y="3211"/>
                  <a:pt x="3862" y="3207"/>
                  <a:pt x="3868" y="3207"/>
                </a:cubicBezTo>
                <a:close/>
                <a:moveTo>
                  <a:pt x="3932" y="3207"/>
                </a:moveTo>
                <a:lnTo>
                  <a:pt x="3932" y="3207"/>
                </a:lnTo>
                <a:cubicBezTo>
                  <a:pt x="3938" y="3207"/>
                  <a:pt x="3943" y="3211"/>
                  <a:pt x="3943" y="3217"/>
                </a:cubicBezTo>
                <a:cubicBezTo>
                  <a:pt x="3943" y="3223"/>
                  <a:pt x="3938" y="3228"/>
                  <a:pt x="3932" y="3228"/>
                </a:cubicBezTo>
                <a:lnTo>
                  <a:pt x="3932" y="3228"/>
                </a:lnTo>
                <a:cubicBezTo>
                  <a:pt x="3926" y="3228"/>
                  <a:pt x="3921" y="3223"/>
                  <a:pt x="3921" y="3217"/>
                </a:cubicBezTo>
                <a:cubicBezTo>
                  <a:pt x="3921" y="3211"/>
                  <a:pt x="3926" y="3207"/>
                  <a:pt x="3932" y="3207"/>
                </a:cubicBezTo>
                <a:close/>
                <a:moveTo>
                  <a:pt x="3996" y="3207"/>
                </a:moveTo>
                <a:lnTo>
                  <a:pt x="3996" y="3207"/>
                </a:lnTo>
                <a:cubicBezTo>
                  <a:pt x="4002" y="3207"/>
                  <a:pt x="4007" y="3211"/>
                  <a:pt x="4007" y="3217"/>
                </a:cubicBezTo>
                <a:cubicBezTo>
                  <a:pt x="4007" y="3223"/>
                  <a:pt x="4002" y="3228"/>
                  <a:pt x="3996" y="3228"/>
                </a:cubicBezTo>
                <a:lnTo>
                  <a:pt x="3996" y="3228"/>
                </a:lnTo>
                <a:cubicBezTo>
                  <a:pt x="3990" y="3228"/>
                  <a:pt x="3985" y="3223"/>
                  <a:pt x="3985" y="3217"/>
                </a:cubicBezTo>
                <a:cubicBezTo>
                  <a:pt x="3985" y="3211"/>
                  <a:pt x="3990" y="3207"/>
                  <a:pt x="3996" y="3207"/>
                </a:cubicBezTo>
                <a:close/>
                <a:moveTo>
                  <a:pt x="4060" y="3207"/>
                </a:moveTo>
                <a:lnTo>
                  <a:pt x="4060" y="3207"/>
                </a:lnTo>
                <a:cubicBezTo>
                  <a:pt x="4066" y="3207"/>
                  <a:pt x="4071" y="3211"/>
                  <a:pt x="4071" y="3217"/>
                </a:cubicBezTo>
                <a:cubicBezTo>
                  <a:pt x="4071" y="3223"/>
                  <a:pt x="4066" y="3228"/>
                  <a:pt x="4060" y="3228"/>
                </a:cubicBezTo>
                <a:lnTo>
                  <a:pt x="4060" y="3228"/>
                </a:lnTo>
                <a:cubicBezTo>
                  <a:pt x="4054" y="3228"/>
                  <a:pt x="4050" y="3223"/>
                  <a:pt x="4050" y="3217"/>
                </a:cubicBezTo>
                <a:cubicBezTo>
                  <a:pt x="4050" y="3211"/>
                  <a:pt x="4054" y="3207"/>
                  <a:pt x="4060" y="3207"/>
                </a:cubicBezTo>
                <a:close/>
                <a:moveTo>
                  <a:pt x="4124" y="3207"/>
                </a:moveTo>
                <a:lnTo>
                  <a:pt x="4124" y="3207"/>
                </a:lnTo>
                <a:cubicBezTo>
                  <a:pt x="4130" y="3207"/>
                  <a:pt x="4135" y="3211"/>
                  <a:pt x="4135" y="3217"/>
                </a:cubicBezTo>
                <a:cubicBezTo>
                  <a:pt x="4135" y="3223"/>
                  <a:pt x="4130" y="3228"/>
                  <a:pt x="4124" y="3228"/>
                </a:cubicBezTo>
                <a:lnTo>
                  <a:pt x="4124" y="3228"/>
                </a:lnTo>
                <a:cubicBezTo>
                  <a:pt x="4118" y="3228"/>
                  <a:pt x="4114" y="3223"/>
                  <a:pt x="4114" y="3217"/>
                </a:cubicBezTo>
                <a:cubicBezTo>
                  <a:pt x="4114" y="3211"/>
                  <a:pt x="4118" y="3207"/>
                  <a:pt x="4124" y="3207"/>
                </a:cubicBezTo>
                <a:close/>
                <a:moveTo>
                  <a:pt x="4188" y="3207"/>
                </a:moveTo>
                <a:lnTo>
                  <a:pt x="4188" y="3207"/>
                </a:lnTo>
                <a:cubicBezTo>
                  <a:pt x="4194" y="3207"/>
                  <a:pt x="4199" y="3211"/>
                  <a:pt x="4199" y="3217"/>
                </a:cubicBezTo>
                <a:cubicBezTo>
                  <a:pt x="4199" y="3223"/>
                  <a:pt x="4194" y="3228"/>
                  <a:pt x="4188" y="3228"/>
                </a:cubicBezTo>
                <a:lnTo>
                  <a:pt x="4188" y="3228"/>
                </a:lnTo>
                <a:cubicBezTo>
                  <a:pt x="4182" y="3228"/>
                  <a:pt x="4178" y="3223"/>
                  <a:pt x="4178" y="3217"/>
                </a:cubicBezTo>
                <a:cubicBezTo>
                  <a:pt x="4178" y="3211"/>
                  <a:pt x="4182" y="3207"/>
                  <a:pt x="4188" y="3207"/>
                </a:cubicBezTo>
                <a:close/>
                <a:moveTo>
                  <a:pt x="4252" y="3207"/>
                </a:moveTo>
                <a:lnTo>
                  <a:pt x="4252" y="3207"/>
                </a:lnTo>
                <a:cubicBezTo>
                  <a:pt x="4258" y="3207"/>
                  <a:pt x="4263" y="3211"/>
                  <a:pt x="4263" y="3217"/>
                </a:cubicBezTo>
                <a:cubicBezTo>
                  <a:pt x="4263" y="3223"/>
                  <a:pt x="4258" y="3228"/>
                  <a:pt x="4252" y="3228"/>
                </a:cubicBezTo>
                <a:lnTo>
                  <a:pt x="4252" y="3228"/>
                </a:lnTo>
                <a:cubicBezTo>
                  <a:pt x="4246" y="3228"/>
                  <a:pt x="4242" y="3223"/>
                  <a:pt x="4242" y="3217"/>
                </a:cubicBezTo>
                <a:cubicBezTo>
                  <a:pt x="4242" y="3211"/>
                  <a:pt x="4246" y="3207"/>
                  <a:pt x="4252" y="3207"/>
                </a:cubicBezTo>
                <a:close/>
                <a:moveTo>
                  <a:pt x="4316" y="3207"/>
                </a:moveTo>
                <a:lnTo>
                  <a:pt x="4316" y="3207"/>
                </a:lnTo>
                <a:cubicBezTo>
                  <a:pt x="4322" y="3207"/>
                  <a:pt x="4327" y="3211"/>
                  <a:pt x="4327" y="3217"/>
                </a:cubicBezTo>
                <a:cubicBezTo>
                  <a:pt x="4327" y="3223"/>
                  <a:pt x="4322" y="3228"/>
                  <a:pt x="4316" y="3228"/>
                </a:cubicBezTo>
                <a:lnTo>
                  <a:pt x="4316" y="3228"/>
                </a:lnTo>
                <a:cubicBezTo>
                  <a:pt x="4310" y="3228"/>
                  <a:pt x="4306" y="3223"/>
                  <a:pt x="4306" y="3217"/>
                </a:cubicBezTo>
                <a:cubicBezTo>
                  <a:pt x="4306" y="3211"/>
                  <a:pt x="4310" y="3207"/>
                  <a:pt x="4316" y="3207"/>
                </a:cubicBezTo>
                <a:close/>
                <a:moveTo>
                  <a:pt x="4380" y="3207"/>
                </a:moveTo>
                <a:lnTo>
                  <a:pt x="4380" y="3207"/>
                </a:lnTo>
                <a:cubicBezTo>
                  <a:pt x="4386" y="3207"/>
                  <a:pt x="4391" y="3211"/>
                  <a:pt x="4391" y="3217"/>
                </a:cubicBezTo>
                <a:cubicBezTo>
                  <a:pt x="4391" y="3223"/>
                  <a:pt x="4386" y="3228"/>
                  <a:pt x="4380" y="3228"/>
                </a:cubicBezTo>
                <a:lnTo>
                  <a:pt x="4380" y="3228"/>
                </a:lnTo>
                <a:cubicBezTo>
                  <a:pt x="4374" y="3228"/>
                  <a:pt x="4370" y="3223"/>
                  <a:pt x="4370" y="3217"/>
                </a:cubicBezTo>
                <a:cubicBezTo>
                  <a:pt x="4370" y="3211"/>
                  <a:pt x="4374" y="3207"/>
                  <a:pt x="4380" y="3207"/>
                </a:cubicBezTo>
                <a:close/>
                <a:moveTo>
                  <a:pt x="4444" y="3207"/>
                </a:moveTo>
                <a:lnTo>
                  <a:pt x="4444" y="3207"/>
                </a:lnTo>
                <a:cubicBezTo>
                  <a:pt x="4450" y="3207"/>
                  <a:pt x="4455" y="3211"/>
                  <a:pt x="4455" y="3217"/>
                </a:cubicBezTo>
                <a:cubicBezTo>
                  <a:pt x="4455" y="3223"/>
                  <a:pt x="4450" y="3228"/>
                  <a:pt x="4444" y="3228"/>
                </a:cubicBezTo>
                <a:lnTo>
                  <a:pt x="4444" y="3228"/>
                </a:lnTo>
                <a:cubicBezTo>
                  <a:pt x="4438" y="3228"/>
                  <a:pt x="4434" y="3223"/>
                  <a:pt x="4434" y="3217"/>
                </a:cubicBezTo>
                <a:cubicBezTo>
                  <a:pt x="4434" y="3211"/>
                  <a:pt x="4438" y="3207"/>
                  <a:pt x="4444" y="3207"/>
                </a:cubicBezTo>
                <a:close/>
                <a:moveTo>
                  <a:pt x="4508" y="3207"/>
                </a:moveTo>
                <a:lnTo>
                  <a:pt x="4508" y="3207"/>
                </a:lnTo>
                <a:cubicBezTo>
                  <a:pt x="4514" y="3207"/>
                  <a:pt x="4519" y="3211"/>
                  <a:pt x="4519" y="3217"/>
                </a:cubicBezTo>
                <a:cubicBezTo>
                  <a:pt x="4519" y="3223"/>
                  <a:pt x="4514" y="3228"/>
                  <a:pt x="4508" y="3228"/>
                </a:cubicBezTo>
                <a:lnTo>
                  <a:pt x="4508" y="3228"/>
                </a:lnTo>
                <a:cubicBezTo>
                  <a:pt x="4502" y="3228"/>
                  <a:pt x="4498" y="3223"/>
                  <a:pt x="4498" y="3217"/>
                </a:cubicBezTo>
                <a:cubicBezTo>
                  <a:pt x="4498" y="3211"/>
                  <a:pt x="4502" y="3207"/>
                  <a:pt x="4508" y="3207"/>
                </a:cubicBezTo>
                <a:close/>
                <a:moveTo>
                  <a:pt x="4572" y="3207"/>
                </a:moveTo>
                <a:lnTo>
                  <a:pt x="4572" y="3207"/>
                </a:lnTo>
                <a:cubicBezTo>
                  <a:pt x="4578" y="3207"/>
                  <a:pt x="4583" y="3211"/>
                  <a:pt x="4583" y="3217"/>
                </a:cubicBezTo>
                <a:cubicBezTo>
                  <a:pt x="4583" y="3223"/>
                  <a:pt x="4578" y="3228"/>
                  <a:pt x="4572" y="3228"/>
                </a:cubicBezTo>
                <a:lnTo>
                  <a:pt x="4572" y="3228"/>
                </a:lnTo>
                <a:cubicBezTo>
                  <a:pt x="4566" y="3228"/>
                  <a:pt x="4562" y="3223"/>
                  <a:pt x="4562" y="3217"/>
                </a:cubicBezTo>
                <a:cubicBezTo>
                  <a:pt x="4562" y="3211"/>
                  <a:pt x="4566" y="3207"/>
                  <a:pt x="4572" y="3207"/>
                </a:cubicBezTo>
                <a:close/>
                <a:moveTo>
                  <a:pt x="4636" y="3207"/>
                </a:moveTo>
                <a:lnTo>
                  <a:pt x="4636" y="3207"/>
                </a:lnTo>
                <a:cubicBezTo>
                  <a:pt x="4642" y="3207"/>
                  <a:pt x="4647" y="3211"/>
                  <a:pt x="4647" y="3217"/>
                </a:cubicBezTo>
                <a:cubicBezTo>
                  <a:pt x="4647" y="3223"/>
                  <a:pt x="4642" y="3228"/>
                  <a:pt x="4636" y="3228"/>
                </a:cubicBezTo>
                <a:lnTo>
                  <a:pt x="4636" y="3228"/>
                </a:lnTo>
                <a:cubicBezTo>
                  <a:pt x="4630" y="3228"/>
                  <a:pt x="4626" y="3223"/>
                  <a:pt x="4626" y="3217"/>
                </a:cubicBezTo>
                <a:cubicBezTo>
                  <a:pt x="4626" y="3211"/>
                  <a:pt x="4630" y="3207"/>
                  <a:pt x="4636" y="3207"/>
                </a:cubicBezTo>
                <a:close/>
                <a:moveTo>
                  <a:pt x="4700" y="3207"/>
                </a:moveTo>
                <a:lnTo>
                  <a:pt x="4700" y="3207"/>
                </a:lnTo>
                <a:cubicBezTo>
                  <a:pt x="4706" y="3207"/>
                  <a:pt x="4711" y="3211"/>
                  <a:pt x="4711" y="3217"/>
                </a:cubicBezTo>
                <a:cubicBezTo>
                  <a:pt x="4711" y="3223"/>
                  <a:pt x="4706" y="3228"/>
                  <a:pt x="4700" y="3228"/>
                </a:cubicBezTo>
                <a:lnTo>
                  <a:pt x="4700" y="3228"/>
                </a:lnTo>
                <a:cubicBezTo>
                  <a:pt x="4695" y="3228"/>
                  <a:pt x="4690" y="3223"/>
                  <a:pt x="4690" y="3217"/>
                </a:cubicBezTo>
                <a:cubicBezTo>
                  <a:pt x="4690" y="3211"/>
                  <a:pt x="4695" y="3207"/>
                  <a:pt x="4700" y="3207"/>
                </a:cubicBezTo>
                <a:close/>
                <a:moveTo>
                  <a:pt x="4764" y="3207"/>
                </a:moveTo>
                <a:lnTo>
                  <a:pt x="4764" y="3207"/>
                </a:lnTo>
                <a:cubicBezTo>
                  <a:pt x="4770" y="3207"/>
                  <a:pt x="4775" y="3211"/>
                  <a:pt x="4775" y="3217"/>
                </a:cubicBezTo>
                <a:cubicBezTo>
                  <a:pt x="4775" y="3223"/>
                  <a:pt x="4770" y="3228"/>
                  <a:pt x="4764" y="3228"/>
                </a:cubicBezTo>
                <a:lnTo>
                  <a:pt x="4764" y="3228"/>
                </a:lnTo>
                <a:cubicBezTo>
                  <a:pt x="4759" y="3228"/>
                  <a:pt x="4754" y="3223"/>
                  <a:pt x="4754" y="3217"/>
                </a:cubicBezTo>
                <a:cubicBezTo>
                  <a:pt x="4754" y="3211"/>
                  <a:pt x="4759" y="3207"/>
                  <a:pt x="4764" y="3207"/>
                </a:cubicBezTo>
                <a:close/>
                <a:moveTo>
                  <a:pt x="4828" y="3207"/>
                </a:moveTo>
                <a:lnTo>
                  <a:pt x="4828" y="3207"/>
                </a:lnTo>
                <a:cubicBezTo>
                  <a:pt x="4834" y="3207"/>
                  <a:pt x="4839" y="3211"/>
                  <a:pt x="4839" y="3217"/>
                </a:cubicBezTo>
                <a:cubicBezTo>
                  <a:pt x="4839" y="3223"/>
                  <a:pt x="4834" y="3228"/>
                  <a:pt x="4828" y="3228"/>
                </a:cubicBezTo>
                <a:lnTo>
                  <a:pt x="4828" y="3228"/>
                </a:lnTo>
                <a:cubicBezTo>
                  <a:pt x="4823" y="3228"/>
                  <a:pt x="4818" y="3223"/>
                  <a:pt x="4818" y="3217"/>
                </a:cubicBezTo>
                <a:cubicBezTo>
                  <a:pt x="4818" y="3211"/>
                  <a:pt x="4823" y="3207"/>
                  <a:pt x="4828" y="3207"/>
                </a:cubicBezTo>
                <a:close/>
                <a:moveTo>
                  <a:pt x="4892" y="3207"/>
                </a:moveTo>
                <a:lnTo>
                  <a:pt x="4892" y="3207"/>
                </a:lnTo>
                <a:cubicBezTo>
                  <a:pt x="4898" y="3207"/>
                  <a:pt x="4903" y="3211"/>
                  <a:pt x="4903" y="3217"/>
                </a:cubicBezTo>
                <a:cubicBezTo>
                  <a:pt x="4903" y="3223"/>
                  <a:pt x="4898" y="3228"/>
                  <a:pt x="4892" y="3228"/>
                </a:cubicBezTo>
                <a:lnTo>
                  <a:pt x="4892" y="3228"/>
                </a:lnTo>
                <a:cubicBezTo>
                  <a:pt x="4887" y="3228"/>
                  <a:pt x="4882" y="3223"/>
                  <a:pt x="4882" y="3217"/>
                </a:cubicBezTo>
                <a:cubicBezTo>
                  <a:pt x="4882" y="3211"/>
                  <a:pt x="4887" y="3207"/>
                  <a:pt x="4892" y="3207"/>
                </a:cubicBezTo>
                <a:close/>
                <a:moveTo>
                  <a:pt x="4956" y="3207"/>
                </a:moveTo>
                <a:lnTo>
                  <a:pt x="4957" y="3207"/>
                </a:lnTo>
                <a:cubicBezTo>
                  <a:pt x="4962" y="3207"/>
                  <a:pt x="4967" y="3211"/>
                  <a:pt x="4967" y="3217"/>
                </a:cubicBezTo>
                <a:cubicBezTo>
                  <a:pt x="4967" y="3223"/>
                  <a:pt x="4962" y="3228"/>
                  <a:pt x="4957" y="3228"/>
                </a:cubicBezTo>
                <a:lnTo>
                  <a:pt x="4956" y="3228"/>
                </a:lnTo>
                <a:cubicBezTo>
                  <a:pt x="4951" y="3228"/>
                  <a:pt x="4946" y="3223"/>
                  <a:pt x="4946" y="3217"/>
                </a:cubicBezTo>
                <a:cubicBezTo>
                  <a:pt x="4946" y="3211"/>
                  <a:pt x="4951" y="3207"/>
                  <a:pt x="4956" y="3207"/>
                </a:cubicBezTo>
                <a:close/>
                <a:moveTo>
                  <a:pt x="5021" y="3207"/>
                </a:moveTo>
                <a:lnTo>
                  <a:pt x="5021" y="3207"/>
                </a:lnTo>
                <a:cubicBezTo>
                  <a:pt x="5026" y="3207"/>
                  <a:pt x="5031" y="3211"/>
                  <a:pt x="5031" y="3217"/>
                </a:cubicBezTo>
                <a:cubicBezTo>
                  <a:pt x="5031" y="3223"/>
                  <a:pt x="5026" y="3228"/>
                  <a:pt x="5021" y="3228"/>
                </a:cubicBezTo>
                <a:lnTo>
                  <a:pt x="5021" y="3228"/>
                </a:lnTo>
                <a:cubicBezTo>
                  <a:pt x="5015" y="3228"/>
                  <a:pt x="5010" y="3223"/>
                  <a:pt x="5010" y="3217"/>
                </a:cubicBezTo>
                <a:cubicBezTo>
                  <a:pt x="5010" y="3211"/>
                  <a:pt x="5015" y="3207"/>
                  <a:pt x="5021" y="3207"/>
                </a:cubicBezTo>
                <a:close/>
                <a:moveTo>
                  <a:pt x="5085" y="3207"/>
                </a:moveTo>
                <a:lnTo>
                  <a:pt x="5085" y="3207"/>
                </a:lnTo>
                <a:cubicBezTo>
                  <a:pt x="5090" y="3207"/>
                  <a:pt x="5095" y="3211"/>
                  <a:pt x="5095" y="3217"/>
                </a:cubicBezTo>
                <a:cubicBezTo>
                  <a:pt x="5095" y="3223"/>
                  <a:pt x="5090" y="3228"/>
                  <a:pt x="5085" y="3228"/>
                </a:cubicBezTo>
                <a:lnTo>
                  <a:pt x="5085" y="3228"/>
                </a:lnTo>
                <a:cubicBezTo>
                  <a:pt x="5079" y="3228"/>
                  <a:pt x="5074" y="3223"/>
                  <a:pt x="5074" y="3217"/>
                </a:cubicBezTo>
                <a:cubicBezTo>
                  <a:pt x="5074" y="3211"/>
                  <a:pt x="5079" y="3207"/>
                  <a:pt x="5085" y="3207"/>
                </a:cubicBezTo>
                <a:close/>
                <a:moveTo>
                  <a:pt x="5149" y="3207"/>
                </a:moveTo>
                <a:lnTo>
                  <a:pt x="5149" y="3207"/>
                </a:lnTo>
                <a:cubicBezTo>
                  <a:pt x="5154" y="3207"/>
                  <a:pt x="5159" y="3211"/>
                  <a:pt x="5159" y="3217"/>
                </a:cubicBezTo>
                <a:cubicBezTo>
                  <a:pt x="5159" y="3223"/>
                  <a:pt x="5154" y="3228"/>
                  <a:pt x="5149" y="3228"/>
                </a:cubicBezTo>
                <a:lnTo>
                  <a:pt x="5149" y="3228"/>
                </a:lnTo>
                <a:cubicBezTo>
                  <a:pt x="5143" y="3228"/>
                  <a:pt x="5138" y="3223"/>
                  <a:pt x="5138" y="3217"/>
                </a:cubicBezTo>
                <a:cubicBezTo>
                  <a:pt x="5138" y="3211"/>
                  <a:pt x="5143" y="3207"/>
                  <a:pt x="5149" y="3207"/>
                </a:cubicBezTo>
                <a:close/>
                <a:moveTo>
                  <a:pt x="5213" y="3207"/>
                </a:moveTo>
                <a:lnTo>
                  <a:pt x="5213" y="3207"/>
                </a:lnTo>
                <a:cubicBezTo>
                  <a:pt x="5218" y="3207"/>
                  <a:pt x="5223" y="3211"/>
                  <a:pt x="5223" y="3217"/>
                </a:cubicBezTo>
                <a:cubicBezTo>
                  <a:pt x="5223" y="3223"/>
                  <a:pt x="5218" y="3228"/>
                  <a:pt x="5213" y="3228"/>
                </a:cubicBezTo>
                <a:lnTo>
                  <a:pt x="5213" y="3228"/>
                </a:lnTo>
                <a:cubicBezTo>
                  <a:pt x="5207" y="3228"/>
                  <a:pt x="5202" y="3223"/>
                  <a:pt x="5202" y="3217"/>
                </a:cubicBezTo>
                <a:cubicBezTo>
                  <a:pt x="5202" y="3211"/>
                  <a:pt x="5207" y="3207"/>
                  <a:pt x="5213" y="3207"/>
                </a:cubicBezTo>
                <a:close/>
                <a:moveTo>
                  <a:pt x="5277" y="3207"/>
                </a:moveTo>
                <a:lnTo>
                  <a:pt x="5277" y="3207"/>
                </a:lnTo>
                <a:cubicBezTo>
                  <a:pt x="5283" y="3207"/>
                  <a:pt x="5287" y="3211"/>
                  <a:pt x="5287" y="3217"/>
                </a:cubicBezTo>
                <a:cubicBezTo>
                  <a:pt x="5287" y="3223"/>
                  <a:pt x="5283" y="3228"/>
                  <a:pt x="5277" y="3228"/>
                </a:cubicBezTo>
                <a:lnTo>
                  <a:pt x="5277" y="3228"/>
                </a:lnTo>
                <a:cubicBezTo>
                  <a:pt x="5271" y="3228"/>
                  <a:pt x="5266" y="3223"/>
                  <a:pt x="5266" y="3217"/>
                </a:cubicBezTo>
                <a:cubicBezTo>
                  <a:pt x="5266" y="3211"/>
                  <a:pt x="5271" y="3207"/>
                  <a:pt x="5277" y="3207"/>
                </a:cubicBezTo>
                <a:close/>
                <a:moveTo>
                  <a:pt x="5341" y="3207"/>
                </a:moveTo>
                <a:lnTo>
                  <a:pt x="5341" y="3207"/>
                </a:lnTo>
                <a:cubicBezTo>
                  <a:pt x="5347" y="3207"/>
                  <a:pt x="5351" y="3211"/>
                  <a:pt x="5351" y="3217"/>
                </a:cubicBezTo>
                <a:cubicBezTo>
                  <a:pt x="5351" y="3223"/>
                  <a:pt x="5347" y="3228"/>
                  <a:pt x="5341" y="3228"/>
                </a:cubicBezTo>
                <a:lnTo>
                  <a:pt x="5341" y="3228"/>
                </a:lnTo>
                <a:cubicBezTo>
                  <a:pt x="5335" y="3228"/>
                  <a:pt x="5330" y="3223"/>
                  <a:pt x="5330" y="3217"/>
                </a:cubicBezTo>
                <a:cubicBezTo>
                  <a:pt x="5330" y="3211"/>
                  <a:pt x="5335" y="3207"/>
                  <a:pt x="5341" y="3207"/>
                </a:cubicBezTo>
                <a:close/>
                <a:moveTo>
                  <a:pt x="5405" y="3207"/>
                </a:moveTo>
                <a:lnTo>
                  <a:pt x="5405" y="3207"/>
                </a:lnTo>
                <a:cubicBezTo>
                  <a:pt x="5411" y="3207"/>
                  <a:pt x="5415" y="3211"/>
                  <a:pt x="5415" y="3217"/>
                </a:cubicBezTo>
                <a:cubicBezTo>
                  <a:pt x="5415" y="3223"/>
                  <a:pt x="5411" y="3228"/>
                  <a:pt x="5405" y="3228"/>
                </a:cubicBezTo>
                <a:lnTo>
                  <a:pt x="5405" y="3228"/>
                </a:lnTo>
                <a:cubicBezTo>
                  <a:pt x="5399" y="3228"/>
                  <a:pt x="5394" y="3223"/>
                  <a:pt x="5394" y="3217"/>
                </a:cubicBezTo>
                <a:cubicBezTo>
                  <a:pt x="5394" y="3211"/>
                  <a:pt x="5399" y="3207"/>
                  <a:pt x="5405" y="3207"/>
                </a:cubicBezTo>
                <a:close/>
                <a:moveTo>
                  <a:pt x="5469" y="3207"/>
                </a:moveTo>
                <a:lnTo>
                  <a:pt x="5469" y="3207"/>
                </a:lnTo>
                <a:cubicBezTo>
                  <a:pt x="5475" y="3207"/>
                  <a:pt x="5479" y="3211"/>
                  <a:pt x="5479" y="3217"/>
                </a:cubicBezTo>
                <a:cubicBezTo>
                  <a:pt x="5479" y="3223"/>
                  <a:pt x="5475" y="3228"/>
                  <a:pt x="5469" y="3228"/>
                </a:cubicBezTo>
                <a:lnTo>
                  <a:pt x="5469" y="3228"/>
                </a:lnTo>
                <a:cubicBezTo>
                  <a:pt x="5463" y="3228"/>
                  <a:pt x="5458" y="3223"/>
                  <a:pt x="5458" y="3217"/>
                </a:cubicBezTo>
                <a:cubicBezTo>
                  <a:pt x="5458" y="3211"/>
                  <a:pt x="5463" y="3207"/>
                  <a:pt x="5469" y="3207"/>
                </a:cubicBezTo>
                <a:close/>
                <a:moveTo>
                  <a:pt x="5533" y="3207"/>
                </a:moveTo>
                <a:lnTo>
                  <a:pt x="5533" y="3207"/>
                </a:lnTo>
                <a:cubicBezTo>
                  <a:pt x="5539" y="3207"/>
                  <a:pt x="5543" y="3211"/>
                  <a:pt x="5543" y="3217"/>
                </a:cubicBezTo>
                <a:cubicBezTo>
                  <a:pt x="5543" y="3223"/>
                  <a:pt x="5539" y="3228"/>
                  <a:pt x="5533" y="3228"/>
                </a:cubicBezTo>
                <a:lnTo>
                  <a:pt x="5533" y="3228"/>
                </a:lnTo>
                <a:cubicBezTo>
                  <a:pt x="5527" y="3228"/>
                  <a:pt x="5522" y="3223"/>
                  <a:pt x="5522" y="3217"/>
                </a:cubicBezTo>
                <a:cubicBezTo>
                  <a:pt x="5522" y="3211"/>
                  <a:pt x="5527" y="3207"/>
                  <a:pt x="5533" y="3207"/>
                </a:cubicBezTo>
                <a:close/>
                <a:moveTo>
                  <a:pt x="5597" y="3207"/>
                </a:moveTo>
                <a:lnTo>
                  <a:pt x="5597" y="3207"/>
                </a:lnTo>
                <a:cubicBezTo>
                  <a:pt x="5603" y="3207"/>
                  <a:pt x="5607" y="3211"/>
                  <a:pt x="5607" y="3217"/>
                </a:cubicBezTo>
                <a:cubicBezTo>
                  <a:pt x="5607" y="3223"/>
                  <a:pt x="5603" y="3228"/>
                  <a:pt x="5597" y="3228"/>
                </a:cubicBezTo>
                <a:lnTo>
                  <a:pt x="5597" y="3228"/>
                </a:lnTo>
                <a:cubicBezTo>
                  <a:pt x="5591" y="3228"/>
                  <a:pt x="5586" y="3223"/>
                  <a:pt x="5586" y="3217"/>
                </a:cubicBezTo>
                <a:cubicBezTo>
                  <a:pt x="5586" y="3211"/>
                  <a:pt x="5591" y="3207"/>
                  <a:pt x="5597" y="3207"/>
                </a:cubicBezTo>
                <a:close/>
                <a:moveTo>
                  <a:pt x="5661" y="3207"/>
                </a:moveTo>
                <a:lnTo>
                  <a:pt x="5661" y="3207"/>
                </a:lnTo>
                <a:cubicBezTo>
                  <a:pt x="5667" y="3207"/>
                  <a:pt x="5671" y="3211"/>
                  <a:pt x="5671" y="3217"/>
                </a:cubicBezTo>
                <a:cubicBezTo>
                  <a:pt x="5671" y="3223"/>
                  <a:pt x="5667" y="3228"/>
                  <a:pt x="5661" y="3228"/>
                </a:cubicBezTo>
                <a:lnTo>
                  <a:pt x="5661" y="3228"/>
                </a:lnTo>
                <a:cubicBezTo>
                  <a:pt x="5655" y="3228"/>
                  <a:pt x="5650" y="3223"/>
                  <a:pt x="5650" y="3217"/>
                </a:cubicBezTo>
                <a:cubicBezTo>
                  <a:pt x="5650" y="3211"/>
                  <a:pt x="5655" y="3207"/>
                  <a:pt x="5661" y="3207"/>
                </a:cubicBezTo>
                <a:close/>
                <a:moveTo>
                  <a:pt x="5725" y="3207"/>
                </a:moveTo>
                <a:lnTo>
                  <a:pt x="5725" y="3207"/>
                </a:lnTo>
                <a:cubicBezTo>
                  <a:pt x="5731" y="3207"/>
                  <a:pt x="5735" y="3211"/>
                  <a:pt x="5735" y="3217"/>
                </a:cubicBezTo>
                <a:cubicBezTo>
                  <a:pt x="5735" y="3223"/>
                  <a:pt x="5731" y="3228"/>
                  <a:pt x="5725" y="3228"/>
                </a:cubicBezTo>
                <a:lnTo>
                  <a:pt x="5725" y="3228"/>
                </a:lnTo>
                <a:cubicBezTo>
                  <a:pt x="5719" y="3228"/>
                  <a:pt x="5714" y="3223"/>
                  <a:pt x="5714" y="3217"/>
                </a:cubicBezTo>
                <a:cubicBezTo>
                  <a:pt x="5714" y="3211"/>
                  <a:pt x="5719" y="3207"/>
                  <a:pt x="5725" y="3207"/>
                </a:cubicBezTo>
                <a:close/>
                <a:moveTo>
                  <a:pt x="5789" y="3207"/>
                </a:moveTo>
                <a:lnTo>
                  <a:pt x="5789" y="3207"/>
                </a:lnTo>
                <a:cubicBezTo>
                  <a:pt x="5795" y="3207"/>
                  <a:pt x="5799" y="3211"/>
                  <a:pt x="5799" y="3217"/>
                </a:cubicBezTo>
                <a:cubicBezTo>
                  <a:pt x="5799" y="3223"/>
                  <a:pt x="5795" y="3228"/>
                  <a:pt x="5789" y="3228"/>
                </a:cubicBezTo>
                <a:lnTo>
                  <a:pt x="5789" y="3228"/>
                </a:lnTo>
                <a:cubicBezTo>
                  <a:pt x="5783" y="3228"/>
                  <a:pt x="5778" y="3223"/>
                  <a:pt x="5778" y="3217"/>
                </a:cubicBezTo>
                <a:cubicBezTo>
                  <a:pt x="5778" y="3211"/>
                  <a:pt x="5783" y="3207"/>
                  <a:pt x="5789" y="3207"/>
                </a:cubicBezTo>
                <a:close/>
                <a:moveTo>
                  <a:pt x="5853" y="3207"/>
                </a:moveTo>
                <a:lnTo>
                  <a:pt x="5853" y="3207"/>
                </a:lnTo>
                <a:cubicBezTo>
                  <a:pt x="5859" y="3207"/>
                  <a:pt x="5863" y="3211"/>
                  <a:pt x="5863" y="3217"/>
                </a:cubicBezTo>
                <a:cubicBezTo>
                  <a:pt x="5863" y="3223"/>
                  <a:pt x="5859" y="3228"/>
                  <a:pt x="5853" y="3228"/>
                </a:cubicBezTo>
                <a:lnTo>
                  <a:pt x="5853" y="3228"/>
                </a:lnTo>
                <a:cubicBezTo>
                  <a:pt x="5847" y="3228"/>
                  <a:pt x="5842" y="3223"/>
                  <a:pt x="5842" y="3217"/>
                </a:cubicBezTo>
                <a:cubicBezTo>
                  <a:pt x="5842" y="3211"/>
                  <a:pt x="5847" y="3207"/>
                  <a:pt x="5853" y="3207"/>
                </a:cubicBezTo>
                <a:close/>
                <a:moveTo>
                  <a:pt x="5859" y="3170"/>
                </a:moveTo>
                <a:lnTo>
                  <a:pt x="5859" y="3170"/>
                </a:lnTo>
                <a:cubicBezTo>
                  <a:pt x="5859" y="3165"/>
                  <a:pt x="5864" y="3160"/>
                  <a:pt x="5870" y="3160"/>
                </a:cubicBezTo>
                <a:cubicBezTo>
                  <a:pt x="5876" y="3160"/>
                  <a:pt x="5881" y="3165"/>
                  <a:pt x="5881" y="3170"/>
                </a:cubicBezTo>
                <a:lnTo>
                  <a:pt x="5881" y="3170"/>
                </a:lnTo>
                <a:cubicBezTo>
                  <a:pt x="5881" y="3176"/>
                  <a:pt x="5876" y="3181"/>
                  <a:pt x="5870" y="3181"/>
                </a:cubicBezTo>
                <a:cubicBezTo>
                  <a:pt x="5864" y="3181"/>
                  <a:pt x="5859" y="3176"/>
                  <a:pt x="5859" y="3170"/>
                </a:cubicBezTo>
                <a:close/>
                <a:moveTo>
                  <a:pt x="5859" y="3106"/>
                </a:moveTo>
                <a:lnTo>
                  <a:pt x="5859" y="3106"/>
                </a:lnTo>
                <a:cubicBezTo>
                  <a:pt x="5859" y="3100"/>
                  <a:pt x="5864" y="3096"/>
                  <a:pt x="5870" y="3096"/>
                </a:cubicBezTo>
                <a:cubicBezTo>
                  <a:pt x="5876" y="3096"/>
                  <a:pt x="5881" y="3100"/>
                  <a:pt x="5881" y="3106"/>
                </a:cubicBezTo>
                <a:lnTo>
                  <a:pt x="5881" y="3106"/>
                </a:lnTo>
                <a:cubicBezTo>
                  <a:pt x="5881" y="3112"/>
                  <a:pt x="5876" y="3117"/>
                  <a:pt x="5870" y="3117"/>
                </a:cubicBezTo>
                <a:cubicBezTo>
                  <a:pt x="5864" y="3117"/>
                  <a:pt x="5859" y="3112"/>
                  <a:pt x="5859" y="3106"/>
                </a:cubicBezTo>
                <a:close/>
                <a:moveTo>
                  <a:pt x="5859" y="3042"/>
                </a:moveTo>
                <a:lnTo>
                  <a:pt x="5859" y="3042"/>
                </a:lnTo>
                <a:cubicBezTo>
                  <a:pt x="5859" y="3036"/>
                  <a:pt x="5864" y="3032"/>
                  <a:pt x="5870" y="3032"/>
                </a:cubicBezTo>
                <a:cubicBezTo>
                  <a:pt x="5876" y="3032"/>
                  <a:pt x="5881" y="3036"/>
                  <a:pt x="5881" y="3042"/>
                </a:cubicBezTo>
                <a:lnTo>
                  <a:pt x="5881" y="3042"/>
                </a:lnTo>
                <a:cubicBezTo>
                  <a:pt x="5881" y="3048"/>
                  <a:pt x="5876" y="3053"/>
                  <a:pt x="5870" y="3053"/>
                </a:cubicBezTo>
                <a:cubicBezTo>
                  <a:pt x="5864" y="3053"/>
                  <a:pt x="5859" y="3048"/>
                  <a:pt x="5859" y="3042"/>
                </a:cubicBezTo>
                <a:close/>
                <a:moveTo>
                  <a:pt x="5859" y="2978"/>
                </a:moveTo>
                <a:lnTo>
                  <a:pt x="5859" y="2978"/>
                </a:lnTo>
                <a:cubicBezTo>
                  <a:pt x="5859" y="2972"/>
                  <a:pt x="5864" y="2968"/>
                  <a:pt x="5870" y="2968"/>
                </a:cubicBezTo>
                <a:cubicBezTo>
                  <a:pt x="5876" y="2968"/>
                  <a:pt x="5881" y="2972"/>
                  <a:pt x="5881" y="2978"/>
                </a:cubicBezTo>
                <a:lnTo>
                  <a:pt x="5881" y="2978"/>
                </a:lnTo>
                <a:cubicBezTo>
                  <a:pt x="5881" y="2984"/>
                  <a:pt x="5876" y="2989"/>
                  <a:pt x="5870" y="2989"/>
                </a:cubicBezTo>
                <a:cubicBezTo>
                  <a:pt x="5864" y="2989"/>
                  <a:pt x="5859" y="2984"/>
                  <a:pt x="5859" y="2978"/>
                </a:cubicBezTo>
                <a:close/>
                <a:moveTo>
                  <a:pt x="5859" y="2914"/>
                </a:moveTo>
                <a:lnTo>
                  <a:pt x="5859" y="2914"/>
                </a:lnTo>
                <a:cubicBezTo>
                  <a:pt x="5859" y="2908"/>
                  <a:pt x="5864" y="2904"/>
                  <a:pt x="5870" y="2904"/>
                </a:cubicBezTo>
                <a:cubicBezTo>
                  <a:pt x="5876" y="2904"/>
                  <a:pt x="5881" y="2908"/>
                  <a:pt x="5881" y="2914"/>
                </a:cubicBezTo>
                <a:lnTo>
                  <a:pt x="5881" y="2914"/>
                </a:lnTo>
                <a:cubicBezTo>
                  <a:pt x="5881" y="2920"/>
                  <a:pt x="5876" y="2925"/>
                  <a:pt x="5870" y="2925"/>
                </a:cubicBezTo>
                <a:cubicBezTo>
                  <a:pt x="5864" y="2925"/>
                  <a:pt x="5859" y="2920"/>
                  <a:pt x="5859" y="2914"/>
                </a:cubicBezTo>
                <a:close/>
                <a:moveTo>
                  <a:pt x="5859" y="2850"/>
                </a:moveTo>
                <a:lnTo>
                  <a:pt x="5859" y="2850"/>
                </a:lnTo>
                <a:cubicBezTo>
                  <a:pt x="5859" y="2844"/>
                  <a:pt x="5864" y="2840"/>
                  <a:pt x="5870" y="2840"/>
                </a:cubicBezTo>
                <a:cubicBezTo>
                  <a:pt x="5876" y="2840"/>
                  <a:pt x="5881" y="2844"/>
                  <a:pt x="5881" y="2850"/>
                </a:cubicBezTo>
                <a:lnTo>
                  <a:pt x="5881" y="2850"/>
                </a:lnTo>
                <a:cubicBezTo>
                  <a:pt x="5881" y="2856"/>
                  <a:pt x="5876" y="2861"/>
                  <a:pt x="5870" y="2861"/>
                </a:cubicBezTo>
                <a:cubicBezTo>
                  <a:pt x="5864" y="2861"/>
                  <a:pt x="5859" y="2856"/>
                  <a:pt x="5859" y="2850"/>
                </a:cubicBezTo>
                <a:close/>
                <a:moveTo>
                  <a:pt x="5859" y="2786"/>
                </a:moveTo>
                <a:lnTo>
                  <a:pt x="5859" y="2786"/>
                </a:lnTo>
                <a:cubicBezTo>
                  <a:pt x="5859" y="2780"/>
                  <a:pt x="5864" y="2776"/>
                  <a:pt x="5870" y="2776"/>
                </a:cubicBezTo>
                <a:cubicBezTo>
                  <a:pt x="5876" y="2776"/>
                  <a:pt x="5881" y="2780"/>
                  <a:pt x="5881" y="2786"/>
                </a:cubicBezTo>
                <a:lnTo>
                  <a:pt x="5881" y="2786"/>
                </a:lnTo>
                <a:cubicBezTo>
                  <a:pt x="5881" y="2792"/>
                  <a:pt x="5876" y="2797"/>
                  <a:pt x="5870" y="2797"/>
                </a:cubicBezTo>
                <a:cubicBezTo>
                  <a:pt x="5864" y="2797"/>
                  <a:pt x="5859" y="2792"/>
                  <a:pt x="5859" y="2786"/>
                </a:cubicBezTo>
                <a:close/>
                <a:moveTo>
                  <a:pt x="5859" y="2722"/>
                </a:moveTo>
                <a:lnTo>
                  <a:pt x="5859" y="2722"/>
                </a:lnTo>
                <a:cubicBezTo>
                  <a:pt x="5859" y="2716"/>
                  <a:pt x="5864" y="2712"/>
                  <a:pt x="5870" y="2712"/>
                </a:cubicBezTo>
                <a:cubicBezTo>
                  <a:pt x="5876" y="2712"/>
                  <a:pt x="5881" y="2716"/>
                  <a:pt x="5881" y="2722"/>
                </a:cubicBezTo>
                <a:lnTo>
                  <a:pt x="5881" y="2722"/>
                </a:lnTo>
                <a:cubicBezTo>
                  <a:pt x="5881" y="2728"/>
                  <a:pt x="5876" y="2733"/>
                  <a:pt x="5870" y="2733"/>
                </a:cubicBezTo>
                <a:cubicBezTo>
                  <a:pt x="5864" y="2733"/>
                  <a:pt x="5859" y="2728"/>
                  <a:pt x="5859" y="2722"/>
                </a:cubicBezTo>
                <a:close/>
                <a:moveTo>
                  <a:pt x="5859" y="2658"/>
                </a:moveTo>
                <a:lnTo>
                  <a:pt x="5859" y="2658"/>
                </a:lnTo>
                <a:cubicBezTo>
                  <a:pt x="5859" y="2652"/>
                  <a:pt x="5864" y="2648"/>
                  <a:pt x="5870" y="2648"/>
                </a:cubicBezTo>
                <a:cubicBezTo>
                  <a:pt x="5876" y="2648"/>
                  <a:pt x="5881" y="2652"/>
                  <a:pt x="5881" y="2658"/>
                </a:cubicBezTo>
                <a:lnTo>
                  <a:pt x="5881" y="2658"/>
                </a:lnTo>
                <a:cubicBezTo>
                  <a:pt x="5881" y="2664"/>
                  <a:pt x="5876" y="2669"/>
                  <a:pt x="5870" y="2669"/>
                </a:cubicBezTo>
                <a:cubicBezTo>
                  <a:pt x="5864" y="2669"/>
                  <a:pt x="5859" y="2664"/>
                  <a:pt x="5859" y="2658"/>
                </a:cubicBezTo>
                <a:close/>
                <a:moveTo>
                  <a:pt x="5859" y="2594"/>
                </a:moveTo>
                <a:lnTo>
                  <a:pt x="5859" y="2594"/>
                </a:lnTo>
                <a:cubicBezTo>
                  <a:pt x="5859" y="2588"/>
                  <a:pt x="5864" y="2584"/>
                  <a:pt x="5870" y="2584"/>
                </a:cubicBezTo>
                <a:cubicBezTo>
                  <a:pt x="5876" y="2584"/>
                  <a:pt x="5881" y="2588"/>
                  <a:pt x="5881" y="2594"/>
                </a:cubicBezTo>
                <a:lnTo>
                  <a:pt x="5881" y="2594"/>
                </a:lnTo>
                <a:cubicBezTo>
                  <a:pt x="5881" y="2600"/>
                  <a:pt x="5876" y="2605"/>
                  <a:pt x="5870" y="2605"/>
                </a:cubicBezTo>
                <a:cubicBezTo>
                  <a:pt x="5864" y="2605"/>
                  <a:pt x="5859" y="2600"/>
                  <a:pt x="5859" y="2594"/>
                </a:cubicBezTo>
                <a:close/>
                <a:moveTo>
                  <a:pt x="5859" y="2530"/>
                </a:moveTo>
                <a:lnTo>
                  <a:pt x="5859" y="2530"/>
                </a:lnTo>
                <a:cubicBezTo>
                  <a:pt x="5859" y="2524"/>
                  <a:pt x="5864" y="2520"/>
                  <a:pt x="5870" y="2520"/>
                </a:cubicBezTo>
                <a:cubicBezTo>
                  <a:pt x="5876" y="2520"/>
                  <a:pt x="5881" y="2524"/>
                  <a:pt x="5881" y="2530"/>
                </a:cubicBezTo>
                <a:lnTo>
                  <a:pt x="5881" y="2530"/>
                </a:lnTo>
                <a:cubicBezTo>
                  <a:pt x="5881" y="2536"/>
                  <a:pt x="5876" y="2541"/>
                  <a:pt x="5870" y="2541"/>
                </a:cubicBezTo>
                <a:cubicBezTo>
                  <a:pt x="5864" y="2541"/>
                  <a:pt x="5859" y="2536"/>
                  <a:pt x="5859" y="2530"/>
                </a:cubicBezTo>
                <a:close/>
                <a:moveTo>
                  <a:pt x="5859" y="2466"/>
                </a:moveTo>
                <a:lnTo>
                  <a:pt x="5859" y="2466"/>
                </a:lnTo>
                <a:cubicBezTo>
                  <a:pt x="5859" y="2460"/>
                  <a:pt x="5864" y="2455"/>
                  <a:pt x="5870" y="2455"/>
                </a:cubicBezTo>
                <a:cubicBezTo>
                  <a:pt x="5876" y="2455"/>
                  <a:pt x="5881" y="2460"/>
                  <a:pt x="5881" y="2466"/>
                </a:cubicBezTo>
                <a:lnTo>
                  <a:pt x="5881" y="2466"/>
                </a:lnTo>
                <a:cubicBezTo>
                  <a:pt x="5881" y="2472"/>
                  <a:pt x="5876" y="2477"/>
                  <a:pt x="5870" y="2477"/>
                </a:cubicBezTo>
                <a:cubicBezTo>
                  <a:pt x="5864" y="2477"/>
                  <a:pt x="5859" y="2472"/>
                  <a:pt x="5859" y="2466"/>
                </a:cubicBezTo>
                <a:close/>
                <a:moveTo>
                  <a:pt x="5859" y="2402"/>
                </a:moveTo>
                <a:lnTo>
                  <a:pt x="5859" y="2402"/>
                </a:lnTo>
                <a:cubicBezTo>
                  <a:pt x="5859" y="2396"/>
                  <a:pt x="5864" y="2391"/>
                  <a:pt x="5870" y="2391"/>
                </a:cubicBezTo>
                <a:cubicBezTo>
                  <a:pt x="5876" y="2391"/>
                  <a:pt x="5881" y="2396"/>
                  <a:pt x="5881" y="2402"/>
                </a:cubicBezTo>
                <a:lnTo>
                  <a:pt x="5881" y="2402"/>
                </a:lnTo>
                <a:cubicBezTo>
                  <a:pt x="5881" y="2408"/>
                  <a:pt x="5876" y="2413"/>
                  <a:pt x="5870" y="2413"/>
                </a:cubicBezTo>
                <a:cubicBezTo>
                  <a:pt x="5864" y="2413"/>
                  <a:pt x="5859" y="2408"/>
                  <a:pt x="5859" y="2402"/>
                </a:cubicBezTo>
                <a:close/>
                <a:moveTo>
                  <a:pt x="5859" y="2338"/>
                </a:moveTo>
                <a:lnTo>
                  <a:pt x="5859" y="2338"/>
                </a:lnTo>
                <a:cubicBezTo>
                  <a:pt x="5859" y="2332"/>
                  <a:pt x="5864" y="2327"/>
                  <a:pt x="5870" y="2327"/>
                </a:cubicBezTo>
                <a:cubicBezTo>
                  <a:pt x="5876" y="2327"/>
                  <a:pt x="5881" y="2332"/>
                  <a:pt x="5881" y="2338"/>
                </a:cubicBezTo>
                <a:lnTo>
                  <a:pt x="5881" y="2338"/>
                </a:lnTo>
                <a:cubicBezTo>
                  <a:pt x="5881" y="2344"/>
                  <a:pt x="5876" y="2349"/>
                  <a:pt x="5870" y="2349"/>
                </a:cubicBezTo>
                <a:cubicBezTo>
                  <a:pt x="5864" y="2349"/>
                  <a:pt x="5859" y="2344"/>
                  <a:pt x="5859" y="2338"/>
                </a:cubicBezTo>
                <a:close/>
                <a:moveTo>
                  <a:pt x="5859" y="2274"/>
                </a:moveTo>
                <a:lnTo>
                  <a:pt x="5859" y="2274"/>
                </a:lnTo>
                <a:cubicBezTo>
                  <a:pt x="5859" y="2268"/>
                  <a:pt x="5864" y="2263"/>
                  <a:pt x="5870" y="2263"/>
                </a:cubicBezTo>
                <a:cubicBezTo>
                  <a:pt x="5876" y="2263"/>
                  <a:pt x="5881" y="2268"/>
                  <a:pt x="5881" y="2274"/>
                </a:cubicBezTo>
                <a:lnTo>
                  <a:pt x="5881" y="2274"/>
                </a:lnTo>
                <a:cubicBezTo>
                  <a:pt x="5881" y="2280"/>
                  <a:pt x="5876" y="2285"/>
                  <a:pt x="5870" y="2285"/>
                </a:cubicBezTo>
                <a:cubicBezTo>
                  <a:pt x="5864" y="2285"/>
                  <a:pt x="5859" y="2280"/>
                  <a:pt x="5859" y="2274"/>
                </a:cubicBezTo>
                <a:close/>
                <a:moveTo>
                  <a:pt x="5859" y="2210"/>
                </a:moveTo>
                <a:lnTo>
                  <a:pt x="5859" y="2210"/>
                </a:lnTo>
                <a:cubicBezTo>
                  <a:pt x="5859" y="2204"/>
                  <a:pt x="5864" y="2199"/>
                  <a:pt x="5870" y="2199"/>
                </a:cubicBezTo>
                <a:cubicBezTo>
                  <a:pt x="5876" y="2199"/>
                  <a:pt x="5881" y="2204"/>
                  <a:pt x="5881" y="2210"/>
                </a:cubicBezTo>
                <a:lnTo>
                  <a:pt x="5881" y="2210"/>
                </a:lnTo>
                <a:cubicBezTo>
                  <a:pt x="5881" y="2216"/>
                  <a:pt x="5876" y="2221"/>
                  <a:pt x="5870" y="2221"/>
                </a:cubicBezTo>
                <a:cubicBezTo>
                  <a:pt x="5864" y="2221"/>
                  <a:pt x="5859" y="2216"/>
                  <a:pt x="5859" y="2210"/>
                </a:cubicBezTo>
                <a:close/>
                <a:moveTo>
                  <a:pt x="5859" y="2146"/>
                </a:moveTo>
                <a:lnTo>
                  <a:pt x="5859" y="2146"/>
                </a:lnTo>
                <a:cubicBezTo>
                  <a:pt x="5859" y="2140"/>
                  <a:pt x="5864" y="2135"/>
                  <a:pt x="5870" y="2135"/>
                </a:cubicBezTo>
                <a:cubicBezTo>
                  <a:pt x="5876" y="2135"/>
                  <a:pt x="5881" y="2140"/>
                  <a:pt x="5881" y="2146"/>
                </a:cubicBezTo>
                <a:lnTo>
                  <a:pt x="5881" y="2146"/>
                </a:lnTo>
                <a:cubicBezTo>
                  <a:pt x="5881" y="2152"/>
                  <a:pt x="5876" y="2157"/>
                  <a:pt x="5870" y="2157"/>
                </a:cubicBezTo>
                <a:cubicBezTo>
                  <a:pt x="5864" y="2157"/>
                  <a:pt x="5859" y="2152"/>
                  <a:pt x="5859" y="2146"/>
                </a:cubicBezTo>
                <a:close/>
                <a:moveTo>
                  <a:pt x="5859" y="2082"/>
                </a:moveTo>
                <a:lnTo>
                  <a:pt x="5859" y="2082"/>
                </a:lnTo>
                <a:cubicBezTo>
                  <a:pt x="5859" y="2076"/>
                  <a:pt x="5864" y="2071"/>
                  <a:pt x="5870" y="2071"/>
                </a:cubicBezTo>
                <a:cubicBezTo>
                  <a:pt x="5876" y="2071"/>
                  <a:pt x="5881" y="2076"/>
                  <a:pt x="5881" y="2082"/>
                </a:cubicBezTo>
                <a:lnTo>
                  <a:pt x="5881" y="2082"/>
                </a:lnTo>
                <a:cubicBezTo>
                  <a:pt x="5881" y="2088"/>
                  <a:pt x="5876" y="2093"/>
                  <a:pt x="5870" y="2093"/>
                </a:cubicBezTo>
                <a:cubicBezTo>
                  <a:pt x="5864" y="2093"/>
                  <a:pt x="5859" y="2088"/>
                  <a:pt x="5859" y="2082"/>
                </a:cubicBezTo>
                <a:close/>
                <a:moveTo>
                  <a:pt x="5859" y="2018"/>
                </a:moveTo>
                <a:lnTo>
                  <a:pt x="5859" y="2018"/>
                </a:lnTo>
                <a:cubicBezTo>
                  <a:pt x="5859" y="2012"/>
                  <a:pt x="5864" y="2007"/>
                  <a:pt x="5870" y="2007"/>
                </a:cubicBezTo>
                <a:cubicBezTo>
                  <a:pt x="5876" y="2007"/>
                  <a:pt x="5881" y="2012"/>
                  <a:pt x="5881" y="2018"/>
                </a:cubicBezTo>
                <a:lnTo>
                  <a:pt x="5881" y="2018"/>
                </a:lnTo>
                <a:cubicBezTo>
                  <a:pt x="5881" y="2024"/>
                  <a:pt x="5876" y="2029"/>
                  <a:pt x="5870" y="2029"/>
                </a:cubicBezTo>
                <a:cubicBezTo>
                  <a:pt x="5864" y="2029"/>
                  <a:pt x="5859" y="2024"/>
                  <a:pt x="5859" y="2018"/>
                </a:cubicBezTo>
                <a:close/>
                <a:moveTo>
                  <a:pt x="5859" y="1954"/>
                </a:moveTo>
                <a:lnTo>
                  <a:pt x="5859" y="1954"/>
                </a:lnTo>
                <a:cubicBezTo>
                  <a:pt x="5859" y="1948"/>
                  <a:pt x="5864" y="1943"/>
                  <a:pt x="5870" y="1943"/>
                </a:cubicBezTo>
                <a:cubicBezTo>
                  <a:pt x="5876" y="1943"/>
                  <a:pt x="5881" y="1948"/>
                  <a:pt x="5881" y="1954"/>
                </a:cubicBezTo>
                <a:lnTo>
                  <a:pt x="5881" y="1954"/>
                </a:lnTo>
                <a:cubicBezTo>
                  <a:pt x="5881" y="1960"/>
                  <a:pt x="5876" y="1965"/>
                  <a:pt x="5870" y="1965"/>
                </a:cubicBezTo>
                <a:cubicBezTo>
                  <a:pt x="5864" y="1965"/>
                  <a:pt x="5859" y="1960"/>
                  <a:pt x="5859" y="1954"/>
                </a:cubicBezTo>
                <a:close/>
                <a:moveTo>
                  <a:pt x="5859" y="1890"/>
                </a:moveTo>
                <a:lnTo>
                  <a:pt x="5859" y="1890"/>
                </a:lnTo>
                <a:cubicBezTo>
                  <a:pt x="5859" y="1884"/>
                  <a:pt x="5864" y="1879"/>
                  <a:pt x="5870" y="1879"/>
                </a:cubicBezTo>
                <a:cubicBezTo>
                  <a:pt x="5876" y="1879"/>
                  <a:pt x="5881" y="1884"/>
                  <a:pt x="5881" y="1890"/>
                </a:cubicBezTo>
                <a:lnTo>
                  <a:pt x="5881" y="1890"/>
                </a:lnTo>
                <a:cubicBezTo>
                  <a:pt x="5881" y="1896"/>
                  <a:pt x="5876" y="1901"/>
                  <a:pt x="5870" y="1901"/>
                </a:cubicBezTo>
                <a:cubicBezTo>
                  <a:pt x="5864" y="1901"/>
                  <a:pt x="5859" y="1896"/>
                  <a:pt x="5859" y="1890"/>
                </a:cubicBezTo>
                <a:close/>
                <a:moveTo>
                  <a:pt x="5859" y="1826"/>
                </a:moveTo>
                <a:lnTo>
                  <a:pt x="5859" y="1826"/>
                </a:lnTo>
                <a:cubicBezTo>
                  <a:pt x="5859" y="1820"/>
                  <a:pt x="5864" y="1815"/>
                  <a:pt x="5870" y="1815"/>
                </a:cubicBezTo>
                <a:cubicBezTo>
                  <a:pt x="5876" y="1815"/>
                  <a:pt x="5881" y="1820"/>
                  <a:pt x="5881" y="1826"/>
                </a:cubicBezTo>
                <a:lnTo>
                  <a:pt x="5881" y="1826"/>
                </a:lnTo>
                <a:cubicBezTo>
                  <a:pt x="5881" y="1832"/>
                  <a:pt x="5876" y="1837"/>
                  <a:pt x="5870" y="1837"/>
                </a:cubicBezTo>
                <a:cubicBezTo>
                  <a:pt x="5864" y="1837"/>
                  <a:pt x="5859" y="1832"/>
                  <a:pt x="5859" y="1826"/>
                </a:cubicBezTo>
                <a:close/>
                <a:moveTo>
                  <a:pt x="5859" y="1762"/>
                </a:moveTo>
                <a:lnTo>
                  <a:pt x="5859" y="1762"/>
                </a:lnTo>
                <a:cubicBezTo>
                  <a:pt x="5859" y="1756"/>
                  <a:pt x="5864" y="1751"/>
                  <a:pt x="5870" y="1751"/>
                </a:cubicBezTo>
                <a:cubicBezTo>
                  <a:pt x="5876" y="1751"/>
                  <a:pt x="5881" y="1756"/>
                  <a:pt x="5881" y="1762"/>
                </a:cubicBezTo>
                <a:lnTo>
                  <a:pt x="5881" y="1762"/>
                </a:lnTo>
                <a:cubicBezTo>
                  <a:pt x="5881" y="1768"/>
                  <a:pt x="5876" y="1773"/>
                  <a:pt x="5870" y="1773"/>
                </a:cubicBezTo>
                <a:cubicBezTo>
                  <a:pt x="5864" y="1773"/>
                  <a:pt x="5859" y="1768"/>
                  <a:pt x="5859" y="1762"/>
                </a:cubicBezTo>
                <a:close/>
                <a:moveTo>
                  <a:pt x="5859" y="1698"/>
                </a:moveTo>
                <a:lnTo>
                  <a:pt x="5859" y="1698"/>
                </a:lnTo>
                <a:cubicBezTo>
                  <a:pt x="5859" y="1692"/>
                  <a:pt x="5864" y="1687"/>
                  <a:pt x="5870" y="1687"/>
                </a:cubicBezTo>
                <a:cubicBezTo>
                  <a:pt x="5876" y="1687"/>
                  <a:pt x="5881" y="1692"/>
                  <a:pt x="5881" y="1698"/>
                </a:cubicBezTo>
                <a:lnTo>
                  <a:pt x="5881" y="1698"/>
                </a:lnTo>
                <a:cubicBezTo>
                  <a:pt x="5881" y="1704"/>
                  <a:pt x="5876" y="1709"/>
                  <a:pt x="5870" y="1709"/>
                </a:cubicBezTo>
                <a:cubicBezTo>
                  <a:pt x="5864" y="1709"/>
                  <a:pt x="5859" y="1704"/>
                  <a:pt x="5859" y="1698"/>
                </a:cubicBezTo>
                <a:close/>
                <a:moveTo>
                  <a:pt x="5859" y="1634"/>
                </a:moveTo>
                <a:lnTo>
                  <a:pt x="5859" y="1634"/>
                </a:lnTo>
                <a:cubicBezTo>
                  <a:pt x="5859" y="1628"/>
                  <a:pt x="5864" y="1623"/>
                  <a:pt x="5870" y="1623"/>
                </a:cubicBezTo>
                <a:cubicBezTo>
                  <a:pt x="5876" y="1623"/>
                  <a:pt x="5881" y="1628"/>
                  <a:pt x="5881" y="1634"/>
                </a:cubicBezTo>
                <a:lnTo>
                  <a:pt x="5881" y="1634"/>
                </a:lnTo>
                <a:cubicBezTo>
                  <a:pt x="5881" y="1640"/>
                  <a:pt x="5876" y="1645"/>
                  <a:pt x="5870" y="1645"/>
                </a:cubicBezTo>
                <a:cubicBezTo>
                  <a:pt x="5864" y="1645"/>
                  <a:pt x="5859" y="1640"/>
                  <a:pt x="5859" y="1634"/>
                </a:cubicBezTo>
                <a:close/>
                <a:moveTo>
                  <a:pt x="5859" y="1570"/>
                </a:moveTo>
                <a:lnTo>
                  <a:pt x="5859" y="1570"/>
                </a:lnTo>
                <a:cubicBezTo>
                  <a:pt x="5859" y="1564"/>
                  <a:pt x="5864" y="1559"/>
                  <a:pt x="5870" y="1559"/>
                </a:cubicBezTo>
                <a:cubicBezTo>
                  <a:pt x="5876" y="1559"/>
                  <a:pt x="5881" y="1564"/>
                  <a:pt x="5881" y="1570"/>
                </a:cubicBezTo>
                <a:lnTo>
                  <a:pt x="5881" y="1570"/>
                </a:lnTo>
                <a:cubicBezTo>
                  <a:pt x="5881" y="1576"/>
                  <a:pt x="5876" y="1581"/>
                  <a:pt x="5870" y="1581"/>
                </a:cubicBezTo>
                <a:cubicBezTo>
                  <a:pt x="5864" y="1581"/>
                  <a:pt x="5859" y="1576"/>
                  <a:pt x="5859" y="1570"/>
                </a:cubicBezTo>
                <a:close/>
                <a:moveTo>
                  <a:pt x="5859" y="1506"/>
                </a:moveTo>
                <a:lnTo>
                  <a:pt x="5859" y="1506"/>
                </a:lnTo>
                <a:cubicBezTo>
                  <a:pt x="5859" y="1500"/>
                  <a:pt x="5864" y="1495"/>
                  <a:pt x="5870" y="1495"/>
                </a:cubicBezTo>
                <a:cubicBezTo>
                  <a:pt x="5876" y="1495"/>
                  <a:pt x="5881" y="1500"/>
                  <a:pt x="5881" y="1506"/>
                </a:cubicBezTo>
                <a:lnTo>
                  <a:pt x="5881" y="1506"/>
                </a:lnTo>
                <a:cubicBezTo>
                  <a:pt x="5881" y="1512"/>
                  <a:pt x="5876" y="1517"/>
                  <a:pt x="5870" y="1517"/>
                </a:cubicBezTo>
                <a:cubicBezTo>
                  <a:pt x="5864" y="1517"/>
                  <a:pt x="5859" y="1512"/>
                  <a:pt x="5859" y="1506"/>
                </a:cubicBezTo>
                <a:close/>
                <a:moveTo>
                  <a:pt x="5859" y="1442"/>
                </a:moveTo>
                <a:lnTo>
                  <a:pt x="5859" y="1442"/>
                </a:lnTo>
                <a:cubicBezTo>
                  <a:pt x="5859" y="1436"/>
                  <a:pt x="5864" y="1431"/>
                  <a:pt x="5870" y="1431"/>
                </a:cubicBezTo>
                <a:cubicBezTo>
                  <a:pt x="5876" y="1431"/>
                  <a:pt x="5881" y="1436"/>
                  <a:pt x="5881" y="1442"/>
                </a:cubicBezTo>
                <a:lnTo>
                  <a:pt x="5881" y="1442"/>
                </a:lnTo>
                <a:cubicBezTo>
                  <a:pt x="5881" y="1448"/>
                  <a:pt x="5876" y="1453"/>
                  <a:pt x="5870" y="1453"/>
                </a:cubicBezTo>
                <a:cubicBezTo>
                  <a:pt x="5864" y="1453"/>
                  <a:pt x="5859" y="1448"/>
                  <a:pt x="5859" y="1442"/>
                </a:cubicBezTo>
                <a:close/>
                <a:moveTo>
                  <a:pt x="5859" y="1378"/>
                </a:moveTo>
                <a:lnTo>
                  <a:pt x="5859" y="1378"/>
                </a:lnTo>
                <a:cubicBezTo>
                  <a:pt x="5859" y="1372"/>
                  <a:pt x="5864" y="1367"/>
                  <a:pt x="5870" y="1367"/>
                </a:cubicBezTo>
                <a:cubicBezTo>
                  <a:pt x="5876" y="1367"/>
                  <a:pt x="5881" y="1372"/>
                  <a:pt x="5881" y="1378"/>
                </a:cubicBezTo>
                <a:lnTo>
                  <a:pt x="5881" y="1378"/>
                </a:lnTo>
                <a:cubicBezTo>
                  <a:pt x="5881" y="1384"/>
                  <a:pt x="5876" y="1388"/>
                  <a:pt x="5870" y="1388"/>
                </a:cubicBezTo>
                <a:cubicBezTo>
                  <a:pt x="5864" y="1388"/>
                  <a:pt x="5859" y="1384"/>
                  <a:pt x="5859" y="1378"/>
                </a:cubicBezTo>
                <a:close/>
                <a:moveTo>
                  <a:pt x="5859" y="1314"/>
                </a:moveTo>
                <a:lnTo>
                  <a:pt x="5859" y="1314"/>
                </a:lnTo>
                <a:cubicBezTo>
                  <a:pt x="5859" y="1308"/>
                  <a:pt x="5864" y="1303"/>
                  <a:pt x="5870" y="1303"/>
                </a:cubicBezTo>
                <a:cubicBezTo>
                  <a:pt x="5876" y="1303"/>
                  <a:pt x="5881" y="1308"/>
                  <a:pt x="5881" y="1314"/>
                </a:cubicBezTo>
                <a:lnTo>
                  <a:pt x="5881" y="1314"/>
                </a:lnTo>
                <a:cubicBezTo>
                  <a:pt x="5881" y="1320"/>
                  <a:pt x="5876" y="1324"/>
                  <a:pt x="5870" y="1324"/>
                </a:cubicBezTo>
                <a:cubicBezTo>
                  <a:pt x="5864" y="1324"/>
                  <a:pt x="5859" y="1320"/>
                  <a:pt x="5859" y="1314"/>
                </a:cubicBezTo>
                <a:close/>
                <a:moveTo>
                  <a:pt x="5859" y="1250"/>
                </a:moveTo>
                <a:lnTo>
                  <a:pt x="5859" y="1250"/>
                </a:lnTo>
                <a:cubicBezTo>
                  <a:pt x="5859" y="1244"/>
                  <a:pt x="5864" y="1239"/>
                  <a:pt x="5870" y="1239"/>
                </a:cubicBezTo>
                <a:cubicBezTo>
                  <a:pt x="5876" y="1239"/>
                  <a:pt x="5881" y="1244"/>
                  <a:pt x="5881" y="1250"/>
                </a:cubicBezTo>
                <a:lnTo>
                  <a:pt x="5881" y="1250"/>
                </a:lnTo>
                <a:cubicBezTo>
                  <a:pt x="5881" y="1256"/>
                  <a:pt x="5876" y="1260"/>
                  <a:pt x="5870" y="1260"/>
                </a:cubicBezTo>
                <a:cubicBezTo>
                  <a:pt x="5864" y="1260"/>
                  <a:pt x="5859" y="1256"/>
                  <a:pt x="5859" y="1250"/>
                </a:cubicBezTo>
                <a:close/>
                <a:moveTo>
                  <a:pt x="5859" y="1186"/>
                </a:moveTo>
                <a:lnTo>
                  <a:pt x="5859" y="1186"/>
                </a:lnTo>
                <a:cubicBezTo>
                  <a:pt x="5859" y="1180"/>
                  <a:pt x="5864" y="1175"/>
                  <a:pt x="5870" y="1175"/>
                </a:cubicBezTo>
                <a:cubicBezTo>
                  <a:pt x="5876" y="1175"/>
                  <a:pt x="5881" y="1180"/>
                  <a:pt x="5881" y="1186"/>
                </a:cubicBezTo>
                <a:lnTo>
                  <a:pt x="5881" y="1186"/>
                </a:lnTo>
                <a:cubicBezTo>
                  <a:pt x="5881" y="1192"/>
                  <a:pt x="5876" y="1196"/>
                  <a:pt x="5870" y="1196"/>
                </a:cubicBezTo>
                <a:cubicBezTo>
                  <a:pt x="5864" y="1196"/>
                  <a:pt x="5859" y="1192"/>
                  <a:pt x="5859" y="1186"/>
                </a:cubicBezTo>
                <a:close/>
                <a:moveTo>
                  <a:pt x="5859" y="1122"/>
                </a:moveTo>
                <a:lnTo>
                  <a:pt x="5859" y="1122"/>
                </a:lnTo>
                <a:cubicBezTo>
                  <a:pt x="5859" y="1116"/>
                  <a:pt x="5864" y="1111"/>
                  <a:pt x="5870" y="1111"/>
                </a:cubicBezTo>
                <a:cubicBezTo>
                  <a:pt x="5876" y="1111"/>
                  <a:pt x="5881" y="1116"/>
                  <a:pt x="5881" y="1122"/>
                </a:cubicBezTo>
                <a:lnTo>
                  <a:pt x="5881" y="1122"/>
                </a:lnTo>
                <a:cubicBezTo>
                  <a:pt x="5881" y="1128"/>
                  <a:pt x="5876" y="1132"/>
                  <a:pt x="5870" y="1132"/>
                </a:cubicBezTo>
                <a:cubicBezTo>
                  <a:pt x="5864" y="1132"/>
                  <a:pt x="5859" y="1128"/>
                  <a:pt x="5859" y="1122"/>
                </a:cubicBezTo>
                <a:close/>
                <a:moveTo>
                  <a:pt x="5859" y="1058"/>
                </a:moveTo>
                <a:lnTo>
                  <a:pt x="5859" y="1058"/>
                </a:lnTo>
                <a:cubicBezTo>
                  <a:pt x="5859" y="1052"/>
                  <a:pt x="5864" y="1047"/>
                  <a:pt x="5870" y="1047"/>
                </a:cubicBezTo>
                <a:cubicBezTo>
                  <a:pt x="5876" y="1047"/>
                  <a:pt x="5881" y="1052"/>
                  <a:pt x="5881" y="1058"/>
                </a:cubicBezTo>
                <a:lnTo>
                  <a:pt x="5881" y="1058"/>
                </a:lnTo>
                <a:cubicBezTo>
                  <a:pt x="5881" y="1064"/>
                  <a:pt x="5876" y="1068"/>
                  <a:pt x="5870" y="1068"/>
                </a:cubicBezTo>
                <a:cubicBezTo>
                  <a:pt x="5864" y="1068"/>
                  <a:pt x="5859" y="1064"/>
                  <a:pt x="5859" y="1058"/>
                </a:cubicBezTo>
                <a:close/>
                <a:moveTo>
                  <a:pt x="5859" y="994"/>
                </a:moveTo>
                <a:lnTo>
                  <a:pt x="5859" y="994"/>
                </a:lnTo>
                <a:cubicBezTo>
                  <a:pt x="5859" y="988"/>
                  <a:pt x="5864" y="983"/>
                  <a:pt x="5870" y="983"/>
                </a:cubicBezTo>
                <a:cubicBezTo>
                  <a:pt x="5876" y="983"/>
                  <a:pt x="5881" y="988"/>
                  <a:pt x="5881" y="994"/>
                </a:cubicBezTo>
                <a:lnTo>
                  <a:pt x="5881" y="994"/>
                </a:lnTo>
                <a:cubicBezTo>
                  <a:pt x="5881" y="1000"/>
                  <a:pt x="5876" y="1004"/>
                  <a:pt x="5870" y="1004"/>
                </a:cubicBezTo>
                <a:cubicBezTo>
                  <a:pt x="5864" y="1004"/>
                  <a:pt x="5859" y="1000"/>
                  <a:pt x="5859" y="994"/>
                </a:cubicBezTo>
                <a:close/>
                <a:moveTo>
                  <a:pt x="5859" y="930"/>
                </a:moveTo>
                <a:lnTo>
                  <a:pt x="5859" y="930"/>
                </a:lnTo>
                <a:cubicBezTo>
                  <a:pt x="5859" y="924"/>
                  <a:pt x="5864" y="919"/>
                  <a:pt x="5870" y="919"/>
                </a:cubicBezTo>
                <a:cubicBezTo>
                  <a:pt x="5876" y="919"/>
                  <a:pt x="5881" y="924"/>
                  <a:pt x="5881" y="930"/>
                </a:cubicBezTo>
                <a:lnTo>
                  <a:pt x="5881" y="930"/>
                </a:lnTo>
                <a:cubicBezTo>
                  <a:pt x="5881" y="936"/>
                  <a:pt x="5876" y="940"/>
                  <a:pt x="5870" y="940"/>
                </a:cubicBezTo>
                <a:cubicBezTo>
                  <a:pt x="5864" y="940"/>
                  <a:pt x="5859" y="936"/>
                  <a:pt x="5859" y="930"/>
                </a:cubicBezTo>
                <a:close/>
                <a:moveTo>
                  <a:pt x="5859" y="866"/>
                </a:moveTo>
                <a:lnTo>
                  <a:pt x="5859" y="866"/>
                </a:lnTo>
                <a:cubicBezTo>
                  <a:pt x="5859" y="860"/>
                  <a:pt x="5864" y="855"/>
                  <a:pt x="5870" y="855"/>
                </a:cubicBezTo>
                <a:cubicBezTo>
                  <a:pt x="5876" y="855"/>
                  <a:pt x="5881" y="860"/>
                  <a:pt x="5881" y="866"/>
                </a:cubicBezTo>
                <a:lnTo>
                  <a:pt x="5881" y="866"/>
                </a:lnTo>
                <a:cubicBezTo>
                  <a:pt x="5881" y="872"/>
                  <a:pt x="5876" y="876"/>
                  <a:pt x="5870" y="876"/>
                </a:cubicBezTo>
                <a:cubicBezTo>
                  <a:pt x="5864" y="876"/>
                  <a:pt x="5859" y="872"/>
                  <a:pt x="5859" y="866"/>
                </a:cubicBezTo>
                <a:close/>
                <a:moveTo>
                  <a:pt x="5859" y="802"/>
                </a:moveTo>
                <a:lnTo>
                  <a:pt x="5859" y="802"/>
                </a:lnTo>
                <a:cubicBezTo>
                  <a:pt x="5859" y="796"/>
                  <a:pt x="5864" y="791"/>
                  <a:pt x="5870" y="791"/>
                </a:cubicBezTo>
                <a:cubicBezTo>
                  <a:pt x="5876" y="791"/>
                  <a:pt x="5881" y="796"/>
                  <a:pt x="5881" y="802"/>
                </a:cubicBezTo>
                <a:lnTo>
                  <a:pt x="5881" y="802"/>
                </a:lnTo>
                <a:cubicBezTo>
                  <a:pt x="5881" y="808"/>
                  <a:pt x="5876" y="812"/>
                  <a:pt x="5870" y="812"/>
                </a:cubicBezTo>
                <a:cubicBezTo>
                  <a:pt x="5864" y="812"/>
                  <a:pt x="5859" y="808"/>
                  <a:pt x="5859" y="802"/>
                </a:cubicBezTo>
                <a:close/>
                <a:moveTo>
                  <a:pt x="5859" y="738"/>
                </a:moveTo>
                <a:lnTo>
                  <a:pt x="5859" y="738"/>
                </a:lnTo>
                <a:cubicBezTo>
                  <a:pt x="5859" y="732"/>
                  <a:pt x="5864" y="727"/>
                  <a:pt x="5870" y="727"/>
                </a:cubicBezTo>
                <a:cubicBezTo>
                  <a:pt x="5876" y="727"/>
                  <a:pt x="5881" y="732"/>
                  <a:pt x="5881" y="738"/>
                </a:cubicBezTo>
                <a:lnTo>
                  <a:pt x="5881" y="738"/>
                </a:lnTo>
                <a:cubicBezTo>
                  <a:pt x="5881" y="743"/>
                  <a:pt x="5876" y="748"/>
                  <a:pt x="5870" y="748"/>
                </a:cubicBezTo>
                <a:cubicBezTo>
                  <a:pt x="5864" y="748"/>
                  <a:pt x="5859" y="743"/>
                  <a:pt x="5859" y="738"/>
                </a:cubicBezTo>
                <a:close/>
                <a:moveTo>
                  <a:pt x="5859" y="674"/>
                </a:moveTo>
                <a:lnTo>
                  <a:pt x="5859" y="674"/>
                </a:lnTo>
                <a:cubicBezTo>
                  <a:pt x="5859" y="668"/>
                  <a:pt x="5864" y="663"/>
                  <a:pt x="5870" y="663"/>
                </a:cubicBezTo>
                <a:cubicBezTo>
                  <a:pt x="5876" y="663"/>
                  <a:pt x="5881" y="668"/>
                  <a:pt x="5881" y="674"/>
                </a:cubicBezTo>
                <a:lnTo>
                  <a:pt x="5881" y="674"/>
                </a:lnTo>
                <a:cubicBezTo>
                  <a:pt x="5881" y="679"/>
                  <a:pt x="5876" y="684"/>
                  <a:pt x="5870" y="684"/>
                </a:cubicBezTo>
                <a:cubicBezTo>
                  <a:pt x="5864" y="684"/>
                  <a:pt x="5859" y="679"/>
                  <a:pt x="5859" y="674"/>
                </a:cubicBezTo>
                <a:close/>
                <a:moveTo>
                  <a:pt x="5859" y="610"/>
                </a:moveTo>
                <a:lnTo>
                  <a:pt x="5859" y="610"/>
                </a:lnTo>
                <a:cubicBezTo>
                  <a:pt x="5859" y="604"/>
                  <a:pt x="5864" y="599"/>
                  <a:pt x="5870" y="599"/>
                </a:cubicBezTo>
                <a:cubicBezTo>
                  <a:pt x="5876" y="599"/>
                  <a:pt x="5881" y="604"/>
                  <a:pt x="5881" y="610"/>
                </a:cubicBezTo>
                <a:lnTo>
                  <a:pt x="5881" y="610"/>
                </a:lnTo>
                <a:cubicBezTo>
                  <a:pt x="5881" y="615"/>
                  <a:pt x="5876" y="620"/>
                  <a:pt x="5870" y="620"/>
                </a:cubicBezTo>
                <a:cubicBezTo>
                  <a:pt x="5864" y="620"/>
                  <a:pt x="5859" y="615"/>
                  <a:pt x="5859" y="610"/>
                </a:cubicBezTo>
                <a:close/>
                <a:moveTo>
                  <a:pt x="5859" y="546"/>
                </a:moveTo>
                <a:lnTo>
                  <a:pt x="5859" y="546"/>
                </a:lnTo>
                <a:cubicBezTo>
                  <a:pt x="5859" y="540"/>
                  <a:pt x="5864" y="535"/>
                  <a:pt x="5870" y="535"/>
                </a:cubicBezTo>
                <a:cubicBezTo>
                  <a:pt x="5876" y="535"/>
                  <a:pt x="5881" y="540"/>
                  <a:pt x="5881" y="546"/>
                </a:cubicBezTo>
                <a:lnTo>
                  <a:pt x="5881" y="546"/>
                </a:lnTo>
                <a:cubicBezTo>
                  <a:pt x="5881" y="551"/>
                  <a:pt x="5876" y="556"/>
                  <a:pt x="5870" y="556"/>
                </a:cubicBezTo>
                <a:cubicBezTo>
                  <a:pt x="5864" y="556"/>
                  <a:pt x="5859" y="551"/>
                  <a:pt x="5859" y="546"/>
                </a:cubicBezTo>
                <a:close/>
                <a:moveTo>
                  <a:pt x="5859" y="482"/>
                </a:moveTo>
                <a:lnTo>
                  <a:pt x="5859" y="481"/>
                </a:lnTo>
                <a:cubicBezTo>
                  <a:pt x="5859" y="476"/>
                  <a:pt x="5864" y="471"/>
                  <a:pt x="5870" y="471"/>
                </a:cubicBezTo>
                <a:cubicBezTo>
                  <a:pt x="5876" y="471"/>
                  <a:pt x="5881" y="476"/>
                  <a:pt x="5881" y="481"/>
                </a:cubicBezTo>
                <a:lnTo>
                  <a:pt x="5881" y="482"/>
                </a:lnTo>
                <a:cubicBezTo>
                  <a:pt x="5881" y="487"/>
                  <a:pt x="5876" y="492"/>
                  <a:pt x="5870" y="492"/>
                </a:cubicBezTo>
                <a:cubicBezTo>
                  <a:pt x="5864" y="492"/>
                  <a:pt x="5859" y="487"/>
                  <a:pt x="5859" y="482"/>
                </a:cubicBezTo>
                <a:close/>
                <a:moveTo>
                  <a:pt x="5859" y="417"/>
                </a:moveTo>
                <a:lnTo>
                  <a:pt x="5859" y="417"/>
                </a:lnTo>
                <a:cubicBezTo>
                  <a:pt x="5859" y="412"/>
                  <a:pt x="5864" y="407"/>
                  <a:pt x="5870" y="407"/>
                </a:cubicBezTo>
                <a:cubicBezTo>
                  <a:pt x="5876" y="407"/>
                  <a:pt x="5881" y="412"/>
                  <a:pt x="5881" y="417"/>
                </a:cubicBezTo>
                <a:lnTo>
                  <a:pt x="5881" y="417"/>
                </a:lnTo>
                <a:cubicBezTo>
                  <a:pt x="5881" y="423"/>
                  <a:pt x="5876" y="428"/>
                  <a:pt x="5870" y="428"/>
                </a:cubicBezTo>
                <a:cubicBezTo>
                  <a:pt x="5864" y="428"/>
                  <a:pt x="5859" y="423"/>
                  <a:pt x="5859" y="417"/>
                </a:cubicBezTo>
                <a:close/>
                <a:moveTo>
                  <a:pt x="5859" y="353"/>
                </a:moveTo>
                <a:lnTo>
                  <a:pt x="5859" y="353"/>
                </a:lnTo>
                <a:cubicBezTo>
                  <a:pt x="5859" y="348"/>
                  <a:pt x="5864" y="343"/>
                  <a:pt x="5870" y="343"/>
                </a:cubicBezTo>
                <a:cubicBezTo>
                  <a:pt x="5876" y="343"/>
                  <a:pt x="5881" y="348"/>
                  <a:pt x="5881" y="353"/>
                </a:cubicBezTo>
                <a:lnTo>
                  <a:pt x="5881" y="353"/>
                </a:lnTo>
                <a:cubicBezTo>
                  <a:pt x="5881" y="359"/>
                  <a:pt x="5876" y="364"/>
                  <a:pt x="5870" y="364"/>
                </a:cubicBezTo>
                <a:cubicBezTo>
                  <a:pt x="5864" y="364"/>
                  <a:pt x="5859" y="359"/>
                  <a:pt x="5859" y="353"/>
                </a:cubicBezTo>
                <a:close/>
                <a:moveTo>
                  <a:pt x="5859" y="289"/>
                </a:moveTo>
                <a:lnTo>
                  <a:pt x="5859" y="289"/>
                </a:lnTo>
                <a:cubicBezTo>
                  <a:pt x="5859" y="284"/>
                  <a:pt x="5864" y="279"/>
                  <a:pt x="5870" y="279"/>
                </a:cubicBezTo>
                <a:cubicBezTo>
                  <a:pt x="5876" y="279"/>
                  <a:pt x="5881" y="284"/>
                  <a:pt x="5881" y="289"/>
                </a:cubicBezTo>
                <a:lnTo>
                  <a:pt x="5881" y="289"/>
                </a:lnTo>
                <a:cubicBezTo>
                  <a:pt x="5881" y="295"/>
                  <a:pt x="5876" y="300"/>
                  <a:pt x="5870" y="300"/>
                </a:cubicBezTo>
                <a:cubicBezTo>
                  <a:pt x="5864" y="300"/>
                  <a:pt x="5859" y="295"/>
                  <a:pt x="5859" y="289"/>
                </a:cubicBezTo>
                <a:close/>
                <a:moveTo>
                  <a:pt x="5859" y="225"/>
                </a:moveTo>
                <a:lnTo>
                  <a:pt x="5859" y="225"/>
                </a:lnTo>
                <a:cubicBezTo>
                  <a:pt x="5859" y="220"/>
                  <a:pt x="5864" y="215"/>
                  <a:pt x="5870" y="215"/>
                </a:cubicBezTo>
                <a:cubicBezTo>
                  <a:pt x="5876" y="215"/>
                  <a:pt x="5881" y="220"/>
                  <a:pt x="5881" y="225"/>
                </a:cubicBezTo>
                <a:lnTo>
                  <a:pt x="5881" y="225"/>
                </a:lnTo>
                <a:cubicBezTo>
                  <a:pt x="5881" y="231"/>
                  <a:pt x="5876" y="236"/>
                  <a:pt x="5870" y="236"/>
                </a:cubicBezTo>
                <a:cubicBezTo>
                  <a:pt x="5864" y="236"/>
                  <a:pt x="5859" y="231"/>
                  <a:pt x="5859" y="225"/>
                </a:cubicBezTo>
                <a:close/>
                <a:moveTo>
                  <a:pt x="5859" y="161"/>
                </a:moveTo>
                <a:lnTo>
                  <a:pt x="5859" y="161"/>
                </a:lnTo>
                <a:cubicBezTo>
                  <a:pt x="5859" y="155"/>
                  <a:pt x="5864" y="151"/>
                  <a:pt x="5870" y="151"/>
                </a:cubicBezTo>
                <a:cubicBezTo>
                  <a:pt x="5876" y="151"/>
                  <a:pt x="5881" y="155"/>
                  <a:pt x="5881" y="161"/>
                </a:cubicBezTo>
                <a:lnTo>
                  <a:pt x="5881" y="161"/>
                </a:lnTo>
                <a:cubicBezTo>
                  <a:pt x="5881" y="167"/>
                  <a:pt x="5876" y="172"/>
                  <a:pt x="5870" y="172"/>
                </a:cubicBezTo>
                <a:cubicBezTo>
                  <a:pt x="5864" y="172"/>
                  <a:pt x="5859" y="167"/>
                  <a:pt x="5859" y="161"/>
                </a:cubicBezTo>
                <a:close/>
                <a:moveTo>
                  <a:pt x="5859" y="97"/>
                </a:moveTo>
                <a:lnTo>
                  <a:pt x="5859" y="97"/>
                </a:lnTo>
                <a:cubicBezTo>
                  <a:pt x="5859" y="91"/>
                  <a:pt x="5864" y="87"/>
                  <a:pt x="5870" y="87"/>
                </a:cubicBezTo>
                <a:cubicBezTo>
                  <a:pt x="5876" y="87"/>
                  <a:pt x="5881" y="91"/>
                  <a:pt x="5881" y="97"/>
                </a:cubicBezTo>
                <a:lnTo>
                  <a:pt x="5881" y="97"/>
                </a:lnTo>
                <a:cubicBezTo>
                  <a:pt x="5881" y="103"/>
                  <a:pt x="5876" y="108"/>
                  <a:pt x="5870" y="108"/>
                </a:cubicBezTo>
                <a:cubicBezTo>
                  <a:pt x="5864" y="108"/>
                  <a:pt x="5859" y="103"/>
                  <a:pt x="5859" y="97"/>
                </a:cubicBezTo>
                <a:close/>
                <a:moveTo>
                  <a:pt x="5859" y="33"/>
                </a:moveTo>
                <a:lnTo>
                  <a:pt x="5859" y="33"/>
                </a:lnTo>
                <a:cubicBezTo>
                  <a:pt x="5859" y="27"/>
                  <a:pt x="5864" y="23"/>
                  <a:pt x="5870" y="23"/>
                </a:cubicBezTo>
                <a:cubicBezTo>
                  <a:pt x="5876" y="23"/>
                  <a:pt x="5881" y="27"/>
                  <a:pt x="5881" y="33"/>
                </a:cubicBezTo>
                <a:lnTo>
                  <a:pt x="5881" y="33"/>
                </a:lnTo>
                <a:cubicBezTo>
                  <a:pt x="5881" y="39"/>
                  <a:pt x="5876" y="44"/>
                  <a:pt x="5870" y="44"/>
                </a:cubicBezTo>
                <a:cubicBezTo>
                  <a:pt x="5864" y="44"/>
                  <a:pt x="5859" y="39"/>
                  <a:pt x="5859" y="33"/>
                </a:cubicBezTo>
                <a:close/>
                <a:moveTo>
                  <a:pt x="5828" y="22"/>
                </a:moveTo>
                <a:lnTo>
                  <a:pt x="5828" y="22"/>
                </a:lnTo>
                <a:cubicBezTo>
                  <a:pt x="5822" y="22"/>
                  <a:pt x="5818" y="17"/>
                  <a:pt x="5818" y="11"/>
                </a:cubicBezTo>
                <a:cubicBezTo>
                  <a:pt x="5818" y="5"/>
                  <a:pt x="5822" y="0"/>
                  <a:pt x="5828" y="0"/>
                </a:cubicBezTo>
                <a:lnTo>
                  <a:pt x="5828" y="0"/>
                </a:lnTo>
                <a:cubicBezTo>
                  <a:pt x="5834" y="0"/>
                  <a:pt x="5839" y="5"/>
                  <a:pt x="5839" y="11"/>
                </a:cubicBezTo>
                <a:cubicBezTo>
                  <a:pt x="5839" y="17"/>
                  <a:pt x="5834" y="22"/>
                  <a:pt x="5828" y="22"/>
                </a:cubicBezTo>
                <a:close/>
                <a:moveTo>
                  <a:pt x="5764" y="22"/>
                </a:moveTo>
                <a:lnTo>
                  <a:pt x="5764" y="22"/>
                </a:lnTo>
                <a:cubicBezTo>
                  <a:pt x="5758" y="22"/>
                  <a:pt x="5754" y="17"/>
                  <a:pt x="5754" y="11"/>
                </a:cubicBezTo>
                <a:cubicBezTo>
                  <a:pt x="5754" y="5"/>
                  <a:pt x="5758" y="0"/>
                  <a:pt x="5764" y="0"/>
                </a:cubicBezTo>
                <a:lnTo>
                  <a:pt x="5764" y="0"/>
                </a:lnTo>
                <a:cubicBezTo>
                  <a:pt x="5770" y="0"/>
                  <a:pt x="5775" y="5"/>
                  <a:pt x="5775" y="11"/>
                </a:cubicBezTo>
                <a:cubicBezTo>
                  <a:pt x="5775" y="17"/>
                  <a:pt x="5770" y="22"/>
                  <a:pt x="5764" y="22"/>
                </a:cubicBezTo>
                <a:close/>
                <a:moveTo>
                  <a:pt x="5700" y="22"/>
                </a:moveTo>
                <a:lnTo>
                  <a:pt x="5700" y="22"/>
                </a:lnTo>
                <a:cubicBezTo>
                  <a:pt x="5694" y="22"/>
                  <a:pt x="5690" y="17"/>
                  <a:pt x="5690" y="11"/>
                </a:cubicBezTo>
                <a:cubicBezTo>
                  <a:pt x="5690" y="5"/>
                  <a:pt x="5694" y="0"/>
                  <a:pt x="5700" y="0"/>
                </a:cubicBezTo>
                <a:lnTo>
                  <a:pt x="5700" y="0"/>
                </a:lnTo>
                <a:cubicBezTo>
                  <a:pt x="5706" y="0"/>
                  <a:pt x="5711" y="5"/>
                  <a:pt x="5711" y="11"/>
                </a:cubicBezTo>
                <a:cubicBezTo>
                  <a:pt x="5711" y="17"/>
                  <a:pt x="5706" y="22"/>
                  <a:pt x="5700" y="22"/>
                </a:cubicBezTo>
                <a:close/>
                <a:moveTo>
                  <a:pt x="5636" y="22"/>
                </a:moveTo>
                <a:lnTo>
                  <a:pt x="5636" y="22"/>
                </a:lnTo>
                <a:cubicBezTo>
                  <a:pt x="5630" y="22"/>
                  <a:pt x="5626" y="17"/>
                  <a:pt x="5626" y="11"/>
                </a:cubicBezTo>
                <a:cubicBezTo>
                  <a:pt x="5626" y="5"/>
                  <a:pt x="5630" y="0"/>
                  <a:pt x="5636" y="0"/>
                </a:cubicBezTo>
                <a:lnTo>
                  <a:pt x="5636" y="0"/>
                </a:lnTo>
                <a:cubicBezTo>
                  <a:pt x="5642" y="0"/>
                  <a:pt x="5647" y="5"/>
                  <a:pt x="5647" y="11"/>
                </a:cubicBezTo>
                <a:cubicBezTo>
                  <a:pt x="5647" y="17"/>
                  <a:pt x="5642" y="22"/>
                  <a:pt x="5636" y="22"/>
                </a:cubicBezTo>
                <a:close/>
                <a:moveTo>
                  <a:pt x="5572" y="22"/>
                </a:moveTo>
                <a:lnTo>
                  <a:pt x="5572" y="22"/>
                </a:lnTo>
                <a:cubicBezTo>
                  <a:pt x="5566" y="22"/>
                  <a:pt x="5562" y="17"/>
                  <a:pt x="5562" y="11"/>
                </a:cubicBezTo>
                <a:cubicBezTo>
                  <a:pt x="5562" y="5"/>
                  <a:pt x="5566" y="0"/>
                  <a:pt x="5572" y="0"/>
                </a:cubicBezTo>
                <a:lnTo>
                  <a:pt x="5572" y="0"/>
                </a:lnTo>
                <a:cubicBezTo>
                  <a:pt x="5578" y="0"/>
                  <a:pt x="5583" y="5"/>
                  <a:pt x="5583" y="11"/>
                </a:cubicBezTo>
                <a:cubicBezTo>
                  <a:pt x="5583" y="17"/>
                  <a:pt x="5578" y="22"/>
                  <a:pt x="5572" y="22"/>
                </a:cubicBezTo>
                <a:close/>
                <a:moveTo>
                  <a:pt x="5508" y="22"/>
                </a:moveTo>
                <a:lnTo>
                  <a:pt x="5508" y="22"/>
                </a:lnTo>
                <a:cubicBezTo>
                  <a:pt x="5502" y="22"/>
                  <a:pt x="5498" y="17"/>
                  <a:pt x="5498" y="11"/>
                </a:cubicBezTo>
                <a:cubicBezTo>
                  <a:pt x="5498" y="5"/>
                  <a:pt x="5502" y="0"/>
                  <a:pt x="5508" y="0"/>
                </a:cubicBezTo>
                <a:lnTo>
                  <a:pt x="5508" y="0"/>
                </a:lnTo>
                <a:cubicBezTo>
                  <a:pt x="5514" y="0"/>
                  <a:pt x="5519" y="5"/>
                  <a:pt x="5519" y="11"/>
                </a:cubicBezTo>
                <a:cubicBezTo>
                  <a:pt x="5519" y="17"/>
                  <a:pt x="5514" y="22"/>
                  <a:pt x="5508" y="22"/>
                </a:cubicBezTo>
                <a:close/>
                <a:moveTo>
                  <a:pt x="5444" y="22"/>
                </a:moveTo>
                <a:lnTo>
                  <a:pt x="5444" y="22"/>
                </a:lnTo>
                <a:cubicBezTo>
                  <a:pt x="5438" y="22"/>
                  <a:pt x="5434" y="17"/>
                  <a:pt x="5434" y="11"/>
                </a:cubicBezTo>
                <a:cubicBezTo>
                  <a:pt x="5434" y="5"/>
                  <a:pt x="5438" y="0"/>
                  <a:pt x="5444" y="0"/>
                </a:cubicBezTo>
                <a:lnTo>
                  <a:pt x="5444" y="0"/>
                </a:lnTo>
                <a:cubicBezTo>
                  <a:pt x="5450" y="0"/>
                  <a:pt x="5455" y="5"/>
                  <a:pt x="5455" y="11"/>
                </a:cubicBezTo>
                <a:cubicBezTo>
                  <a:pt x="5455" y="17"/>
                  <a:pt x="5450" y="22"/>
                  <a:pt x="5444" y="22"/>
                </a:cubicBezTo>
                <a:close/>
                <a:moveTo>
                  <a:pt x="5380" y="22"/>
                </a:moveTo>
                <a:lnTo>
                  <a:pt x="5380" y="22"/>
                </a:lnTo>
                <a:cubicBezTo>
                  <a:pt x="5374" y="22"/>
                  <a:pt x="5369" y="17"/>
                  <a:pt x="5369" y="11"/>
                </a:cubicBezTo>
                <a:cubicBezTo>
                  <a:pt x="5369" y="5"/>
                  <a:pt x="5374" y="0"/>
                  <a:pt x="5380" y="0"/>
                </a:cubicBezTo>
                <a:lnTo>
                  <a:pt x="5380" y="0"/>
                </a:lnTo>
                <a:cubicBezTo>
                  <a:pt x="5386" y="0"/>
                  <a:pt x="5391" y="5"/>
                  <a:pt x="5391" y="11"/>
                </a:cubicBezTo>
                <a:cubicBezTo>
                  <a:pt x="5391" y="17"/>
                  <a:pt x="5386" y="22"/>
                  <a:pt x="5380" y="22"/>
                </a:cubicBezTo>
                <a:close/>
                <a:moveTo>
                  <a:pt x="5316" y="22"/>
                </a:moveTo>
                <a:lnTo>
                  <a:pt x="5316" y="22"/>
                </a:lnTo>
                <a:cubicBezTo>
                  <a:pt x="5310" y="22"/>
                  <a:pt x="5305" y="17"/>
                  <a:pt x="5305" y="11"/>
                </a:cubicBezTo>
                <a:cubicBezTo>
                  <a:pt x="5305" y="5"/>
                  <a:pt x="5310" y="0"/>
                  <a:pt x="5316" y="0"/>
                </a:cubicBezTo>
                <a:lnTo>
                  <a:pt x="5316" y="0"/>
                </a:lnTo>
                <a:cubicBezTo>
                  <a:pt x="5322" y="0"/>
                  <a:pt x="5327" y="5"/>
                  <a:pt x="5327" y="11"/>
                </a:cubicBezTo>
                <a:cubicBezTo>
                  <a:pt x="5327" y="17"/>
                  <a:pt x="5322" y="22"/>
                  <a:pt x="5316" y="22"/>
                </a:cubicBezTo>
                <a:close/>
                <a:moveTo>
                  <a:pt x="5252" y="22"/>
                </a:moveTo>
                <a:lnTo>
                  <a:pt x="5252" y="22"/>
                </a:lnTo>
                <a:cubicBezTo>
                  <a:pt x="5246" y="22"/>
                  <a:pt x="5241" y="17"/>
                  <a:pt x="5241" y="11"/>
                </a:cubicBezTo>
                <a:cubicBezTo>
                  <a:pt x="5241" y="5"/>
                  <a:pt x="5246" y="0"/>
                  <a:pt x="5252" y="0"/>
                </a:cubicBezTo>
                <a:lnTo>
                  <a:pt x="5252" y="0"/>
                </a:lnTo>
                <a:cubicBezTo>
                  <a:pt x="5258" y="0"/>
                  <a:pt x="5263" y="5"/>
                  <a:pt x="5263" y="11"/>
                </a:cubicBezTo>
                <a:cubicBezTo>
                  <a:pt x="5263" y="17"/>
                  <a:pt x="5258" y="22"/>
                  <a:pt x="5252" y="22"/>
                </a:cubicBezTo>
                <a:close/>
                <a:moveTo>
                  <a:pt x="5188" y="22"/>
                </a:moveTo>
                <a:lnTo>
                  <a:pt x="5188" y="22"/>
                </a:lnTo>
                <a:cubicBezTo>
                  <a:pt x="5182" y="22"/>
                  <a:pt x="5177" y="17"/>
                  <a:pt x="5177" y="11"/>
                </a:cubicBezTo>
                <a:cubicBezTo>
                  <a:pt x="5177" y="5"/>
                  <a:pt x="5182" y="0"/>
                  <a:pt x="5188" y="0"/>
                </a:cubicBezTo>
                <a:lnTo>
                  <a:pt x="5188" y="0"/>
                </a:lnTo>
                <a:cubicBezTo>
                  <a:pt x="5194" y="0"/>
                  <a:pt x="5199" y="5"/>
                  <a:pt x="5199" y="11"/>
                </a:cubicBezTo>
                <a:cubicBezTo>
                  <a:pt x="5199" y="17"/>
                  <a:pt x="5194" y="22"/>
                  <a:pt x="5188" y="22"/>
                </a:cubicBezTo>
                <a:close/>
                <a:moveTo>
                  <a:pt x="5124" y="22"/>
                </a:moveTo>
                <a:lnTo>
                  <a:pt x="5124" y="22"/>
                </a:lnTo>
                <a:cubicBezTo>
                  <a:pt x="5118" y="22"/>
                  <a:pt x="5113" y="17"/>
                  <a:pt x="5113" y="11"/>
                </a:cubicBezTo>
                <a:cubicBezTo>
                  <a:pt x="5113" y="5"/>
                  <a:pt x="5118" y="0"/>
                  <a:pt x="5124" y="0"/>
                </a:cubicBezTo>
                <a:lnTo>
                  <a:pt x="5124" y="0"/>
                </a:lnTo>
                <a:cubicBezTo>
                  <a:pt x="5130" y="0"/>
                  <a:pt x="5135" y="5"/>
                  <a:pt x="5135" y="11"/>
                </a:cubicBezTo>
                <a:cubicBezTo>
                  <a:pt x="5135" y="17"/>
                  <a:pt x="5130" y="22"/>
                  <a:pt x="5124" y="22"/>
                </a:cubicBezTo>
                <a:close/>
                <a:moveTo>
                  <a:pt x="5060" y="22"/>
                </a:moveTo>
                <a:lnTo>
                  <a:pt x="5060" y="22"/>
                </a:lnTo>
                <a:cubicBezTo>
                  <a:pt x="5054" y="22"/>
                  <a:pt x="5049" y="17"/>
                  <a:pt x="5049" y="11"/>
                </a:cubicBezTo>
                <a:cubicBezTo>
                  <a:pt x="5049" y="5"/>
                  <a:pt x="5054" y="0"/>
                  <a:pt x="5060" y="0"/>
                </a:cubicBezTo>
                <a:lnTo>
                  <a:pt x="5060" y="0"/>
                </a:lnTo>
                <a:cubicBezTo>
                  <a:pt x="5066" y="0"/>
                  <a:pt x="5071" y="5"/>
                  <a:pt x="5071" y="11"/>
                </a:cubicBezTo>
                <a:cubicBezTo>
                  <a:pt x="5071" y="17"/>
                  <a:pt x="5066" y="22"/>
                  <a:pt x="5060" y="22"/>
                </a:cubicBezTo>
                <a:close/>
                <a:moveTo>
                  <a:pt x="4996" y="22"/>
                </a:moveTo>
                <a:lnTo>
                  <a:pt x="4996" y="22"/>
                </a:lnTo>
                <a:cubicBezTo>
                  <a:pt x="4990" y="22"/>
                  <a:pt x="4985" y="17"/>
                  <a:pt x="4985" y="11"/>
                </a:cubicBezTo>
                <a:cubicBezTo>
                  <a:pt x="4985" y="5"/>
                  <a:pt x="4990" y="0"/>
                  <a:pt x="4996" y="0"/>
                </a:cubicBezTo>
                <a:lnTo>
                  <a:pt x="4996" y="0"/>
                </a:lnTo>
                <a:cubicBezTo>
                  <a:pt x="5002" y="0"/>
                  <a:pt x="5007" y="5"/>
                  <a:pt x="5007" y="11"/>
                </a:cubicBezTo>
                <a:cubicBezTo>
                  <a:pt x="5007" y="17"/>
                  <a:pt x="5002" y="22"/>
                  <a:pt x="4996" y="22"/>
                </a:cubicBezTo>
                <a:close/>
                <a:moveTo>
                  <a:pt x="4932" y="22"/>
                </a:moveTo>
                <a:lnTo>
                  <a:pt x="4932" y="22"/>
                </a:lnTo>
                <a:cubicBezTo>
                  <a:pt x="4926" y="22"/>
                  <a:pt x="4921" y="17"/>
                  <a:pt x="4921" y="11"/>
                </a:cubicBezTo>
                <a:cubicBezTo>
                  <a:pt x="4921" y="5"/>
                  <a:pt x="4926" y="0"/>
                  <a:pt x="4932" y="0"/>
                </a:cubicBezTo>
                <a:lnTo>
                  <a:pt x="4932" y="0"/>
                </a:lnTo>
                <a:cubicBezTo>
                  <a:pt x="4938" y="0"/>
                  <a:pt x="4943" y="5"/>
                  <a:pt x="4943" y="11"/>
                </a:cubicBezTo>
                <a:cubicBezTo>
                  <a:pt x="4943" y="17"/>
                  <a:pt x="4938" y="22"/>
                  <a:pt x="4932" y="22"/>
                </a:cubicBezTo>
                <a:close/>
                <a:moveTo>
                  <a:pt x="4868" y="22"/>
                </a:moveTo>
                <a:lnTo>
                  <a:pt x="4868" y="22"/>
                </a:lnTo>
                <a:cubicBezTo>
                  <a:pt x="4862" y="22"/>
                  <a:pt x="4857" y="17"/>
                  <a:pt x="4857" y="11"/>
                </a:cubicBezTo>
                <a:cubicBezTo>
                  <a:pt x="4857" y="5"/>
                  <a:pt x="4862" y="0"/>
                  <a:pt x="4868" y="0"/>
                </a:cubicBezTo>
                <a:lnTo>
                  <a:pt x="4868" y="0"/>
                </a:lnTo>
                <a:cubicBezTo>
                  <a:pt x="4874" y="0"/>
                  <a:pt x="4879" y="5"/>
                  <a:pt x="4879" y="11"/>
                </a:cubicBezTo>
                <a:cubicBezTo>
                  <a:pt x="4879" y="17"/>
                  <a:pt x="4874" y="22"/>
                  <a:pt x="4868" y="22"/>
                </a:cubicBezTo>
                <a:close/>
                <a:moveTo>
                  <a:pt x="4804" y="22"/>
                </a:moveTo>
                <a:lnTo>
                  <a:pt x="4804" y="22"/>
                </a:lnTo>
                <a:cubicBezTo>
                  <a:pt x="4798" y="22"/>
                  <a:pt x="4793" y="17"/>
                  <a:pt x="4793" y="11"/>
                </a:cubicBezTo>
                <a:cubicBezTo>
                  <a:pt x="4793" y="5"/>
                  <a:pt x="4798" y="0"/>
                  <a:pt x="4804" y="0"/>
                </a:cubicBezTo>
                <a:lnTo>
                  <a:pt x="4804" y="0"/>
                </a:lnTo>
                <a:cubicBezTo>
                  <a:pt x="4810" y="0"/>
                  <a:pt x="4815" y="5"/>
                  <a:pt x="4815" y="11"/>
                </a:cubicBezTo>
                <a:cubicBezTo>
                  <a:pt x="4815" y="17"/>
                  <a:pt x="4810" y="22"/>
                  <a:pt x="4804" y="22"/>
                </a:cubicBezTo>
                <a:close/>
                <a:moveTo>
                  <a:pt x="4740" y="22"/>
                </a:moveTo>
                <a:lnTo>
                  <a:pt x="4740" y="22"/>
                </a:lnTo>
                <a:cubicBezTo>
                  <a:pt x="4734" y="22"/>
                  <a:pt x="4729" y="17"/>
                  <a:pt x="4729" y="11"/>
                </a:cubicBezTo>
                <a:cubicBezTo>
                  <a:pt x="4729" y="5"/>
                  <a:pt x="4734" y="0"/>
                  <a:pt x="4740" y="0"/>
                </a:cubicBezTo>
                <a:lnTo>
                  <a:pt x="4740" y="0"/>
                </a:lnTo>
                <a:cubicBezTo>
                  <a:pt x="4746" y="0"/>
                  <a:pt x="4751" y="5"/>
                  <a:pt x="4751" y="11"/>
                </a:cubicBezTo>
                <a:cubicBezTo>
                  <a:pt x="4751" y="17"/>
                  <a:pt x="4746" y="22"/>
                  <a:pt x="4740" y="22"/>
                </a:cubicBezTo>
                <a:close/>
                <a:moveTo>
                  <a:pt x="4676" y="22"/>
                </a:moveTo>
                <a:lnTo>
                  <a:pt x="4676" y="22"/>
                </a:lnTo>
                <a:cubicBezTo>
                  <a:pt x="4670" y="22"/>
                  <a:pt x="4665" y="17"/>
                  <a:pt x="4665" y="11"/>
                </a:cubicBezTo>
                <a:cubicBezTo>
                  <a:pt x="4665" y="5"/>
                  <a:pt x="4670" y="0"/>
                  <a:pt x="4676" y="0"/>
                </a:cubicBezTo>
                <a:lnTo>
                  <a:pt x="4676" y="0"/>
                </a:lnTo>
                <a:cubicBezTo>
                  <a:pt x="4682" y="0"/>
                  <a:pt x="4687" y="5"/>
                  <a:pt x="4687" y="11"/>
                </a:cubicBezTo>
                <a:cubicBezTo>
                  <a:pt x="4687" y="17"/>
                  <a:pt x="4682" y="22"/>
                  <a:pt x="4676" y="22"/>
                </a:cubicBezTo>
                <a:close/>
                <a:moveTo>
                  <a:pt x="4612" y="22"/>
                </a:moveTo>
                <a:lnTo>
                  <a:pt x="4612" y="22"/>
                </a:lnTo>
                <a:cubicBezTo>
                  <a:pt x="4606" y="22"/>
                  <a:pt x="4601" y="17"/>
                  <a:pt x="4601" y="11"/>
                </a:cubicBezTo>
                <a:cubicBezTo>
                  <a:pt x="4601" y="5"/>
                  <a:pt x="4606" y="0"/>
                  <a:pt x="4612" y="0"/>
                </a:cubicBezTo>
                <a:lnTo>
                  <a:pt x="4612" y="0"/>
                </a:lnTo>
                <a:cubicBezTo>
                  <a:pt x="4618" y="0"/>
                  <a:pt x="4623" y="5"/>
                  <a:pt x="4623" y="11"/>
                </a:cubicBezTo>
                <a:cubicBezTo>
                  <a:pt x="4623" y="17"/>
                  <a:pt x="4618" y="22"/>
                  <a:pt x="4612" y="22"/>
                </a:cubicBezTo>
                <a:close/>
                <a:moveTo>
                  <a:pt x="4548" y="22"/>
                </a:moveTo>
                <a:lnTo>
                  <a:pt x="4548" y="22"/>
                </a:lnTo>
                <a:cubicBezTo>
                  <a:pt x="4542" y="22"/>
                  <a:pt x="4537" y="17"/>
                  <a:pt x="4537" y="11"/>
                </a:cubicBezTo>
                <a:cubicBezTo>
                  <a:pt x="4537" y="5"/>
                  <a:pt x="4542" y="0"/>
                  <a:pt x="4548" y="0"/>
                </a:cubicBezTo>
                <a:lnTo>
                  <a:pt x="4548" y="0"/>
                </a:lnTo>
                <a:cubicBezTo>
                  <a:pt x="4554" y="0"/>
                  <a:pt x="4559" y="5"/>
                  <a:pt x="4559" y="11"/>
                </a:cubicBezTo>
                <a:cubicBezTo>
                  <a:pt x="4559" y="17"/>
                  <a:pt x="4554" y="22"/>
                  <a:pt x="4548" y="22"/>
                </a:cubicBezTo>
                <a:close/>
                <a:moveTo>
                  <a:pt x="4484" y="22"/>
                </a:moveTo>
                <a:lnTo>
                  <a:pt x="4484" y="22"/>
                </a:lnTo>
                <a:cubicBezTo>
                  <a:pt x="4478" y="22"/>
                  <a:pt x="4473" y="17"/>
                  <a:pt x="4473" y="11"/>
                </a:cubicBezTo>
                <a:cubicBezTo>
                  <a:pt x="4473" y="5"/>
                  <a:pt x="4478" y="0"/>
                  <a:pt x="4484" y="0"/>
                </a:cubicBezTo>
                <a:lnTo>
                  <a:pt x="4484" y="0"/>
                </a:lnTo>
                <a:cubicBezTo>
                  <a:pt x="4490" y="0"/>
                  <a:pt x="4495" y="5"/>
                  <a:pt x="4495" y="11"/>
                </a:cubicBezTo>
                <a:cubicBezTo>
                  <a:pt x="4495" y="17"/>
                  <a:pt x="4490" y="22"/>
                  <a:pt x="4484" y="22"/>
                </a:cubicBezTo>
                <a:close/>
                <a:moveTo>
                  <a:pt x="4420" y="22"/>
                </a:moveTo>
                <a:lnTo>
                  <a:pt x="4420" y="22"/>
                </a:lnTo>
                <a:cubicBezTo>
                  <a:pt x="4414" y="22"/>
                  <a:pt x="4409" y="17"/>
                  <a:pt x="4409" y="11"/>
                </a:cubicBezTo>
                <a:cubicBezTo>
                  <a:pt x="4409" y="5"/>
                  <a:pt x="4414" y="0"/>
                  <a:pt x="4420" y="0"/>
                </a:cubicBezTo>
                <a:lnTo>
                  <a:pt x="4420" y="0"/>
                </a:lnTo>
                <a:cubicBezTo>
                  <a:pt x="4426" y="0"/>
                  <a:pt x="4431" y="5"/>
                  <a:pt x="4431" y="11"/>
                </a:cubicBezTo>
                <a:cubicBezTo>
                  <a:pt x="4431" y="17"/>
                  <a:pt x="4426" y="22"/>
                  <a:pt x="4420" y="22"/>
                </a:cubicBezTo>
                <a:close/>
                <a:moveTo>
                  <a:pt x="4356" y="22"/>
                </a:moveTo>
                <a:lnTo>
                  <a:pt x="4356" y="22"/>
                </a:lnTo>
                <a:cubicBezTo>
                  <a:pt x="4350" y="22"/>
                  <a:pt x="4345" y="17"/>
                  <a:pt x="4345" y="11"/>
                </a:cubicBezTo>
                <a:cubicBezTo>
                  <a:pt x="4345" y="5"/>
                  <a:pt x="4350" y="0"/>
                  <a:pt x="4356" y="0"/>
                </a:cubicBezTo>
                <a:lnTo>
                  <a:pt x="4356" y="0"/>
                </a:lnTo>
                <a:cubicBezTo>
                  <a:pt x="4362" y="0"/>
                  <a:pt x="4367" y="5"/>
                  <a:pt x="4367" y="11"/>
                </a:cubicBezTo>
                <a:cubicBezTo>
                  <a:pt x="4367" y="17"/>
                  <a:pt x="4362" y="22"/>
                  <a:pt x="4356" y="22"/>
                </a:cubicBezTo>
                <a:close/>
                <a:moveTo>
                  <a:pt x="4292" y="22"/>
                </a:moveTo>
                <a:lnTo>
                  <a:pt x="4292" y="22"/>
                </a:lnTo>
                <a:cubicBezTo>
                  <a:pt x="4286" y="22"/>
                  <a:pt x="4281" y="17"/>
                  <a:pt x="4281" y="11"/>
                </a:cubicBezTo>
                <a:cubicBezTo>
                  <a:pt x="4281" y="5"/>
                  <a:pt x="4286" y="0"/>
                  <a:pt x="4292" y="0"/>
                </a:cubicBezTo>
                <a:lnTo>
                  <a:pt x="4292" y="0"/>
                </a:lnTo>
                <a:cubicBezTo>
                  <a:pt x="4298" y="0"/>
                  <a:pt x="4302" y="5"/>
                  <a:pt x="4302" y="11"/>
                </a:cubicBezTo>
                <a:cubicBezTo>
                  <a:pt x="4302" y="17"/>
                  <a:pt x="4298" y="22"/>
                  <a:pt x="4292" y="22"/>
                </a:cubicBezTo>
                <a:close/>
                <a:moveTo>
                  <a:pt x="4228" y="22"/>
                </a:moveTo>
                <a:lnTo>
                  <a:pt x="4228" y="22"/>
                </a:lnTo>
                <a:cubicBezTo>
                  <a:pt x="4222" y="22"/>
                  <a:pt x="4217" y="17"/>
                  <a:pt x="4217" y="11"/>
                </a:cubicBezTo>
                <a:cubicBezTo>
                  <a:pt x="4217" y="5"/>
                  <a:pt x="4222" y="0"/>
                  <a:pt x="4228" y="0"/>
                </a:cubicBezTo>
                <a:lnTo>
                  <a:pt x="4228" y="0"/>
                </a:lnTo>
                <a:cubicBezTo>
                  <a:pt x="4234" y="0"/>
                  <a:pt x="4238" y="5"/>
                  <a:pt x="4238" y="11"/>
                </a:cubicBezTo>
                <a:cubicBezTo>
                  <a:pt x="4238" y="17"/>
                  <a:pt x="4234" y="22"/>
                  <a:pt x="4228" y="22"/>
                </a:cubicBezTo>
                <a:close/>
                <a:moveTo>
                  <a:pt x="4164" y="22"/>
                </a:moveTo>
                <a:lnTo>
                  <a:pt x="4164" y="22"/>
                </a:lnTo>
                <a:cubicBezTo>
                  <a:pt x="4158" y="22"/>
                  <a:pt x="4153" y="17"/>
                  <a:pt x="4153" y="11"/>
                </a:cubicBezTo>
                <a:cubicBezTo>
                  <a:pt x="4153" y="5"/>
                  <a:pt x="4158" y="0"/>
                  <a:pt x="4164" y="0"/>
                </a:cubicBezTo>
                <a:lnTo>
                  <a:pt x="4164" y="0"/>
                </a:lnTo>
                <a:cubicBezTo>
                  <a:pt x="4170" y="0"/>
                  <a:pt x="4174" y="5"/>
                  <a:pt x="4174" y="11"/>
                </a:cubicBezTo>
                <a:cubicBezTo>
                  <a:pt x="4174" y="17"/>
                  <a:pt x="4170" y="22"/>
                  <a:pt x="4164" y="22"/>
                </a:cubicBezTo>
                <a:close/>
                <a:moveTo>
                  <a:pt x="4100" y="22"/>
                </a:moveTo>
                <a:lnTo>
                  <a:pt x="4100" y="22"/>
                </a:lnTo>
                <a:cubicBezTo>
                  <a:pt x="4094" y="22"/>
                  <a:pt x="4089" y="17"/>
                  <a:pt x="4089" y="11"/>
                </a:cubicBezTo>
                <a:cubicBezTo>
                  <a:pt x="4089" y="5"/>
                  <a:pt x="4094" y="0"/>
                  <a:pt x="4100" y="0"/>
                </a:cubicBezTo>
                <a:lnTo>
                  <a:pt x="4100" y="0"/>
                </a:lnTo>
                <a:cubicBezTo>
                  <a:pt x="4106" y="0"/>
                  <a:pt x="4110" y="5"/>
                  <a:pt x="4110" y="11"/>
                </a:cubicBezTo>
                <a:cubicBezTo>
                  <a:pt x="4110" y="17"/>
                  <a:pt x="4106" y="22"/>
                  <a:pt x="4100" y="22"/>
                </a:cubicBezTo>
                <a:close/>
                <a:moveTo>
                  <a:pt x="4036" y="22"/>
                </a:moveTo>
                <a:lnTo>
                  <a:pt x="4036" y="22"/>
                </a:lnTo>
                <a:cubicBezTo>
                  <a:pt x="4030" y="22"/>
                  <a:pt x="4025" y="17"/>
                  <a:pt x="4025" y="11"/>
                </a:cubicBezTo>
                <a:cubicBezTo>
                  <a:pt x="4025" y="5"/>
                  <a:pt x="4030" y="0"/>
                  <a:pt x="4036" y="0"/>
                </a:cubicBezTo>
                <a:lnTo>
                  <a:pt x="4036" y="0"/>
                </a:lnTo>
                <a:cubicBezTo>
                  <a:pt x="4042" y="0"/>
                  <a:pt x="4046" y="5"/>
                  <a:pt x="4046" y="11"/>
                </a:cubicBezTo>
                <a:cubicBezTo>
                  <a:pt x="4046" y="17"/>
                  <a:pt x="4042" y="22"/>
                  <a:pt x="4036" y="22"/>
                </a:cubicBezTo>
                <a:close/>
                <a:moveTo>
                  <a:pt x="3972" y="22"/>
                </a:moveTo>
                <a:lnTo>
                  <a:pt x="3972" y="22"/>
                </a:lnTo>
                <a:cubicBezTo>
                  <a:pt x="3966" y="22"/>
                  <a:pt x="3961" y="17"/>
                  <a:pt x="3961" y="11"/>
                </a:cubicBezTo>
                <a:cubicBezTo>
                  <a:pt x="3961" y="5"/>
                  <a:pt x="3966" y="0"/>
                  <a:pt x="3972" y="0"/>
                </a:cubicBezTo>
                <a:lnTo>
                  <a:pt x="3972" y="0"/>
                </a:lnTo>
                <a:cubicBezTo>
                  <a:pt x="3978" y="0"/>
                  <a:pt x="3982" y="5"/>
                  <a:pt x="3982" y="11"/>
                </a:cubicBezTo>
                <a:cubicBezTo>
                  <a:pt x="3982" y="17"/>
                  <a:pt x="3978" y="22"/>
                  <a:pt x="3972" y="22"/>
                </a:cubicBezTo>
                <a:close/>
                <a:moveTo>
                  <a:pt x="3908" y="22"/>
                </a:moveTo>
                <a:lnTo>
                  <a:pt x="3908" y="22"/>
                </a:lnTo>
                <a:cubicBezTo>
                  <a:pt x="3902" y="22"/>
                  <a:pt x="3897" y="17"/>
                  <a:pt x="3897" y="11"/>
                </a:cubicBezTo>
                <a:cubicBezTo>
                  <a:pt x="3897" y="5"/>
                  <a:pt x="3902" y="0"/>
                  <a:pt x="3908" y="0"/>
                </a:cubicBezTo>
                <a:lnTo>
                  <a:pt x="3908" y="0"/>
                </a:lnTo>
                <a:cubicBezTo>
                  <a:pt x="3914" y="0"/>
                  <a:pt x="3918" y="5"/>
                  <a:pt x="3918" y="11"/>
                </a:cubicBezTo>
                <a:cubicBezTo>
                  <a:pt x="3918" y="17"/>
                  <a:pt x="3914" y="22"/>
                  <a:pt x="3908" y="22"/>
                </a:cubicBezTo>
                <a:close/>
                <a:moveTo>
                  <a:pt x="3844" y="22"/>
                </a:moveTo>
                <a:lnTo>
                  <a:pt x="3844" y="22"/>
                </a:lnTo>
                <a:cubicBezTo>
                  <a:pt x="3838" y="22"/>
                  <a:pt x="3833" y="17"/>
                  <a:pt x="3833" y="11"/>
                </a:cubicBezTo>
                <a:cubicBezTo>
                  <a:pt x="3833" y="5"/>
                  <a:pt x="3838" y="0"/>
                  <a:pt x="3844" y="0"/>
                </a:cubicBezTo>
                <a:lnTo>
                  <a:pt x="3844" y="0"/>
                </a:lnTo>
                <a:cubicBezTo>
                  <a:pt x="3850" y="0"/>
                  <a:pt x="3854" y="5"/>
                  <a:pt x="3854" y="11"/>
                </a:cubicBezTo>
                <a:cubicBezTo>
                  <a:pt x="3854" y="17"/>
                  <a:pt x="3850" y="22"/>
                  <a:pt x="3844" y="22"/>
                </a:cubicBezTo>
                <a:close/>
                <a:moveTo>
                  <a:pt x="3780" y="22"/>
                </a:moveTo>
                <a:lnTo>
                  <a:pt x="3780" y="22"/>
                </a:lnTo>
                <a:cubicBezTo>
                  <a:pt x="3774" y="22"/>
                  <a:pt x="3769" y="17"/>
                  <a:pt x="3769" y="11"/>
                </a:cubicBezTo>
                <a:cubicBezTo>
                  <a:pt x="3769" y="5"/>
                  <a:pt x="3774" y="0"/>
                  <a:pt x="3780" y="0"/>
                </a:cubicBezTo>
                <a:lnTo>
                  <a:pt x="3780" y="0"/>
                </a:lnTo>
                <a:cubicBezTo>
                  <a:pt x="3786" y="0"/>
                  <a:pt x="3790" y="5"/>
                  <a:pt x="3790" y="11"/>
                </a:cubicBezTo>
                <a:cubicBezTo>
                  <a:pt x="3790" y="17"/>
                  <a:pt x="3786" y="22"/>
                  <a:pt x="3780" y="22"/>
                </a:cubicBezTo>
                <a:close/>
                <a:moveTo>
                  <a:pt x="3716" y="22"/>
                </a:moveTo>
                <a:lnTo>
                  <a:pt x="3716" y="22"/>
                </a:lnTo>
                <a:cubicBezTo>
                  <a:pt x="3710" y="22"/>
                  <a:pt x="3705" y="17"/>
                  <a:pt x="3705" y="11"/>
                </a:cubicBezTo>
                <a:cubicBezTo>
                  <a:pt x="3705" y="5"/>
                  <a:pt x="3710" y="0"/>
                  <a:pt x="3716" y="0"/>
                </a:cubicBezTo>
                <a:lnTo>
                  <a:pt x="3716" y="0"/>
                </a:lnTo>
                <a:cubicBezTo>
                  <a:pt x="3722" y="0"/>
                  <a:pt x="3726" y="5"/>
                  <a:pt x="3726" y="11"/>
                </a:cubicBezTo>
                <a:cubicBezTo>
                  <a:pt x="3726" y="17"/>
                  <a:pt x="3722" y="22"/>
                  <a:pt x="3716" y="22"/>
                </a:cubicBezTo>
                <a:close/>
                <a:moveTo>
                  <a:pt x="3652" y="22"/>
                </a:moveTo>
                <a:lnTo>
                  <a:pt x="3652" y="22"/>
                </a:lnTo>
                <a:cubicBezTo>
                  <a:pt x="3646" y="22"/>
                  <a:pt x="3641" y="17"/>
                  <a:pt x="3641" y="11"/>
                </a:cubicBezTo>
                <a:cubicBezTo>
                  <a:pt x="3641" y="5"/>
                  <a:pt x="3646" y="0"/>
                  <a:pt x="3652" y="0"/>
                </a:cubicBezTo>
                <a:lnTo>
                  <a:pt x="3652" y="0"/>
                </a:lnTo>
                <a:cubicBezTo>
                  <a:pt x="3657" y="0"/>
                  <a:pt x="3662" y="5"/>
                  <a:pt x="3662" y="11"/>
                </a:cubicBezTo>
                <a:cubicBezTo>
                  <a:pt x="3662" y="17"/>
                  <a:pt x="3657" y="22"/>
                  <a:pt x="3652" y="22"/>
                </a:cubicBezTo>
                <a:close/>
                <a:moveTo>
                  <a:pt x="3588" y="22"/>
                </a:moveTo>
                <a:lnTo>
                  <a:pt x="3588" y="22"/>
                </a:lnTo>
                <a:cubicBezTo>
                  <a:pt x="3582" y="22"/>
                  <a:pt x="3577" y="17"/>
                  <a:pt x="3577" y="11"/>
                </a:cubicBezTo>
                <a:cubicBezTo>
                  <a:pt x="3577" y="5"/>
                  <a:pt x="3582" y="0"/>
                  <a:pt x="3588" y="0"/>
                </a:cubicBezTo>
                <a:lnTo>
                  <a:pt x="3588" y="0"/>
                </a:lnTo>
                <a:cubicBezTo>
                  <a:pt x="3593" y="0"/>
                  <a:pt x="3598" y="5"/>
                  <a:pt x="3598" y="11"/>
                </a:cubicBezTo>
                <a:cubicBezTo>
                  <a:pt x="3598" y="17"/>
                  <a:pt x="3593" y="22"/>
                  <a:pt x="3588" y="22"/>
                </a:cubicBezTo>
                <a:close/>
                <a:moveTo>
                  <a:pt x="3524" y="22"/>
                </a:moveTo>
                <a:lnTo>
                  <a:pt x="3524" y="22"/>
                </a:lnTo>
                <a:cubicBezTo>
                  <a:pt x="3518" y="22"/>
                  <a:pt x="3513" y="17"/>
                  <a:pt x="3513" y="11"/>
                </a:cubicBezTo>
                <a:cubicBezTo>
                  <a:pt x="3513" y="5"/>
                  <a:pt x="3518" y="0"/>
                  <a:pt x="3524" y="0"/>
                </a:cubicBezTo>
                <a:lnTo>
                  <a:pt x="3524" y="0"/>
                </a:lnTo>
                <a:cubicBezTo>
                  <a:pt x="3529" y="0"/>
                  <a:pt x="3534" y="5"/>
                  <a:pt x="3534" y="11"/>
                </a:cubicBezTo>
                <a:cubicBezTo>
                  <a:pt x="3534" y="17"/>
                  <a:pt x="3529" y="22"/>
                  <a:pt x="3524" y="22"/>
                </a:cubicBezTo>
                <a:close/>
                <a:moveTo>
                  <a:pt x="3460" y="22"/>
                </a:moveTo>
                <a:lnTo>
                  <a:pt x="3460" y="22"/>
                </a:lnTo>
                <a:cubicBezTo>
                  <a:pt x="3454" y="22"/>
                  <a:pt x="3449" y="17"/>
                  <a:pt x="3449" y="11"/>
                </a:cubicBezTo>
                <a:cubicBezTo>
                  <a:pt x="3449" y="5"/>
                  <a:pt x="3454" y="0"/>
                  <a:pt x="3460" y="0"/>
                </a:cubicBezTo>
                <a:lnTo>
                  <a:pt x="3460" y="0"/>
                </a:lnTo>
                <a:cubicBezTo>
                  <a:pt x="3465" y="0"/>
                  <a:pt x="3470" y="5"/>
                  <a:pt x="3470" y="11"/>
                </a:cubicBezTo>
                <a:cubicBezTo>
                  <a:pt x="3470" y="17"/>
                  <a:pt x="3465" y="22"/>
                  <a:pt x="3460" y="22"/>
                </a:cubicBezTo>
                <a:close/>
                <a:moveTo>
                  <a:pt x="3396" y="22"/>
                </a:moveTo>
                <a:lnTo>
                  <a:pt x="3396" y="22"/>
                </a:lnTo>
                <a:cubicBezTo>
                  <a:pt x="3390" y="22"/>
                  <a:pt x="3385" y="17"/>
                  <a:pt x="3385" y="11"/>
                </a:cubicBezTo>
                <a:cubicBezTo>
                  <a:pt x="3385" y="5"/>
                  <a:pt x="3390" y="0"/>
                  <a:pt x="3396" y="0"/>
                </a:cubicBezTo>
                <a:lnTo>
                  <a:pt x="3396" y="0"/>
                </a:lnTo>
                <a:cubicBezTo>
                  <a:pt x="3401" y="0"/>
                  <a:pt x="3406" y="5"/>
                  <a:pt x="3406" y="11"/>
                </a:cubicBezTo>
                <a:cubicBezTo>
                  <a:pt x="3406" y="17"/>
                  <a:pt x="3401" y="22"/>
                  <a:pt x="3396" y="22"/>
                </a:cubicBezTo>
                <a:close/>
                <a:moveTo>
                  <a:pt x="3332" y="22"/>
                </a:moveTo>
                <a:lnTo>
                  <a:pt x="3331" y="22"/>
                </a:lnTo>
                <a:cubicBezTo>
                  <a:pt x="3326" y="22"/>
                  <a:pt x="3321" y="17"/>
                  <a:pt x="3321" y="11"/>
                </a:cubicBezTo>
                <a:cubicBezTo>
                  <a:pt x="3321" y="5"/>
                  <a:pt x="3326" y="0"/>
                  <a:pt x="3331" y="0"/>
                </a:cubicBezTo>
                <a:lnTo>
                  <a:pt x="3332" y="0"/>
                </a:lnTo>
                <a:cubicBezTo>
                  <a:pt x="3337" y="0"/>
                  <a:pt x="3342" y="5"/>
                  <a:pt x="3342" y="11"/>
                </a:cubicBezTo>
                <a:cubicBezTo>
                  <a:pt x="3342" y="17"/>
                  <a:pt x="3337" y="22"/>
                  <a:pt x="3332" y="22"/>
                </a:cubicBezTo>
                <a:close/>
                <a:moveTo>
                  <a:pt x="3267" y="22"/>
                </a:moveTo>
                <a:lnTo>
                  <a:pt x="3267" y="22"/>
                </a:lnTo>
                <a:cubicBezTo>
                  <a:pt x="3262" y="22"/>
                  <a:pt x="3257" y="17"/>
                  <a:pt x="3257" y="11"/>
                </a:cubicBezTo>
                <a:cubicBezTo>
                  <a:pt x="3257" y="5"/>
                  <a:pt x="3262" y="0"/>
                  <a:pt x="3267" y="0"/>
                </a:cubicBezTo>
                <a:lnTo>
                  <a:pt x="3267" y="0"/>
                </a:lnTo>
                <a:cubicBezTo>
                  <a:pt x="3273" y="0"/>
                  <a:pt x="3278" y="5"/>
                  <a:pt x="3278" y="11"/>
                </a:cubicBezTo>
                <a:cubicBezTo>
                  <a:pt x="3278" y="17"/>
                  <a:pt x="3273" y="22"/>
                  <a:pt x="3267" y="22"/>
                </a:cubicBezTo>
                <a:close/>
                <a:moveTo>
                  <a:pt x="3203" y="22"/>
                </a:moveTo>
                <a:lnTo>
                  <a:pt x="3203" y="22"/>
                </a:lnTo>
                <a:cubicBezTo>
                  <a:pt x="3198" y="22"/>
                  <a:pt x="3193" y="17"/>
                  <a:pt x="3193" y="11"/>
                </a:cubicBezTo>
                <a:cubicBezTo>
                  <a:pt x="3193" y="5"/>
                  <a:pt x="3198" y="0"/>
                  <a:pt x="3203" y="0"/>
                </a:cubicBezTo>
                <a:lnTo>
                  <a:pt x="3203" y="0"/>
                </a:lnTo>
                <a:cubicBezTo>
                  <a:pt x="3209" y="0"/>
                  <a:pt x="3214" y="5"/>
                  <a:pt x="3214" y="11"/>
                </a:cubicBezTo>
                <a:cubicBezTo>
                  <a:pt x="3214" y="17"/>
                  <a:pt x="3209" y="22"/>
                  <a:pt x="3203" y="22"/>
                </a:cubicBezTo>
                <a:close/>
                <a:moveTo>
                  <a:pt x="3139" y="22"/>
                </a:moveTo>
                <a:lnTo>
                  <a:pt x="3139" y="22"/>
                </a:lnTo>
                <a:cubicBezTo>
                  <a:pt x="3134" y="22"/>
                  <a:pt x="3129" y="17"/>
                  <a:pt x="3129" y="11"/>
                </a:cubicBezTo>
                <a:cubicBezTo>
                  <a:pt x="3129" y="5"/>
                  <a:pt x="3134" y="0"/>
                  <a:pt x="3139" y="0"/>
                </a:cubicBezTo>
                <a:lnTo>
                  <a:pt x="3139" y="0"/>
                </a:lnTo>
                <a:cubicBezTo>
                  <a:pt x="3145" y="0"/>
                  <a:pt x="3150" y="5"/>
                  <a:pt x="3150" y="11"/>
                </a:cubicBezTo>
                <a:cubicBezTo>
                  <a:pt x="3150" y="17"/>
                  <a:pt x="3145" y="22"/>
                  <a:pt x="3139" y="22"/>
                </a:cubicBezTo>
                <a:close/>
                <a:moveTo>
                  <a:pt x="3075" y="22"/>
                </a:moveTo>
                <a:lnTo>
                  <a:pt x="3075" y="22"/>
                </a:lnTo>
                <a:cubicBezTo>
                  <a:pt x="3070" y="22"/>
                  <a:pt x="3065" y="17"/>
                  <a:pt x="3065" y="11"/>
                </a:cubicBezTo>
                <a:cubicBezTo>
                  <a:pt x="3065" y="5"/>
                  <a:pt x="3070" y="0"/>
                  <a:pt x="3075" y="0"/>
                </a:cubicBezTo>
                <a:lnTo>
                  <a:pt x="3075" y="0"/>
                </a:lnTo>
                <a:cubicBezTo>
                  <a:pt x="3081" y="0"/>
                  <a:pt x="3086" y="5"/>
                  <a:pt x="3086" y="11"/>
                </a:cubicBezTo>
                <a:cubicBezTo>
                  <a:pt x="3086" y="17"/>
                  <a:pt x="3081" y="22"/>
                  <a:pt x="3075" y="22"/>
                </a:cubicBezTo>
                <a:close/>
                <a:moveTo>
                  <a:pt x="3011" y="22"/>
                </a:moveTo>
                <a:lnTo>
                  <a:pt x="3011" y="22"/>
                </a:lnTo>
                <a:cubicBezTo>
                  <a:pt x="3005" y="22"/>
                  <a:pt x="3001" y="17"/>
                  <a:pt x="3001" y="11"/>
                </a:cubicBezTo>
                <a:cubicBezTo>
                  <a:pt x="3001" y="5"/>
                  <a:pt x="3005" y="0"/>
                  <a:pt x="3011" y="0"/>
                </a:cubicBezTo>
                <a:lnTo>
                  <a:pt x="3011" y="0"/>
                </a:lnTo>
                <a:cubicBezTo>
                  <a:pt x="3017" y="0"/>
                  <a:pt x="3022" y="5"/>
                  <a:pt x="3022" y="11"/>
                </a:cubicBezTo>
                <a:cubicBezTo>
                  <a:pt x="3022" y="17"/>
                  <a:pt x="3017" y="22"/>
                  <a:pt x="3011" y="22"/>
                </a:cubicBezTo>
                <a:close/>
                <a:moveTo>
                  <a:pt x="2947" y="22"/>
                </a:moveTo>
                <a:lnTo>
                  <a:pt x="2947" y="22"/>
                </a:lnTo>
                <a:cubicBezTo>
                  <a:pt x="2941" y="22"/>
                  <a:pt x="2937" y="17"/>
                  <a:pt x="2937" y="11"/>
                </a:cubicBezTo>
                <a:cubicBezTo>
                  <a:pt x="2937" y="5"/>
                  <a:pt x="2941" y="0"/>
                  <a:pt x="2947" y="0"/>
                </a:cubicBezTo>
                <a:lnTo>
                  <a:pt x="2947" y="0"/>
                </a:lnTo>
                <a:cubicBezTo>
                  <a:pt x="2953" y="0"/>
                  <a:pt x="2958" y="5"/>
                  <a:pt x="2958" y="11"/>
                </a:cubicBezTo>
                <a:cubicBezTo>
                  <a:pt x="2958" y="17"/>
                  <a:pt x="2953" y="22"/>
                  <a:pt x="2947" y="22"/>
                </a:cubicBezTo>
                <a:close/>
                <a:moveTo>
                  <a:pt x="2883" y="22"/>
                </a:moveTo>
                <a:lnTo>
                  <a:pt x="2883" y="22"/>
                </a:lnTo>
                <a:cubicBezTo>
                  <a:pt x="2877" y="22"/>
                  <a:pt x="2873" y="17"/>
                  <a:pt x="2873" y="11"/>
                </a:cubicBezTo>
                <a:cubicBezTo>
                  <a:pt x="2873" y="5"/>
                  <a:pt x="2877" y="0"/>
                  <a:pt x="2883" y="0"/>
                </a:cubicBezTo>
                <a:lnTo>
                  <a:pt x="2883" y="0"/>
                </a:lnTo>
                <a:cubicBezTo>
                  <a:pt x="2889" y="0"/>
                  <a:pt x="2894" y="5"/>
                  <a:pt x="2894" y="11"/>
                </a:cubicBezTo>
                <a:cubicBezTo>
                  <a:pt x="2894" y="17"/>
                  <a:pt x="2889" y="22"/>
                  <a:pt x="2883" y="22"/>
                </a:cubicBezTo>
                <a:close/>
                <a:moveTo>
                  <a:pt x="2819" y="22"/>
                </a:moveTo>
                <a:lnTo>
                  <a:pt x="2819" y="22"/>
                </a:lnTo>
                <a:cubicBezTo>
                  <a:pt x="2813" y="22"/>
                  <a:pt x="2809" y="17"/>
                  <a:pt x="2809" y="11"/>
                </a:cubicBezTo>
                <a:cubicBezTo>
                  <a:pt x="2809" y="5"/>
                  <a:pt x="2813" y="0"/>
                  <a:pt x="2819" y="0"/>
                </a:cubicBezTo>
                <a:lnTo>
                  <a:pt x="2819" y="0"/>
                </a:lnTo>
                <a:cubicBezTo>
                  <a:pt x="2825" y="0"/>
                  <a:pt x="2830" y="5"/>
                  <a:pt x="2830" y="11"/>
                </a:cubicBezTo>
                <a:cubicBezTo>
                  <a:pt x="2830" y="17"/>
                  <a:pt x="2825" y="22"/>
                  <a:pt x="2819" y="22"/>
                </a:cubicBezTo>
                <a:close/>
                <a:moveTo>
                  <a:pt x="2755" y="22"/>
                </a:moveTo>
                <a:lnTo>
                  <a:pt x="2755" y="22"/>
                </a:lnTo>
                <a:cubicBezTo>
                  <a:pt x="2749" y="22"/>
                  <a:pt x="2745" y="17"/>
                  <a:pt x="2745" y="11"/>
                </a:cubicBezTo>
                <a:cubicBezTo>
                  <a:pt x="2745" y="5"/>
                  <a:pt x="2749" y="0"/>
                  <a:pt x="2755" y="0"/>
                </a:cubicBezTo>
                <a:lnTo>
                  <a:pt x="2755" y="0"/>
                </a:lnTo>
                <a:cubicBezTo>
                  <a:pt x="2761" y="0"/>
                  <a:pt x="2766" y="5"/>
                  <a:pt x="2766" y="11"/>
                </a:cubicBezTo>
                <a:cubicBezTo>
                  <a:pt x="2766" y="17"/>
                  <a:pt x="2761" y="22"/>
                  <a:pt x="2755" y="22"/>
                </a:cubicBezTo>
                <a:close/>
                <a:moveTo>
                  <a:pt x="2691" y="22"/>
                </a:moveTo>
                <a:lnTo>
                  <a:pt x="2691" y="22"/>
                </a:lnTo>
                <a:cubicBezTo>
                  <a:pt x="2685" y="22"/>
                  <a:pt x="2681" y="17"/>
                  <a:pt x="2681" y="11"/>
                </a:cubicBezTo>
                <a:cubicBezTo>
                  <a:pt x="2681" y="5"/>
                  <a:pt x="2685" y="0"/>
                  <a:pt x="2691" y="0"/>
                </a:cubicBezTo>
                <a:lnTo>
                  <a:pt x="2691" y="0"/>
                </a:lnTo>
                <a:cubicBezTo>
                  <a:pt x="2697" y="0"/>
                  <a:pt x="2702" y="5"/>
                  <a:pt x="2702" y="11"/>
                </a:cubicBezTo>
                <a:cubicBezTo>
                  <a:pt x="2702" y="17"/>
                  <a:pt x="2697" y="22"/>
                  <a:pt x="2691" y="22"/>
                </a:cubicBezTo>
                <a:close/>
                <a:moveTo>
                  <a:pt x="2627" y="22"/>
                </a:moveTo>
                <a:lnTo>
                  <a:pt x="2627" y="22"/>
                </a:lnTo>
                <a:cubicBezTo>
                  <a:pt x="2621" y="22"/>
                  <a:pt x="2617" y="17"/>
                  <a:pt x="2617" y="11"/>
                </a:cubicBezTo>
                <a:cubicBezTo>
                  <a:pt x="2617" y="5"/>
                  <a:pt x="2621" y="0"/>
                  <a:pt x="2627" y="0"/>
                </a:cubicBezTo>
                <a:lnTo>
                  <a:pt x="2627" y="0"/>
                </a:lnTo>
                <a:cubicBezTo>
                  <a:pt x="2633" y="0"/>
                  <a:pt x="2638" y="5"/>
                  <a:pt x="2638" y="11"/>
                </a:cubicBezTo>
                <a:cubicBezTo>
                  <a:pt x="2638" y="17"/>
                  <a:pt x="2633" y="22"/>
                  <a:pt x="2627" y="22"/>
                </a:cubicBezTo>
                <a:close/>
                <a:moveTo>
                  <a:pt x="2563" y="22"/>
                </a:moveTo>
                <a:lnTo>
                  <a:pt x="2563" y="22"/>
                </a:lnTo>
                <a:cubicBezTo>
                  <a:pt x="2557" y="22"/>
                  <a:pt x="2553" y="17"/>
                  <a:pt x="2553" y="11"/>
                </a:cubicBezTo>
                <a:cubicBezTo>
                  <a:pt x="2553" y="5"/>
                  <a:pt x="2557" y="0"/>
                  <a:pt x="2563" y="0"/>
                </a:cubicBezTo>
                <a:lnTo>
                  <a:pt x="2563" y="0"/>
                </a:lnTo>
                <a:cubicBezTo>
                  <a:pt x="2569" y="0"/>
                  <a:pt x="2574" y="5"/>
                  <a:pt x="2574" y="11"/>
                </a:cubicBezTo>
                <a:cubicBezTo>
                  <a:pt x="2574" y="17"/>
                  <a:pt x="2569" y="22"/>
                  <a:pt x="2563" y="22"/>
                </a:cubicBezTo>
                <a:close/>
                <a:moveTo>
                  <a:pt x="2499" y="22"/>
                </a:moveTo>
                <a:lnTo>
                  <a:pt x="2499" y="22"/>
                </a:lnTo>
                <a:cubicBezTo>
                  <a:pt x="2493" y="22"/>
                  <a:pt x="2489" y="17"/>
                  <a:pt x="2489" y="11"/>
                </a:cubicBezTo>
                <a:cubicBezTo>
                  <a:pt x="2489" y="5"/>
                  <a:pt x="2493" y="0"/>
                  <a:pt x="2499" y="0"/>
                </a:cubicBezTo>
                <a:lnTo>
                  <a:pt x="2499" y="0"/>
                </a:lnTo>
                <a:cubicBezTo>
                  <a:pt x="2505" y="0"/>
                  <a:pt x="2510" y="5"/>
                  <a:pt x="2510" y="11"/>
                </a:cubicBezTo>
                <a:cubicBezTo>
                  <a:pt x="2510" y="17"/>
                  <a:pt x="2505" y="22"/>
                  <a:pt x="2499" y="22"/>
                </a:cubicBezTo>
                <a:close/>
                <a:moveTo>
                  <a:pt x="2435" y="22"/>
                </a:moveTo>
                <a:lnTo>
                  <a:pt x="2435" y="22"/>
                </a:lnTo>
                <a:cubicBezTo>
                  <a:pt x="2429" y="22"/>
                  <a:pt x="2425" y="17"/>
                  <a:pt x="2425" y="11"/>
                </a:cubicBezTo>
                <a:cubicBezTo>
                  <a:pt x="2425" y="5"/>
                  <a:pt x="2429" y="0"/>
                  <a:pt x="2435" y="0"/>
                </a:cubicBezTo>
                <a:lnTo>
                  <a:pt x="2435" y="0"/>
                </a:lnTo>
                <a:cubicBezTo>
                  <a:pt x="2441" y="0"/>
                  <a:pt x="2446" y="5"/>
                  <a:pt x="2446" y="11"/>
                </a:cubicBezTo>
                <a:cubicBezTo>
                  <a:pt x="2446" y="17"/>
                  <a:pt x="2441" y="22"/>
                  <a:pt x="2435" y="22"/>
                </a:cubicBezTo>
                <a:close/>
                <a:moveTo>
                  <a:pt x="2371" y="22"/>
                </a:moveTo>
                <a:lnTo>
                  <a:pt x="2371" y="22"/>
                </a:lnTo>
                <a:cubicBezTo>
                  <a:pt x="2365" y="22"/>
                  <a:pt x="2360" y="17"/>
                  <a:pt x="2360" y="11"/>
                </a:cubicBezTo>
                <a:cubicBezTo>
                  <a:pt x="2360" y="5"/>
                  <a:pt x="2365" y="0"/>
                  <a:pt x="2371" y="0"/>
                </a:cubicBezTo>
                <a:lnTo>
                  <a:pt x="2371" y="0"/>
                </a:lnTo>
                <a:cubicBezTo>
                  <a:pt x="2377" y="0"/>
                  <a:pt x="2382" y="5"/>
                  <a:pt x="2382" y="11"/>
                </a:cubicBezTo>
                <a:cubicBezTo>
                  <a:pt x="2382" y="17"/>
                  <a:pt x="2377" y="22"/>
                  <a:pt x="2371" y="22"/>
                </a:cubicBezTo>
                <a:close/>
                <a:moveTo>
                  <a:pt x="2307" y="22"/>
                </a:moveTo>
                <a:lnTo>
                  <a:pt x="2307" y="22"/>
                </a:lnTo>
                <a:cubicBezTo>
                  <a:pt x="2301" y="22"/>
                  <a:pt x="2296" y="17"/>
                  <a:pt x="2296" y="11"/>
                </a:cubicBezTo>
                <a:cubicBezTo>
                  <a:pt x="2296" y="5"/>
                  <a:pt x="2301" y="0"/>
                  <a:pt x="2307" y="0"/>
                </a:cubicBezTo>
                <a:lnTo>
                  <a:pt x="2307" y="0"/>
                </a:lnTo>
                <a:cubicBezTo>
                  <a:pt x="2313" y="0"/>
                  <a:pt x="2318" y="5"/>
                  <a:pt x="2318" y="11"/>
                </a:cubicBezTo>
                <a:cubicBezTo>
                  <a:pt x="2318" y="17"/>
                  <a:pt x="2313" y="22"/>
                  <a:pt x="2307" y="22"/>
                </a:cubicBezTo>
                <a:close/>
                <a:moveTo>
                  <a:pt x="2243" y="22"/>
                </a:moveTo>
                <a:lnTo>
                  <a:pt x="2243" y="22"/>
                </a:lnTo>
                <a:cubicBezTo>
                  <a:pt x="2237" y="22"/>
                  <a:pt x="2232" y="17"/>
                  <a:pt x="2232" y="11"/>
                </a:cubicBezTo>
                <a:cubicBezTo>
                  <a:pt x="2232" y="5"/>
                  <a:pt x="2237" y="0"/>
                  <a:pt x="2243" y="0"/>
                </a:cubicBezTo>
                <a:lnTo>
                  <a:pt x="2243" y="0"/>
                </a:lnTo>
                <a:cubicBezTo>
                  <a:pt x="2249" y="0"/>
                  <a:pt x="2254" y="5"/>
                  <a:pt x="2254" y="11"/>
                </a:cubicBezTo>
                <a:cubicBezTo>
                  <a:pt x="2254" y="17"/>
                  <a:pt x="2249" y="22"/>
                  <a:pt x="2243" y="22"/>
                </a:cubicBezTo>
                <a:close/>
                <a:moveTo>
                  <a:pt x="2179" y="22"/>
                </a:moveTo>
                <a:lnTo>
                  <a:pt x="2179" y="22"/>
                </a:lnTo>
                <a:cubicBezTo>
                  <a:pt x="2173" y="22"/>
                  <a:pt x="2168" y="17"/>
                  <a:pt x="2168" y="11"/>
                </a:cubicBezTo>
                <a:cubicBezTo>
                  <a:pt x="2168" y="5"/>
                  <a:pt x="2173" y="0"/>
                  <a:pt x="2179" y="0"/>
                </a:cubicBezTo>
                <a:lnTo>
                  <a:pt x="2179" y="0"/>
                </a:lnTo>
                <a:cubicBezTo>
                  <a:pt x="2185" y="0"/>
                  <a:pt x="2190" y="5"/>
                  <a:pt x="2190" y="11"/>
                </a:cubicBezTo>
                <a:cubicBezTo>
                  <a:pt x="2190" y="17"/>
                  <a:pt x="2185" y="22"/>
                  <a:pt x="2179" y="22"/>
                </a:cubicBezTo>
                <a:close/>
                <a:moveTo>
                  <a:pt x="2115" y="22"/>
                </a:moveTo>
                <a:lnTo>
                  <a:pt x="2115" y="22"/>
                </a:lnTo>
                <a:cubicBezTo>
                  <a:pt x="2109" y="22"/>
                  <a:pt x="2104" y="17"/>
                  <a:pt x="2104" y="11"/>
                </a:cubicBezTo>
                <a:cubicBezTo>
                  <a:pt x="2104" y="5"/>
                  <a:pt x="2109" y="0"/>
                  <a:pt x="2115" y="0"/>
                </a:cubicBezTo>
                <a:lnTo>
                  <a:pt x="2115" y="0"/>
                </a:lnTo>
                <a:cubicBezTo>
                  <a:pt x="2121" y="0"/>
                  <a:pt x="2126" y="5"/>
                  <a:pt x="2126" y="11"/>
                </a:cubicBezTo>
                <a:cubicBezTo>
                  <a:pt x="2126" y="17"/>
                  <a:pt x="2121" y="22"/>
                  <a:pt x="2115" y="22"/>
                </a:cubicBezTo>
                <a:close/>
                <a:moveTo>
                  <a:pt x="2051" y="22"/>
                </a:moveTo>
                <a:lnTo>
                  <a:pt x="2051" y="22"/>
                </a:lnTo>
                <a:cubicBezTo>
                  <a:pt x="2045" y="22"/>
                  <a:pt x="2040" y="17"/>
                  <a:pt x="2040" y="11"/>
                </a:cubicBezTo>
                <a:cubicBezTo>
                  <a:pt x="2040" y="5"/>
                  <a:pt x="2045" y="0"/>
                  <a:pt x="2051" y="0"/>
                </a:cubicBezTo>
                <a:lnTo>
                  <a:pt x="2051" y="0"/>
                </a:lnTo>
                <a:cubicBezTo>
                  <a:pt x="2057" y="0"/>
                  <a:pt x="2062" y="5"/>
                  <a:pt x="2062" y="11"/>
                </a:cubicBezTo>
                <a:cubicBezTo>
                  <a:pt x="2062" y="17"/>
                  <a:pt x="2057" y="22"/>
                  <a:pt x="2051" y="22"/>
                </a:cubicBezTo>
                <a:close/>
                <a:moveTo>
                  <a:pt x="1987" y="22"/>
                </a:moveTo>
                <a:lnTo>
                  <a:pt x="1987" y="22"/>
                </a:lnTo>
                <a:cubicBezTo>
                  <a:pt x="1981" y="22"/>
                  <a:pt x="1976" y="17"/>
                  <a:pt x="1976" y="11"/>
                </a:cubicBezTo>
                <a:cubicBezTo>
                  <a:pt x="1976" y="5"/>
                  <a:pt x="1981" y="0"/>
                  <a:pt x="1987" y="0"/>
                </a:cubicBezTo>
                <a:lnTo>
                  <a:pt x="1987" y="0"/>
                </a:lnTo>
                <a:cubicBezTo>
                  <a:pt x="1993" y="0"/>
                  <a:pt x="1998" y="5"/>
                  <a:pt x="1998" y="11"/>
                </a:cubicBezTo>
                <a:cubicBezTo>
                  <a:pt x="1998" y="17"/>
                  <a:pt x="1993" y="22"/>
                  <a:pt x="1987" y="22"/>
                </a:cubicBezTo>
                <a:close/>
                <a:moveTo>
                  <a:pt x="1923" y="22"/>
                </a:moveTo>
                <a:lnTo>
                  <a:pt x="1923" y="22"/>
                </a:lnTo>
                <a:cubicBezTo>
                  <a:pt x="1917" y="22"/>
                  <a:pt x="1912" y="17"/>
                  <a:pt x="1912" y="11"/>
                </a:cubicBezTo>
                <a:cubicBezTo>
                  <a:pt x="1912" y="5"/>
                  <a:pt x="1917" y="0"/>
                  <a:pt x="1923" y="0"/>
                </a:cubicBezTo>
                <a:lnTo>
                  <a:pt x="1923" y="0"/>
                </a:lnTo>
                <a:cubicBezTo>
                  <a:pt x="1929" y="0"/>
                  <a:pt x="1934" y="5"/>
                  <a:pt x="1934" y="11"/>
                </a:cubicBezTo>
                <a:cubicBezTo>
                  <a:pt x="1934" y="17"/>
                  <a:pt x="1929" y="22"/>
                  <a:pt x="1923" y="22"/>
                </a:cubicBezTo>
                <a:close/>
                <a:moveTo>
                  <a:pt x="1859" y="22"/>
                </a:moveTo>
                <a:lnTo>
                  <a:pt x="1859" y="22"/>
                </a:lnTo>
                <a:cubicBezTo>
                  <a:pt x="1853" y="22"/>
                  <a:pt x="1848" y="17"/>
                  <a:pt x="1848" y="11"/>
                </a:cubicBezTo>
                <a:cubicBezTo>
                  <a:pt x="1848" y="5"/>
                  <a:pt x="1853" y="0"/>
                  <a:pt x="1859" y="0"/>
                </a:cubicBezTo>
                <a:lnTo>
                  <a:pt x="1859" y="0"/>
                </a:lnTo>
                <a:cubicBezTo>
                  <a:pt x="1865" y="0"/>
                  <a:pt x="1870" y="5"/>
                  <a:pt x="1870" y="11"/>
                </a:cubicBezTo>
                <a:cubicBezTo>
                  <a:pt x="1870" y="17"/>
                  <a:pt x="1865" y="22"/>
                  <a:pt x="1859" y="22"/>
                </a:cubicBezTo>
                <a:close/>
                <a:moveTo>
                  <a:pt x="1795" y="22"/>
                </a:moveTo>
                <a:lnTo>
                  <a:pt x="1795" y="22"/>
                </a:lnTo>
                <a:cubicBezTo>
                  <a:pt x="1789" y="22"/>
                  <a:pt x="1784" y="17"/>
                  <a:pt x="1784" y="11"/>
                </a:cubicBezTo>
                <a:cubicBezTo>
                  <a:pt x="1784" y="5"/>
                  <a:pt x="1789" y="0"/>
                  <a:pt x="1795" y="0"/>
                </a:cubicBezTo>
                <a:lnTo>
                  <a:pt x="1795" y="0"/>
                </a:lnTo>
                <a:cubicBezTo>
                  <a:pt x="1801" y="0"/>
                  <a:pt x="1806" y="5"/>
                  <a:pt x="1806" y="11"/>
                </a:cubicBezTo>
                <a:cubicBezTo>
                  <a:pt x="1806" y="17"/>
                  <a:pt x="1801" y="22"/>
                  <a:pt x="1795" y="22"/>
                </a:cubicBezTo>
                <a:close/>
                <a:moveTo>
                  <a:pt x="1731" y="22"/>
                </a:moveTo>
                <a:lnTo>
                  <a:pt x="1731" y="22"/>
                </a:lnTo>
                <a:cubicBezTo>
                  <a:pt x="1725" y="22"/>
                  <a:pt x="1720" y="17"/>
                  <a:pt x="1720" y="11"/>
                </a:cubicBezTo>
                <a:cubicBezTo>
                  <a:pt x="1720" y="5"/>
                  <a:pt x="1725" y="0"/>
                  <a:pt x="1731" y="0"/>
                </a:cubicBezTo>
                <a:lnTo>
                  <a:pt x="1731" y="0"/>
                </a:lnTo>
                <a:cubicBezTo>
                  <a:pt x="1737" y="0"/>
                  <a:pt x="1742" y="5"/>
                  <a:pt x="1742" y="11"/>
                </a:cubicBezTo>
                <a:cubicBezTo>
                  <a:pt x="1742" y="17"/>
                  <a:pt x="1737" y="22"/>
                  <a:pt x="1731" y="22"/>
                </a:cubicBezTo>
                <a:close/>
                <a:moveTo>
                  <a:pt x="1667" y="22"/>
                </a:moveTo>
                <a:lnTo>
                  <a:pt x="1667" y="22"/>
                </a:lnTo>
                <a:cubicBezTo>
                  <a:pt x="1661" y="22"/>
                  <a:pt x="1656" y="17"/>
                  <a:pt x="1656" y="11"/>
                </a:cubicBezTo>
                <a:cubicBezTo>
                  <a:pt x="1656" y="5"/>
                  <a:pt x="1661" y="0"/>
                  <a:pt x="1667" y="0"/>
                </a:cubicBezTo>
                <a:lnTo>
                  <a:pt x="1667" y="0"/>
                </a:lnTo>
                <a:cubicBezTo>
                  <a:pt x="1673" y="0"/>
                  <a:pt x="1678" y="5"/>
                  <a:pt x="1678" y="11"/>
                </a:cubicBezTo>
                <a:cubicBezTo>
                  <a:pt x="1678" y="17"/>
                  <a:pt x="1673" y="22"/>
                  <a:pt x="1667" y="22"/>
                </a:cubicBezTo>
                <a:close/>
                <a:moveTo>
                  <a:pt x="1603" y="22"/>
                </a:moveTo>
                <a:lnTo>
                  <a:pt x="1603" y="22"/>
                </a:lnTo>
                <a:cubicBezTo>
                  <a:pt x="1597" y="22"/>
                  <a:pt x="1592" y="17"/>
                  <a:pt x="1592" y="11"/>
                </a:cubicBezTo>
                <a:cubicBezTo>
                  <a:pt x="1592" y="5"/>
                  <a:pt x="1597" y="0"/>
                  <a:pt x="1603" y="0"/>
                </a:cubicBezTo>
                <a:lnTo>
                  <a:pt x="1603" y="0"/>
                </a:lnTo>
                <a:cubicBezTo>
                  <a:pt x="1609" y="0"/>
                  <a:pt x="1614" y="5"/>
                  <a:pt x="1614" y="11"/>
                </a:cubicBezTo>
                <a:cubicBezTo>
                  <a:pt x="1614" y="17"/>
                  <a:pt x="1609" y="22"/>
                  <a:pt x="1603" y="22"/>
                </a:cubicBezTo>
                <a:close/>
                <a:moveTo>
                  <a:pt x="1539" y="22"/>
                </a:moveTo>
                <a:lnTo>
                  <a:pt x="1539" y="22"/>
                </a:lnTo>
                <a:cubicBezTo>
                  <a:pt x="1533" y="22"/>
                  <a:pt x="1528" y="17"/>
                  <a:pt x="1528" y="11"/>
                </a:cubicBezTo>
                <a:cubicBezTo>
                  <a:pt x="1528" y="5"/>
                  <a:pt x="1533" y="0"/>
                  <a:pt x="1539" y="0"/>
                </a:cubicBezTo>
                <a:lnTo>
                  <a:pt x="1539" y="0"/>
                </a:lnTo>
                <a:cubicBezTo>
                  <a:pt x="1545" y="0"/>
                  <a:pt x="1550" y="5"/>
                  <a:pt x="1550" y="11"/>
                </a:cubicBezTo>
                <a:cubicBezTo>
                  <a:pt x="1550" y="17"/>
                  <a:pt x="1545" y="22"/>
                  <a:pt x="1539" y="22"/>
                </a:cubicBezTo>
                <a:close/>
                <a:moveTo>
                  <a:pt x="1475" y="22"/>
                </a:moveTo>
                <a:lnTo>
                  <a:pt x="1475" y="22"/>
                </a:lnTo>
                <a:cubicBezTo>
                  <a:pt x="1469" y="22"/>
                  <a:pt x="1464" y="17"/>
                  <a:pt x="1464" y="11"/>
                </a:cubicBezTo>
                <a:cubicBezTo>
                  <a:pt x="1464" y="5"/>
                  <a:pt x="1469" y="0"/>
                  <a:pt x="1475" y="0"/>
                </a:cubicBezTo>
                <a:lnTo>
                  <a:pt x="1475" y="0"/>
                </a:lnTo>
                <a:cubicBezTo>
                  <a:pt x="1481" y="0"/>
                  <a:pt x="1486" y="5"/>
                  <a:pt x="1486" y="11"/>
                </a:cubicBezTo>
                <a:cubicBezTo>
                  <a:pt x="1486" y="17"/>
                  <a:pt x="1481" y="22"/>
                  <a:pt x="1475" y="22"/>
                </a:cubicBezTo>
                <a:close/>
                <a:moveTo>
                  <a:pt x="1411" y="22"/>
                </a:moveTo>
                <a:lnTo>
                  <a:pt x="1411" y="22"/>
                </a:lnTo>
                <a:cubicBezTo>
                  <a:pt x="1405" y="22"/>
                  <a:pt x="1400" y="17"/>
                  <a:pt x="1400" y="11"/>
                </a:cubicBezTo>
                <a:cubicBezTo>
                  <a:pt x="1400" y="5"/>
                  <a:pt x="1405" y="0"/>
                  <a:pt x="1411" y="0"/>
                </a:cubicBezTo>
                <a:lnTo>
                  <a:pt x="1411" y="0"/>
                </a:lnTo>
                <a:cubicBezTo>
                  <a:pt x="1417" y="0"/>
                  <a:pt x="1422" y="5"/>
                  <a:pt x="1422" y="11"/>
                </a:cubicBezTo>
                <a:cubicBezTo>
                  <a:pt x="1422" y="17"/>
                  <a:pt x="1417" y="22"/>
                  <a:pt x="1411" y="22"/>
                </a:cubicBezTo>
                <a:close/>
                <a:moveTo>
                  <a:pt x="1347" y="22"/>
                </a:moveTo>
                <a:lnTo>
                  <a:pt x="1347" y="22"/>
                </a:lnTo>
                <a:cubicBezTo>
                  <a:pt x="1341" y="22"/>
                  <a:pt x="1336" y="17"/>
                  <a:pt x="1336" y="11"/>
                </a:cubicBezTo>
                <a:cubicBezTo>
                  <a:pt x="1336" y="5"/>
                  <a:pt x="1341" y="0"/>
                  <a:pt x="1347" y="0"/>
                </a:cubicBezTo>
                <a:lnTo>
                  <a:pt x="1347" y="0"/>
                </a:lnTo>
                <a:cubicBezTo>
                  <a:pt x="1353" y="0"/>
                  <a:pt x="1358" y="5"/>
                  <a:pt x="1358" y="11"/>
                </a:cubicBezTo>
                <a:cubicBezTo>
                  <a:pt x="1358" y="17"/>
                  <a:pt x="1353" y="22"/>
                  <a:pt x="1347" y="22"/>
                </a:cubicBezTo>
                <a:close/>
                <a:moveTo>
                  <a:pt x="1283" y="22"/>
                </a:moveTo>
                <a:lnTo>
                  <a:pt x="1283" y="22"/>
                </a:lnTo>
                <a:cubicBezTo>
                  <a:pt x="1277" y="22"/>
                  <a:pt x="1272" y="17"/>
                  <a:pt x="1272" y="11"/>
                </a:cubicBezTo>
                <a:cubicBezTo>
                  <a:pt x="1272" y="5"/>
                  <a:pt x="1277" y="0"/>
                  <a:pt x="1283" y="0"/>
                </a:cubicBezTo>
                <a:lnTo>
                  <a:pt x="1283" y="0"/>
                </a:lnTo>
                <a:cubicBezTo>
                  <a:pt x="1289" y="0"/>
                  <a:pt x="1293" y="5"/>
                  <a:pt x="1293" y="11"/>
                </a:cubicBezTo>
                <a:cubicBezTo>
                  <a:pt x="1293" y="17"/>
                  <a:pt x="1289" y="22"/>
                  <a:pt x="1283" y="22"/>
                </a:cubicBezTo>
                <a:close/>
                <a:moveTo>
                  <a:pt x="1219" y="22"/>
                </a:moveTo>
                <a:lnTo>
                  <a:pt x="1219" y="22"/>
                </a:lnTo>
                <a:cubicBezTo>
                  <a:pt x="1213" y="22"/>
                  <a:pt x="1208" y="17"/>
                  <a:pt x="1208" y="11"/>
                </a:cubicBezTo>
                <a:cubicBezTo>
                  <a:pt x="1208" y="5"/>
                  <a:pt x="1213" y="0"/>
                  <a:pt x="1219" y="0"/>
                </a:cubicBezTo>
                <a:lnTo>
                  <a:pt x="1219" y="0"/>
                </a:lnTo>
                <a:cubicBezTo>
                  <a:pt x="1225" y="0"/>
                  <a:pt x="1229" y="5"/>
                  <a:pt x="1229" y="11"/>
                </a:cubicBezTo>
                <a:cubicBezTo>
                  <a:pt x="1229" y="17"/>
                  <a:pt x="1225" y="22"/>
                  <a:pt x="1219" y="22"/>
                </a:cubicBezTo>
                <a:close/>
                <a:moveTo>
                  <a:pt x="1155" y="22"/>
                </a:moveTo>
                <a:lnTo>
                  <a:pt x="1155" y="22"/>
                </a:lnTo>
                <a:cubicBezTo>
                  <a:pt x="1149" y="22"/>
                  <a:pt x="1144" y="17"/>
                  <a:pt x="1144" y="11"/>
                </a:cubicBezTo>
                <a:cubicBezTo>
                  <a:pt x="1144" y="5"/>
                  <a:pt x="1149" y="0"/>
                  <a:pt x="1155" y="0"/>
                </a:cubicBezTo>
                <a:lnTo>
                  <a:pt x="1155" y="0"/>
                </a:lnTo>
                <a:cubicBezTo>
                  <a:pt x="1161" y="0"/>
                  <a:pt x="1165" y="5"/>
                  <a:pt x="1165" y="11"/>
                </a:cubicBezTo>
                <a:cubicBezTo>
                  <a:pt x="1165" y="17"/>
                  <a:pt x="1161" y="22"/>
                  <a:pt x="1155" y="22"/>
                </a:cubicBezTo>
                <a:close/>
                <a:moveTo>
                  <a:pt x="1091" y="22"/>
                </a:moveTo>
                <a:lnTo>
                  <a:pt x="1091" y="22"/>
                </a:lnTo>
                <a:cubicBezTo>
                  <a:pt x="1085" y="22"/>
                  <a:pt x="1080" y="17"/>
                  <a:pt x="1080" y="11"/>
                </a:cubicBezTo>
                <a:cubicBezTo>
                  <a:pt x="1080" y="5"/>
                  <a:pt x="1085" y="0"/>
                  <a:pt x="1091" y="0"/>
                </a:cubicBezTo>
                <a:lnTo>
                  <a:pt x="1091" y="0"/>
                </a:lnTo>
                <a:cubicBezTo>
                  <a:pt x="1097" y="0"/>
                  <a:pt x="1101" y="5"/>
                  <a:pt x="1101" y="11"/>
                </a:cubicBezTo>
                <a:cubicBezTo>
                  <a:pt x="1101" y="17"/>
                  <a:pt x="1097" y="22"/>
                  <a:pt x="1091" y="22"/>
                </a:cubicBezTo>
                <a:close/>
                <a:moveTo>
                  <a:pt x="1027" y="22"/>
                </a:moveTo>
                <a:lnTo>
                  <a:pt x="1027" y="22"/>
                </a:lnTo>
                <a:cubicBezTo>
                  <a:pt x="1021" y="22"/>
                  <a:pt x="1016" y="17"/>
                  <a:pt x="1016" y="11"/>
                </a:cubicBezTo>
                <a:cubicBezTo>
                  <a:pt x="1016" y="5"/>
                  <a:pt x="1021" y="0"/>
                  <a:pt x="1027" y="0"/>
                </a:cubicBezTo>
                <a:lnTo>
                  <a:pt x="1027" y="0"/>
                </a:lnTo>
                <a:cubicBezTo>
                  <a:pt x="1033" y="0"/>
                  <a:pt x="1037" y="5"/>
                  <a:pt x="1037" y="11"/>
                </a:cubicBezTo>
                <a:cubicBezTo>
                  <a:pt x="1037" y="17"/>
                  <a:pt x="1033" y="22"/>
                  <a:pt x="1027" y="22"/>
                </a:cubicBezTo>
                <a:close/>
                <a:moveTo>
                  <a:pt x="963" y="22"/>
                </a:moveTo>
                <a:lnTo>
                  <a:pt x="963" y="22"/>
                </a:lnTo>
                <a:cubicBezTo>
                  <a:pt x="957" y="22"/>
                  <a:pt x="952" y="17"/>
                  <a:pt x="952" y="11"/>
                </a:cubicBezTo>
                <a:cubicBezTo>
                  <a:pt x="952" y="5"/>
                  <a:pt x="957" y="0"/>
                  <a:pt x="963" y="0"/>
                </a:cubicBezTo>
                <a:lnTo>
                  <a:pt x="963" y="0"/>
                </a:lnTo>
                <a:cubicBezTo>
                  <a:pt x="969" y="0"/>
                  <a:pt x="973" y="5"/>
                  <a:pt x="973" y="11"/>
                </a:cubicBezTo>
                <a:cubicBezTo>
                  <a:pt x="973" y="17"/>
                  <a:pt x="969" y="22"/>
                  <a:pt x="963" y="22"/>
                </a:cubicBezTo>
                <a:close/>
                <a:moveTo>
                  <a:pt x="899" y="22"/>
                </a:moveTo>
                <a:lnTo>
                  <a:pt x="899" y="22"/>
                </a:lnTo>
                <a:cubicBezTo>
                  <a:pt x="893" y="22"/>
                  <a:pt x="888" y="17"/>
                  <a:pt x="888" y="11"/>
                </a:cubicBezTo>
                <a:cubicBezTo>
                  <a:pt x="888" y="5"/>
                  <a:pt x="893" y="0"/>
                  <a:pt x="899" y="0"/>
                </a:cubicBezTo>
                <a:lnTo>
                  <a:pt x="899" y="0"/>
                </a:lnTo>
                <a:cubicBezTo>
                  <a:pt x="905" y="0"/>
                  <a:pt x="909" y="5"/>
                  <a:pt x="909" y="11"/>
                </a:cubicBezTo>
                <a:cubicBezTo>
                  <a:pt x="909" y="17"/>
                  <a:pt x="905" y="22"/>
                  <a:pt x="899" y="22"/>
                </a:cubicBezTo>
                <a:close/>
                <a:moveTo>
                  <a:pt x="835" y="22"/>
                </a:moveTo>
                <a:lnTo>
                  <a:pt x="835" y="22"/>
                </a:lnTo>
                <a:cubicBezTo>
                  <a:pt x="829" y="22"/>
                  <a:pt x="824" y="17"/>
                  <a:pt x="824" y="11"/>
                </a:cubicBezTo>
                <a:cubicBezTo>
                  <a:pt x="824" y="5"/>
                  <a:pt x="829" y="0"/>
                  <a:pt x="835" y="0"/>
                </a:cubicBezTo>
                <a:lnTo>
                  <a:pt x="835" y="0"/>
                </a:lnTo>
                <a:cubicBezTo>
                  <a:pt x="841" y="0"/>
                  <a:pt x="845" y="5"/>
                  <a:pt x="845" y="11"/>
                </a:cubicBezTo>
                <a:cubicBezTo>
                  <a:pt x="845" y="17"/>
                  <a:pt x="841" y="22"/>
                  <a:pt x="835" y="22"/>
                </a:cubicBezTo>
                <a:close/>
                <a:moveTo>
                  <a:pt x="771" y="22"/>
                </a:moveTo>
                <a:lnTo>
                  <a:pt x="771" y="22"/>
                </a:lnTo>
                <a:cubicBezTo>
                  <a:pt x="765" y="22"/>
                  <a:pt x="760" y="17"/>
                  <a:pt x="760" y="11"/>
                </a:cubicBezTo>
                <a:cubicBezTo>
                  <a:pt x="760" y="5"/>
                  <a:pt x="765" y="0"/>
                  <a:pt x="771" y="0"/>
                </a:cubicBezTo>
                <a:lnTo>
                  <a:pt x="771" y="0"/>
                </a:lnTo>
                <a:cubicBezTo>
                  <a:pt x="777" y="0"/>
                  <a:pt x="781" y="5"/>
                  <a:pt x="781" y="11"/>
                </a:cubicBezTo>
                <a:cubicBezTo>
                  <a:pt x="781" y="17"/>
                  <a:pt x="777" y="22"/>
                  <a:pt x="771" y="22"/>
                </a:cubicBezTo>
                <a:close/>
                <a:moveTo>
                  <a:pt x="707" y="22"/>
                </a:moveTo>
                <a:lnTo>
                  <a:pt x="707" y="22"/>
                </a:lnTo>
                <a:cubicBezTo>
                  <a:pt x="701" y="22"/>
                  <a:pt x="696" y="17"/>
                  <a:pt x="696" y="11"/>
                </a:cubicBezTo>
                <a:cubicBezTo>
                  <a:pt x="696" y="5"/>
                  <a:pt x="701" y="0"/>
                  <a:pt x="707" y="0"/>
                </a:cubicBezTo>
                <a:lnTo>
                  <a:pt x="707" y="0"/>
                </a:lnTo>
                <a:cubicBezTo>
                  <a:pt x="713" y="0"/>
                  <a:pt x="717" y="5"/>
                  <a:pt x="717" y="11"/>
                </a:cubicBezTo>
                <a:cubicBezTo>
                  <a:pt x="717" y="17"/>
                  <a:pt x="713" y="22"/>
                  <a:pt x="707" y="22"/>
                </a:cubicBezTo>
                <a:close/>
                <a:moveTo>
                  <a:pt x="643" y="22"/>
                </a:moveTo>
                <a:lnTo>
                  <a:pt x="643" y="22"/>
                </a:lnTo>
                <a:cubicBezTo>
                  <a:pt x="637" y="22"/>
                  <a:pt x="632" y="17"/>
                  <a:pt x="632" y="11"/>
                </a:cubicBezTo>
                <a:cubicBezTo>
                  <a:pt x="632" y="5"/>
                  <a:pt x="637" y="0"/>
                  <a:pt x="643" y="0"/>
                </a:cubicBezTo>
                <a:lnTo>
                  <a:pt x="643" y="0"/>
                </a:lnTo>
                <a:cubicBezTo>
                  <a:pt x="648" y="0"/>
                  <a:pt x="653" y="5"/>
                  <a:pt x="653" y="11"/>
                </a:cubicBezTo>
                <a:cubicBezTo>
                  <a:pt x="653" y="17"/>
                  <a:pt x="648" y="22"/>
                  <a:pt x="643" y="22"/>
                </a:cubicBezTo>
                <a:close/>
                <a:moveTo>
                  <a:pt x="579" y="22"/>
                </a:moveTo>
                <a:lnTo>
                  <a:pt x="579" y="22"/>
                </a:lnTo>
                <a:cubicBezTo>
                  <a:pt x="573" y="22"/>
                  <a:pt x="568" y="17"/>
                  <a:pt x="568" y="11"/>
                </a:cubicBezTo>
                <a:cubicBezTo>
                  <a:pt x="568" y="5"/>
                  <a:pt x="573" y="0"/>
                  <a:pt x="579" y="0"/>
                </a:cubicBezTo>
                <a:lnTo>
                  <a:pt x="579" y="0"/>
                </a:lnTo>
                <a:cubicBezTo>
                  <a:pt x="584" y="0"/>
                  <a:pt x="589" y="5"/>
                  <a:pt x="589" y="11"/>
                </a:cubicBezTo>
                <a:cubicBezTo>
                  <a:pt x="589" y="17"/>
                  <a:pt x="584" y="22"/>
                  <a:pt x="579" y="22"/>
                </a:cubicBezTo>
                <a:close/>
                <a:moveTo>
                  <a:pt x="515" y="22"/>
                </a:moveTo>
                <a:lnTo>
                  <a:pt x="515" y="22"/>
                </a:lnTo>
                <a:cubicBezTo>
                  <a:pt x="509" y="22"/>
                  <a:pt x="504" y="17"/>
                  <a:pt x="504" y="11"/>
                </a:cubicBezTo>
                <a:cubicBezTo>
                  <a:pt x="504" y="5"/>
                  <a:pt x="509" y="0"/>
                  <a:pt x="515" y="0"/>
                </a:cubicBezTo>
                <a:lnTo>
                  <a:pt x="515" y="0"/>
                </a:lnTo>
                <a:cubicBezTo>
                  <a:pt x="520" y="0"/>
                  <a:pt x="525" y="5"/>
                  <a:pt x="525" y="11"/>
                </a:cubicBezTo>
                <a:cubicBezTo>
                  <a:pt x="525" y="17"/>
                  <a:pt x="520" y="22"/>
                  <a:pt x="515" y="22"/>
                </a:cubicBezTo>
                <a:close/>
                <a:moveTo>
                  <a:pt x="451" y="22"/>
                </a:moveTo>
                <a:lnTo>
                  <a:pt x="451" y="22"/>
                </a:lnTo>
                <a:cubicBezTo>
                  <a:pt x="445" y="22"/>
                  <a:pt x="440" y="17"/>
                  <a:pt x="440" y="11"/>
                </a:cubicBezTo>
                <a:cubicBezTo>
                  <a:pt x="440" y="5"/>
                  <a:pt x="445" y="0"/>
                  <a:pt x="451" y="0"/>
                </a:cubicBezTo>
                <a:lnTo>
                  <a:pt x="451" y="0"/>
                </a:lnTo>
                <a:cubicBezTo>
                  <a:pt x="456" y="0"/>
                  <a:pt x="461" y="5"/>
                  <a:pt x="461" y="11"/>
                </a:cubicBezTo>
                <a:cubicBezTo>
                  <a:pt x="461" y="17"/>
                  <a:pt x="456" y="22"/>
                  <a:pt x="451" y="22"/>
                </a:cubicBezTo>
                <a:close/>
                <a:moveTo>
                  <a:pt x="387" y="22"/>
                </a:moveTo>
                <a:lnTo>
                  <a:pt x="386" y="22"/>
                </a:lnTo>
                <a:cubicBezTo>
                  <a:pt x="381" y="22"/>
                  <a:pt x="376" y="17"/>
                  <a:pt x="376" y="11"/>
                </a:cubicBezTo>
                <a:cubicBezTo>
                  <a:pt x="376" y="5"/>
                  <a:pt x="381" y="0"/>
                  <a:pt x="386" y="0"/>
                </a:cubicBezTo>
                <a:lnTo>
                  <a:pt x="387" y="0"/>
                </a:lnTo>
                <a:cubicBezTo>
                  <a:pt x="392" y="0"/>
                  <a:pt x="397" y="5"/>
                  <a:pt x="397" y="11"/>
                </a:cubicBezTo>
                <a:cubicBezTo>
                  <a:pt x="397" y="17"/>
                  <a:pt x="392" y="22"/>
                  <a:pt x="387" y="22"/>
                </a:cubicBezTo>
                <a:close/>
                <a:moveTo>
                  <a:pt x="322" y="22"/>
                </a:moveTo>
                <a:lnTo>
                  <a:pt x="322" y="22"/>
                </a:lnTo>
                <a:cubicBezTo>
                  <a:pt x="317" y="22"/>
                  <a:pt x="312" y="17"/>
                  <a:pt x="312" y="11"/>
                </a:cubicBezTo>
                <a:cubicBezTo>
                  <a:pt x="312" y="5"/>
                  <a:pt x="317" y="0"/>
                  <a:pt x="322" y="0"/>
                </a:cubicBezTo>
                <a:lnTo>
                  <a:pt x="322" y="0"/>
                </a:lnTo>
                <a:cubicBezTo>
                  <a:pt x="328" y="0"/>
                  <a:pt x="333" y="5"/>
                  <a:pt x="333" y="11"/>
                </a:cubicBezTo>
                <a:cubicBezTo>
                  <a:pt x="333" y="17"/>
                  <a:pt x="328" y="22"/>
                  <a:pt x="322" y="22"/>
                </a:cubicBezTo>
                <a:close/>
                <a:moveTo>
                  <a:pt x="258" y="22"/>
                </a:moveTo>
                <a:lnTo>
                  <a:pt x="258" y="22"/>
                </a:lnTo>
                <a:cubicBezTo>
                  <a:pt x="253" y="22"/>
                  <a:pt x="248" y="17"/>
                  <a:pt x="248" y="11"/>
                </a:cubicBezTo>
                <a:cubicBezTo>
                  <a:pt x="248" y="5"/>
                  <a:pt x="253" y="0"/>
                  <a:pt x="258" y="0"/>
                </a:cubicBezTo>
                <a:lnTo>
                  <a:pt x="258" y="0"/>
                </a:lnTo>
                <a:cubicBezTo>
                  <a:pt x="264" y="0"/>
                  <a:pt x="269" y="5"/>
                  <a:pt x="269" y="11"/>
                </a:cubicBezTo>
                <a:cubicBezTo>
                  <a:pt x="269" y="17"/>
                  <a:pt x="264" y="22"/>
                  <a:pt x="258" y="22"/>
                </a:cubicBezTo>
                <a:close/>
                <a:moveTo>
                  <a:pt x="194" y="22"/>
                </a:moveTo>
                <a:lnTo>
                  <a:pt x="194" y="22"/>
                </a:lnTo>
                <a:cubicBezTo>
                  <a:pt x="189" y="22"/>
                  <a:pt x="184" y="17"/>
                  <a:pt x="184" y="11"/>
                </a:cubicBezTo>
                <a:cubicBezTo>
                  <a:pt x="184" y="5"/>
                  <a:pt x="189" y="0"/>
                  <a:pt x="194" y="0"/>
                </a:cubicBezTo>
                <a:lnTo>
                  <a:pt x="194" y="0"/>
                </a:lnTo>
                <a:cubicBezTo>
                  <a:pt x="200" y="0"/>
                  <a:pt x="205" y="5"/>
                  <a:pt x="205" y="11"/>
                </a:cubicBezTo>
                <a:cubicBezTo>
                  <a:pt x="205" y="17"/>
                  <a:pt x="200" y="22"/>
                  <a:pt x="194" y="22"/>
                </a:cubicBezTo>
                <a:close/>
                <a:moveTo>
                  <a:pt x="130" y="22"/>
                </a:moveTo>
                <a:lnTo>
                  <a:pt x="130" y="22"/>
                </a:lnTo>
                <a:cubicBezTo>
                  <a:pt x="125" y="22"/>
                  <a:pt x="120" y="17"/>
                  <a:pt x="120" y="11"/>
                </a:cubicBezTo>
                <a:cubicBezTo>
                  <a:pt x="120" y="5"/>
                  <a:pt x="125" y="0"/>
                  <a:pt x="130" y="0"/>
                </a:cubicBezTo>
                <a:lnTo>
                  <a:pt x="130" y="0"/>
                </a:lnTo>
                <a:cubicBezTo>
                  <a:pt x="136" y="0"/>
                  <a:pt x="141" y="5"/>
                  <a:pt x="141" y="11"/>
                </a:cubicBezTo>
                <a:cubicBezTo>
                  <a:pt x="141" y="17"/>
                  <a:pt x="136" y="22"/>
                  <a:pt x="130" y="22"/>
                </a:cubicBezTo>
                <a:close/>
                <a:moveTo>
                  <a:pt x="66" y="22"/>
                </a:moveTo>
                <a:lnTo>
                  <a:pt x="66" y="22"/>
                </a:lnTo>
                <a:cubicBezTo>
                  <a:pt x="60" y="22"/>
                  <a:pt x="56" y="17"/>
                  <a:pt x="56" y="11"/>
                </a:cubicBezTo>
                <a:cubicBezTo>
                  <a:pt x="56" y="5"/>
                  <a:pt x="60" y="0"/>
                  <a:pt x="66" y="0"/>
                </a:cubicBezTo>
                <a:lnTo>
                  <a:pt x="66" y="0"/>
                </a:lnTo>
                <a:cubicBezTo>
                  <a:pt x="72" y="0"/>
                  <a:pt x="77" y="5"/>
                  <a:pt x="77" y="11"/>
                </a:cubicBezTo>
                <a:cubicBezTo>
                  <a:pt x="77" y="17"/>
                  <a:pt x="72" y="22"/>
                  <a:pt x="66" y="22"/>
                </a:cubicBezTo>
                <a:close/>
              </a:path>
            </a:pathLst>
          </a:custGeom>
          <a:solidFill>
            <a:srgbClr val="0078D7"/>
          </a:solidFill>
          <a:ln w="0" cap="flat">
            <a:solidFill>
              <a:srgbClr val="0078D7"/>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18" name="Rectangle 119">
            <a:extLst>
              <a:ext uri="{FF2B5EF4-FFF2-40B4-BE49-F238E27FC236}">
                <a16:creationId xmlns:a16="http://schemas.microsoft.com/office/drawing/2014/main" id="{66BE37B7-EB67-4C20-B7BA-5B118B38A695}"/>
              </a:ext>
            </a:extLst>
          </p:cNvPr>
          <p:cNvSpPr>
            <a:spLocks noChangeArrowheads="1"/>
          </p:cNvSpPr>
          <p:nvPr/>
        </p:nvSpPr>
        <p:spPr bwMode="auto">
          <a:xfrm>
            <a:off x="5791201" y="1276351"/>
            <a:ext cx="3640138" cy="258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19" name="Rectangle 120">
            <a:extLst>
              <a:ext uri="{FF2B5EF4-FFF2-40B4-BE49-F238E27FC236}">
                <a16:creationId xmlns:a16="http://schemas.microsoft.com/office/drawing/2014/main" id="{8B9C1EC4-2E02-47D2-9C29-614932FABE15}"/>
              </a:ext>
            </a:extLst>
          </p:cNvPr>
          <p:cNvSpPr>
            <a:spLocks noChangeArrowheads="1"/>
          </p:cNvSpPr>
          <p:nvPr/>
        </p:nvSpPr>
        <p:spPr bwMode="auto">
          <a:xfrm>
            <a:off x="5791201" y="1276351"/>
            <a:ext cx="3640138" cy="2589213"/>
          </a:xfrm>
          <a:prstGeom prst="rect">
            <a:avLst/>
          </a:pr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220" name="Freeform 121">
            <a:extLst>
              <a:ext uri="{FF2B5EF4-FFF2-40B4-BE49-F238E27FC236}">
                <a16:creationId xmlns:a16="http://schemas.microsoft.com/office/drawing/2014/main" id="{9E237F21-E492-4247-9B2B-9C213FB7EA37}"/>
              </a:ext>
            </a:extLst>
          </p:cNvPr>
          <p:cNvSpPr>
            <a:spLocks/>
          </p:cNvSpPr>
          <p:nvPr/>
        </p:nvSpPr>
        <p:spPr bwMode="auto">
          <a:xfrm>
            <a:off x="5795963" y="1725613"/>
            <a:ext cx="3630613" cy="200025"/>
          </a:xfrm>
          <a:custGeom>
            <a:avLst/>
            <a:gdLst>
              <a:gd name="T0" fmla="*/ 0 w 12787"/>
              <a:gd name="T1" fmla="*/ 704 h 704"/>
              <a:gd name="T2" fmla="*/ 12787 w 12787"/>
              <a:gd name="T3" fmla="*/ 704 h 704"/>
              <a:gd name="T4" fmla="*/ 12787 w 12787"/>
              <a:gd name="T5" fmla="*/ 512 h 704"/>
              <a:gd name="T6" fmla="*/ 0 w 12787"/>
              <a:gd name="T7" fmla="*/ 512 h 704"/>
              <a:gd name="T8" fmla="*/ 0 w 12787"/>
              <a:gd name="T9" fmla="*/ 704 h 704"/>
            </a:gdLst>
            <a:ahLst/>
            <a:cxnLst>
              <a:cxn ang="0">
                <a:pos x="T0" y="T1"/>
              </a:cxn>
              <a:cxn ang="0">
                <a:pos x="T2" y="T3"/>
              </a:cxn>
              <a:cxn ang="0">
                <a:pos x="T4" y="T5"/>
              </a:cxn>
              <a:cxn ang="0">
                <a:pos x="T6" y="T7"/>
              </a:cxn>
              <a:cxn ang="0">
                <a:pos x="T8" y="T9"/>
              </a:cxn>
            </a:cxnLst>
            <a:rect l="0" t="0" r="r" b="b"/>
            <a:pathLst>
              <a:path w="12787" h="704">
                <a:moveTo>
                  <a:pt x="0" y="704"/>
                </a:moveTo>
                <a:cubicBezTo>
                  <a:pt x="4247" y="192"/>
                  <a:pt x="8540" y="192"/>
                  <a:pt x="12787" y="704"/>
                </a:cubicBezTo>
                <a:lnTo>
                  <a:pt x="12787" y="512"/>
                </a:lnTo>
                <a:cubicBezTo>
                  <a:pt x="8540" y="0"/>
                  <a:pt x="4247" y="0"/>
                  <a:pt x="0" y="512"/>
                </a:cubicBezTo>
                <a:lnTo>
                  <a:pt x="0" y="704"/>
                </a:ln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21" name="Freeform 122">
            <a:extLst>
              <a:ext uri="{FF2B5EF4-FFF2-40B4-BE49-F238E27FC236}">
                <a16:creationId xmlns:a16="http://schemas.microsoft.com/office/drawing/2014/main" id="{60B9C247-6B0A-4EF4-B0F5-95F91C66DFBA}"/>
              </a:ext>
            </a:extLst>
          </p:cNvPr>
          <p:cNvSpPr>
            <a:spLocks/>
          </p:cNvSpPr>
          <p:nvPr/>
        </p:nvSpPr>
        <p:spPr bwMode="auto">
          <a:xfrm>
            <a:off x="5791201" y="1276351"/>
            <a:ext cx="3640138" cy="600075"/>
          </a:xfrm>
          <a:custGeom>
            <a:avLst/>
            <a:gdLst>
              <a:gd name="T0" fmla="*/ 0 w 12819"/>
              <a:gd name="T1" fmla="*/ 2112 h 2112"/>
              <a:gd name="T2" fmla="*/ 12819 w 12819"/>
              <a:gd name="T3" fmla="*/ 2112 h 2112"/>
              <a:gd name="T4" fmla="*/ 12819 w 12819"/>
              <a:gd name="T5" fmla="*/ 0 h 2112"/>
              <a:gd name="T6" fmla="*/ 0 w 12819"/>
              <a:gd name="T7" fmla="*/ 0 h 2112"/>
              <a:gd name="T8" fmla="*/ 0 w 12819"/>
              <a:gd name="T9" fmla="*/ 2112 h 2112"/>
            </a:gdLst>
            <a:ahLst/>
            <a:cxnLst>
              <a:cxn ang="0">
                <a:pos x="T0" y="T1"/>
              </a:cxn>
              <a:cxn ang="0">
                <a:pos x="T2" y="T3"/>
              </a:cxn>
              <a:cxn ang="0">
                <a:pos x="T4" y="T5"/>
              </a:cxn>
              <a:cxn ang="0">
                <a:pos x="T6" y="T7"/>
              </a:cxn>
              <a:cxn ang="0">
                <a:pos x="T8" y="T9"/>
              </a:cxn>
            </a:cxnLst>
            <a:rect l="0" t="0" r="r" b="b"/>
            <a:pathLst>
              <a:path w="12819" h="2112">
                <a:moveTo>
                  <a:pt x="0" y="2112"/>
                </a:moveTo>
                <a:cubicBezTo>
                  <a:pt x="4258" y="1600"/>
                  <a:pt x="8562" y="1600"/>
                  <a:pt x="12819" y="2112"/>
                </a:cubicBezTo>
                <a:lnTo>
                  <a:pt x="12819" y="0"/>
                </a:lnTo>
                <a:lnTo>
                  <a:pt x="0" y="0"/>
                </a:lnTo>
                <a:lnTo>
                  <a:pt x="0" y="2112"/>
                </a:ln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24" name="Rectangle 125">
            <a:extLst>
              <a:ext uri="{FF2B5EF4-FFF2-40B4-BE49-F238E27FC236}">
                <a16:creationId xmlns:a16="http://schemas.microsoft.com/office/drawing/2014/main" id="{515AB726-9A2E-4D94-8796-309D1EEB06F9}"/>
              </a:ext>
            </a:extLst>
          </p:cNvPr>
          <p:cNvSpPr>
            <a:spLocks noChangeArrowheads="1"/>
          </p:cNvSpPr>
          <p:nvPr/>
        </p:nvSpPr>
        <p:spPr bwMode="auto">
          <a:xfrm>
            <a:off x="6286501" y="2192338"/>
            <a:ext cx="684213" cy="149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1" i="0" u="none" strike="noStrike" cap="none" normalizeH="0" baseline="0">
                <a:ln>
                  <a:noFill/>
                </a:ln>
                <a:solidFill>
                  <a:srgbClr val="FFFFFF"/>
                </a:solidFill>
                <a:effectLst/>
                <a:latin typeface="Calibri Light" panose="020F0302020204030204" pitchFamily="34" charset="0"/>
              </a:rPr>
              <a:t>Desktop Pool 1</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225" name="Rectangle 126">
            <a:extLst>
              <a:ext uri="{FF2B5EF4-FFF2-40B4-BE49-F238E27FC236}">
                <a16:creationId xmlns:a16="http://schemas.microsoft.com/office/drawing/2014/main" id="{5829CA41-DD8C-4F4B-99BE-76E1F84428A0}"/>
              </a:ext>
            </a:extLst>
          </p:cNvPr>
          <p:cNvSpPr>
            <a:spLocks noChangeArrowheads="1"/>
          </p:cNvSpPr>
          <p:nvPr/>
        </p:nvSpPr>
        <p:spPr bwMode="auto">
          <a:xfrm>
            <a:off x="6286501" y="2765426"/>
            <a:ext cx="684213" cy="149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1" i="0" u="none" strike="noStrike" cap="none" normalizeH="0" baseline="0">
                <a:ln>
                  <a:noFill/>
                </a:ln>
                <a:solidFill>
                  <a:srgbClr val="FFFFFF"/>
                </a:solidFill>
                <a:effectLst/>
                <a:latin typeface="Calibri Light" panose="020F0302020204030204" pitchFamily="34" charset="0"/>
              </a:rPr>
              <a:t>Desktop Pool 2</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226" name="Rectangle 127">
            <a:extLst>
              <a:ext uri="{FF2B5EF4-FFF2-40B4-BE49-F238E27FC236}">
                <a16:creationId xmlns:a16="http://schemas.microsoft.com/office/drawing/2014/main" id="{32015CE3-C479-453F-B013-4B15AF6C8278}"/>
              </a:ext>
            </a:extLst>
          </p:cNvPr>
          <p:cNvSpPr>
            <a:spLocks noChangeArrowheads="1"/>
          </p:cNvSpPr>
          <p:nvPr/>
        </p:nvSpPr>
        <p:spPr bwMode="auto">
          <a:xfrm>
            <a:off x="7548563" y="2492376"/>
            <a:ext cx="569913" cy="149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1" i="0" u="none" strike="noStrike" cap="none" normalizeH="0" baseline="0">
                <a:ln>
                  <a:noFill/>
                </a:ln>
                <a:solidFill>
                  <a:srgbClr val="FFFFFF"/>
                </a:solidFill>
                <a:effectLst/>
                <a:latin typeface="Calibri Light" panose="020F0302020204030204" pitchFamily="34" charset="0"/>
              </a:rPr>
              <a:t>Application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227" name="Freeform 128">
            <a:extLst>
              <a:ext uri="{FF2B5EF4-FFF2-40B4-BE49-F238E27FC236}">
                <a16:creationId xmlns:a16="http://schemas.microsoft.com/office/drawing/2014/main" id="{F0A2C5F1-4775-4AD8-9F59-049C85AFE928}"/>
              </a:ext>
            </a:extLst>
          </p:cNvPr>
          <p:cNvSpPr>
            <a:spLocks/>
          </p:cNvSpPr>
          <p:nvPr/>
        </p:nvSpPr>
        <p:spPr bwMode="auto">
          <a:xfrm>
            <a:off x="7832726" y="3292476"/>
            <a:ext cx="414338" cy="361950"/>
          </a:xfrm>
          <a:custGeom>
            <a:avLst/>
            <a:gdLst>
              <a:gd name="T0" fmla="*/ 103 w 1457"/>
              <a:gd name="T1" fmla="*/ 1279 h 1279"/>
              <a:gd name="T2" fmla="*/ 16 w 1457"/>
              <a:gd name="T3" fmla="*/ 1236 h 1279"/>
              <a:gd name="T4" fmla="*/ 22 w 1457"/>
              <a:gd name="T5" fmla="*/ 1139 h 1279"/>
              <a:gd name="T6" fmla="*/ 647 w 1457"/>
              <a:gd name="T7" fmla="*/ 54 h 1279"/>
              <a:gd name="T8" fmla="*/ 728 w 1457"/>
              <a:gd name="T9" fmla="*/ 0 h 1279"/>
              <a:gd name="T10" fmla="*/ 809 w 1457"/>
              <a:gd name="T11" fmla="*/ 54 h 1279"/>
              <a:gd name="T12" fmla="*/ 1435 w 1457"/>
              <a:gd name="T13" fmla="*/ 1139 h 1279"/>
              <a:gd name="T14" fmla="*/ 1441 w 1457"/>
              <a:gd name="T15" fmla="*/ 1236 h 1279"/>
              <a:gd name="T16" fmla="*/ 1354 w 1457"/>
              <a:gd name="T17" fmla="*/ 1279 h 1279"/>
              <a:gd name="T18" fmla="*/ 103 w 1457"/>
              <a:gd name="T19" fmla="*/ 1279 h 1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57" h="1279">
                <a:moveTo>
                  <a:pt x="103" y="1279"/>
                </a:moveTo>
                <a:cubicBezTo>
                  <a:pt x="64" y="1279"/>
                  <a:pt x="32" y="1264"/>
                  <a:pt x="16" y="1236"/>
                </a:cubicBezTo>
                <a:cubicBezTo>
                  <a:pt x="0" y="1208"/>
                  <a:pt x="2" y="1173"/>
                  <a:pt x="22" y="1139"/>
                </a:cubicBezTo>
                <a:lnTo>
                  <a:pt x="647" y="54"/>
                </a:lnTo>
                <a:cubicBezTo>
                  <a:pt x="667" y="20"/>
                  <a:pt x="696" y="0"/>
                  <a:pt x="728" y="0"/>
                </a:cubicBezTo>
                <a:cubicBezTo>
                  <a:pt x="760" y="0"/>
                  <a:pt x="790" y="20"/>
                  <a:pt x="809" y="54"/>
                </a:cubicBezTo>
                <a:lnTo>
                  <a:pt x="1435" y="1139"/>
                </a:lnTo>
                <a:cubicBezTo>
                  <a:pt x="1454" y="1173"/>
                  <a:pt x="1457" y="1208"/>
                  <a:pt x="1441" y="1236"/>
                </a:cubicBezTo>
                <a:cubicBezTo>
                  <a:pt x="1425" y="1264"/>
                  <a:pt x="1393" y="1279"/>
                  <a:pt x="1354" y="1279"/>
                </a:cubicBezTo>
                <a:lnTo>
                  <a:pt x="103" y="1279"/>
                </a:ln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28" name="Freeform 129">
            <a:extLst>
              <a:ext uri="{FF2B5EF4-FFF2-40B4-BE49-F238E27FC236}">
                <a16:creationId xmlns:a16="http://schemas.microsoft.com/office/drawing/2014/main" id="{0BF240DD-79BA-4EC9-8B32-354B14299315}"/>
              </a:ext>
            </a:extLst>
          </p:cNvPr>
          <p:cNvSpPr>
            <a:spLocks/>
          </p:cNvSpPr>
          <p:nvPr/>
        </p:nvSpPr>
        <p:spPr bwMode="auto">
          <a:xfrm>
            <a:off x="7840663" y="3298826"/>
            <a:ext cx="398463" cy="346075"/>
          </a:xfrm>
          <a:custGeom>
            <a:avLst/>
            <a:gdLst>
              <a:gd name="T0" fmla="*/ 76 w 1403"/>
              <a:gd name="T1" fmla="*/ 1216 h 1216"/>
              <a:gd name="T2" fmla="*/ 27 w 1403"/>
              <a:gd name="T3" fmla="*/ 1131 h 1216"/>
              <a:gd name="T4" fmla="*/ 652 w 1403"/>
              <a:gd name="T5" fmla="*/ 46 h 1216"/>
              <a:gd name="T6" fmla="*/ 750 w 1403"/>
              <a:gd name="T7" fmla="*/ 46 h 1216"/>
              <a:gd name="T8" fmla="*/ 1376 w 1403"/>
              <a:gd name="T9" fmla="*/ 1131 h 1216"/>
              <a:gd name="T10" fmla="*/ 1327 w 1403"/>
              <a:gd name="T11" fmla="*/ 1216 h 1216"/>
              <a:gd name="T12" fmla="*/ 76 w 1403"/>
              <a:gd name="T13" fmla="*/ 1216 h 1216"/>
            </a:gdLst>
            <a:ahLst/>
            <a:cxnLst>
              <a:cxn ang="0">
                <a:pos x="T0" y="T1"/>
              </a:cxn>
              <a:cxn ang="0">
                <a:pos x="T2" y="T3"/>
              </a:cxn>
              <a:cxn ang="0">
                <a:pos x="T4" y="T5"/>
              </a:cxn>
              <a:cxn ang="0">
                <a:pos x="T6" y="T7"/>
              </a:cxn>
              <a:cxn ang="0">
                <a:pos x="T8" y="T9"/>
              </a:cxn>
              <a:cxn ang="0">
                <a:pos x="T10" y="T11"/>
              </a:cxn>
              <a:cxn ang="0">
                <a:pos x="T12" y="T13"/>
              </a:cxn>
            </a:cxnLst>
            <a:rect l="0" t="0" r="r" b="b"/>
            <a:pathLst>
              <a:path w="1403" h="1216">
                <a:moveTo>
                  <a:pt x="76" y="1216"/>
                </a:moveTo>
                <a:cubicBezTo>
                  <a:pt x="22" y="1216"/>
                  <a:pt x="0" y="1178"/>
                  <a:pt x="27" y="1131"/>
                </a:cubicBezTo>
                <a:lnTo>
                  <a:pt x="652" y="46"/>
                </a:lnTo>
                <a:cubicBezTo>
                  <a:pt x="679" y="0"/>
                  <a:pt x="723" y="0"/>
                  <a:pt x="750" y="46"/>
                </a:cubicBezTo>
                <a:lnTo>
                  <a:pt x="1376" y="1131"/>
                </a:lnTo>
                <a:cubicBezTo>
                  <a:pt x="1403" y="1178"/>
                  <a:pt x="1381" y="1216"/>
                  <a:pt x="1327" y="1216"/>
                </a:cubicBezTo>
                <a:lnTo>
                  <a:pt x="76" y="1216"/>
                </a:lnTo>
                <a:close/>
              </a:path>
            </a:pathLst>
          </a:custGeom>
          <a:solidFill>
            <a:srgbClr val="E78E46"/>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29" name="Freeform 130">
            <a:extLst>
              <a:ext uri="{FF2B5EF4-FFF2-40B4-BE49-F238E27FC236}">
                <a16:creationId xmlns:a16="http://schemas.microsoft.com/office/drawing/2014/main" id="{490C00BD-8767-49D4-8612-7A0A09B22CF0}"/>
              </a:ext>
            </a:extLst>
          </p:cNvPr>
          <p:cNvSpPr>
            <a:spLocks/>
          </p:cNvSpPr>
          <p:nvPr/>
        </p:nvSpPr>
        <p:spPr bwMode="auto">
          <a:xfrm>
            <a:off x="7923213" y="3397251"/>
            <a:ext cx="231775" cy="215900"/>
          </a:xfrm>
          <a:custGeom>
            <a:avLst/>
            <a:gdLst>
              <a:gd name="T0" fmla="*/ 123 w 146"/>
              <a:gd name="T1" fmla="*/ 99 h 136"/>
              <a:gd name="T2" fmla="*/ 123 w 146"/>
              <a:gd name="T3" fmla="*/ 73 h 136"/>
              <a:gd name="T4" fmla="*/ 77 w 146"/>
              <a:gd name="T5" fmla="*/ 73 h 136"/>
              <a:gd name="T6" fmla="*/ 77 w 146"/>
              <a:gd name="T7" fmla="*/ 37 h 136"/>
              <a:gd name="T8" fmla="*/ 100 w 146"/>
              <a:gd name="T9" fmla="*/ 37 h 136"/>
              <a:gd name="T10" fmla="*/ 100 w 146"/>
              <a:gd name="T11" fmla="*/ 0 h 136"/>
              <a:gd name="T12" fmla="*/ 47 w 146"/>
              <a:gd name="T13" fmla="*/ 0 h 136"/>
              <a:gd name="T14" fmla="*/ 47 w 146"/>
              <a:gd name="T15" fmla="*/ 37 h 136"/>
              <a:gd name="T16" fmla="*/ 70 w 146"/>
              <a:gd name="T17" fmla="*/ 37 h 136"/>
              <a:gd name="T18" fmla="*/ 70 w 146"/>
              <a:gd name="T19" fmla="*/ 73 h 136"/>
              <a:gd name="T20" fmla="*/ 23 w 146"/>
              <a:gd name="T21" fmla="*/ 73 h 136"/>
              <a:gd name="T22" fmla="*/ 23 w 146"/>
              <a:gd name="T23" fmla="*/ 99 h 136"/>
              <a:gd name="T24" fmla="*/ 0 w 146"/>
              <a:gd name="T25" fmla="*/ 99 h 136"/>
              <a:gd name="T26" fmla="*/ 0 w 146"/>
              <a:gd name="T27" fmla="*/ 136 h 136"/>
              <a:gd name="T28" fmla="*/ 53 w 146"/>
              <a:gd name="T29" fmla="*/ 136 h 136"/>
              <a:gd name="T30" fmla="*/ 53 w 146"/>
              <a:gd name="T31" fmla="*/ 99 h 136"/>
              <a:gd name="T32" fmla="*/ 30 w 146"/>
              <a:gd name="T33" fmla="*/ 99 h 136"/>
              <a:gd name="T34" fmla="*/ 30 w 146"/>
              <a:gd name="T35" fmla="*/ 80 h 136"/>
              <a:gd name="T36" fmla="*/ 116 w 146"/>
              <a:gd name="T37" fmla="*/ 80 h 136"/>
              <a:gd name="T38" fmla="*/ 116 w 146"/>
              <a:gd name="T39" fmla="*/ 99 h 136"/>
              <a:gd name="T40" fmla="*/ 93 w 146"/>
              <a:gd name="T41" fmla="*/ 99 h 136"/>
              <a:gd name="T42" fmla="*/ 93 w 146"/>
              <a:gd name="T43" fmla="*/ 136 h 136"/>
              <a:gd name="T44" fmla="*/ 146 w 146"/>
              <a:gd name="T45" fmla="*/ 136 h 136"/>
              <a:gd name="T46" fmla="*/ 146 w 146"/>
              <a:gd name="T47" fmla="*/ 99 h 136"/>
              <a:gd name="T48" fmla="*/ 123 w 146"/>
              <a:gd name="T49" fmla="*/ 99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6" h="136">
                <a:moveTo>
                  <a:pt x="123" y="99"/>
                </a:moveTo>
                <a:lnTo>
                  <a:pt x="123" y="73"/>
                </a:lnTo>
                <a:lnTo>
                  <a:pt x="77" y="73"/>
                </a:lnTo>
                <a:lnTo>
                  <a:pt x="77" y="37"/>
                </a:lnTo>
                <a:lnTo>
                  <a:pt x="100" y="37"/>
                </a:lnTo>
                <a:lnTo>
                  <a:pt x="100" y="0"/>
                </a:lnTo>
                <a:lnTo>
                  <a:pt x="47" y="0"/>
                </a:lnTo>
                <a:lnTo>
                  <a:pt x="47" y="37"/>
                </a:lnTo>
                <a:lnTo>
                  <a:pt x="70" y="37"/>
                </a:lnTo>
                <a:lnTo>
                  <a:pt x="70" y="73"/>
                </a:lnTo>
                <a:lnTo>
                  <a:pt x="23" y="73"/>
                </a:lnTo>
                <a:lnTo>
                  <a:pt x="23" y="99"/>
                </a:lnTo>
                <a:lnTo>
                  <a:pt x="0" y="99"/>
                </a:lnTo>
                <a:lnTo>
                  <a:pt x="0" y="136"/>
                </a:lnTo>
                <a:lnTo>
                  <a:pt x="53" y="136"/>
                </a:lnTo>
                <a:lnTo>
                  <a:pt x="53" y="99"/>
                </a:lnTo>
                <a:lnTo>
                  <a:pt x="30" y="99"/>
                </a:lnTo>
                <a:lnTo>
                  <a:pt x="30" y="80"/>
                </a:lnTo>
                <a:lnTo>
                  <a:pt x="116" y="80"/>
                </a:lnTo>
                <a:lnTo>
                  <a:pt x="116" y="99"/>
                </a:lnTo>
                <a:lnTo>
                  <a:pt x="93" y="99"/>
                </a:lnTo>
                <a:lnTo>
                  <a:pt x="93" y="136"/>
                </a:lnTo>
                <a:lnTo>
                  <a:pt x="146" y="136"/>
                </a:lnTo>
                <a:lnTo>
                  <a:pt x="146" y="99"/>
                </a:lnTo>
                <a:lnTo>
                  <a:pt x="123" y="9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30" name="Rectangle 131">
            <a:extLst>
              <a:ext uri="{FF2B5EF4-FFF2-40B4-BE49-F238E27FC236}">
                <a16:creationId xmlns:a16="http://schemas.microsoft.com/office/drawing/2014/main" id="{B6CAB4A4-9984-4300-9DAE-CCE543BCCFB8}"/>
              </a:ext>
            </a:extLst>
          </p:cNvPr>
          <p:cNvSpPr>
            <a:spLocks noChangeArrowheads="1"/>
          </p:cNvSpPr>
          <p:nvPr/>
        </p:nvSpPr>
        <p:spPr bwMode="auto">
          <a:xfrm>
            <a:off x="7459663" y="2924176"/>
            <a:ext cx="1290638" cy="236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rgbClr val="000000"/>
                </a:solidFill>
                <a:effectLst/>
                <a:latin typeface="Calibri" panose="020F0502020204030204" pitchFamily="34" charset="0"/>
              </a:rPr>
              <a:t>Active Directory  or</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231" name="Rectangle 132">
            <a:extLst>
              <a:ext uri="{FF2B5EF4-FFF2-40B4-BE49-F238E27FC236}">
                <a16:creationId xmlns:a16="http://schemas.microsoft.com/office/drawing/2014/main" id="{9FF59622-2B90-4E02-9BB7-938A22A8639A}"/>
              </a:ext>
            </a:extLst>
          </p:cNvPr>
          <p:cNvSpPr>
            <a:spLocks noChangeArrowheads="1"/>
          </p:cNvSpPr>
          <p:nvPr/>
        </p:nvSpPr>
        <p:spPr bwMode="auto">
          <a:xfrm>
            <a:off x="7543801" y="3098801"/>
            <a:ext cx="1117600" cy="236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rgbClr val="000000"/>
                </a:solidFill>
                <a:effectLst/>
                <a:latin typeface="Calibri" panose="020F0502020204030204" pitchFamily="34" charset="0"/>
              </a:rPr>
              <a:t>Domain Service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232" name="Freeform 133">
            <a:extLst>
              <a:ext uri="{FF2B5EF4-FFF2-40B4-BE49-F238E27FC236}">
                <a16:creationId xmlns:a16="http://schemas.microsoft.com/office/drawing/2014/main" id="{79BF1B72-0657-4C9E-800D-76A743149D1C}"/>
              </a:ext>
            </a:extLst>
          </p:cNvPr>
          <p:cNvSpPr>
            <a:spLocks/>
          </p:cNvSpPr>
          <p:nvPr/>
        </p:nvSpPr>
        <p:spPr bwMode="auto">
          <a:xfrm>
            <a:off x="8807451" y="3292476"/>
            <a:ext cx="93663" cy="165100"/>
          </a:xfrm>
          <a:custGeom>
            <a:avLst/>
            <a:gdLst>
              <a:gd name="T0" fmla="*/ 59 w 59"/>
              <a:gd name="T1" fmla="*/ 52 h 104"/>
              <a:gd name="T2" fmla="*/ 7 w 59"/>
              <a:gd name="T3" fmla="*/ 0 h 104"/>
              <a:gd name="T4" fmla="*/ 0 w 59"/>
              <a:gd name="T5" fmla="*/ 6 h 104"/>
              <a:gd name="T6" fmla="*/ 45 w 59"/>
              <a:gd name="T7" fmla="*/ 52 h 104"/>
              <a:gd name="T8" fmla="*/ 0 w 59"/>
              <a:gd name="T9" fmla="*/ 97 h 104"/>
              <a:gd name="T10" fmla="*/ 7 w 59"/>
              <a:gd name="T11" fmla="*/ 104 h 104"/>
              <a:gd name="T12" fmla="*/ 59 w 59"/>
              <a:gd name="T13" fmla="*/ 52 h 104"/>
            </a:gdLst>
            <a:ahLst/>
            <a:cxnLst>
              <a:cxn ang="0">
                <a:pos x="T0" y="T1"/>
              </a:cxn>
              <a:cxn ang="0">
                <a:pos x="T2" y="T3"/>
              </a:cxn>
              <a:cxn ang="0">
                <a:pos x="T4" y="T5"/>
              </a:cxn>
              <a:cxn ang="0">
                <a:pos x="T6" y="T7"/>
              </a:cxn>
              <a:cxn ang="0">
                <a:pos x="T8" y="T9"/>
              </a:cxn>
              <a:cxn ang="0">
                <a:pos x="T10" y="T11"/>
              </a:cxn>
              <a:cxn ang="0">
                <a:pos x="T12" y="T13"/>
              </a:cxn>
            </a:cxnLst>
            <a:rect l="0" t="0" r="r" b="b"/>
            <a:pathLst>
              <a:path w="59" h="104">
                <a:moveTo>
                  <a:pt x="59" y="52"/>
                </a:moveTo>
                <a:lnTo>
                  <a:pt x="7" y="0"/>
                </a:lnTo>
                <a:lnTo>
                  <a:pt x="0" y="6"/>
                </a:lnTo>
                <a:lnTo>
                  <a:pt x="45" y="52"/>
                </a:lnTo>
                <a:lnTo>
                  <a:pt x="0" y="97"/>
                </a:lnTo>
                <a:lnTo>
                  <a:pt x="7" y="104"/>
                </a:lnTo>
                <a:lnTo>
                  <a:pt x="59" y="5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33" name="Freeform 134">
            <a:extLst>
              <a:ext uri="{FF2B5EF4-FFF2-40B4-BE49-F238E27FC236}">
                <a16:creationId xmlns:a16="http://schemas.microsoft.com/office/drawing/2014/main" id="{4C38BBD3-AA57-4352-A17C-3C06B5D23B7E}"/>
              </a:ext>
            </a:extLst>
          </p:cNvPr>
          <p:cNvSpPr>
            <a:spLocks/>
          </p:cNvSpPr>
          <p:nvPr/>
        </p:nvSpPr>
        <p:spPr bwMode="auto">
          <a:xfrm>
            <a:off x="8594726" y="3292476"/>
            <a:ext cx="93663" cy="165100"/>
          </a:xfrm>
          <a:custGeom>
            <a:avLst/>
            <a:gdLst>
              <a:gd name="T0" fmla="*/ 0 w 59"/>
              <a:gd name="T1" fmla="*/ 52 h 104"/>
              <a:gd name="T2" fmla="*/ 52 w 59"/>
              <a:gd name="T3" fmla="*/ 0 h 104"/>
              <a:gd name="T4" fmla="*/ 59 w 59"/>
              <a:gd name="T5" fmla="*/ 6 h 104"/>
              <a:gd name="T6" fmla="*/ 14 w 59"/>
              <a:gd name="T7" fmla="*/ 52 h 104"/>
              <a:gd name="T8" fmla="*/ 59 w 59"/>
              <a:gd name="T9" fmla="*/ 97 h 104"/>
              <a:gd name="T10" fmla="*/ 52 w 59"/>
              <a:gd name="T11" fmla="*/ 104 h 104"/>
              <a:gd name="T12" fmla="*/ 0 w 59"/>
              <a:gd name="T13" fmla="*/ 52 h 104"/>
            </a:gdLst>
            <a:ahLst/>
            <a:cxnLst>
              <a:cxn ang="0">
                <a:pos x="T0" y="T1"/>
              </a:cxn>
              <a:cxn ang="0">
                <a:pos x="T2" y="T3"/>
              </a:cxn>
              <a:cxn ang="0">
                <a:pos x="T4" y="T5"/>
              </a:cxn>
              <a:cxn ang="0">
                <a:pos x="T6" y="T7"/>
              </a:cxn>
              <a:cxn ang="0">
                <a:pos x="T8" y="T9"/>
              </a:cxn>
              <a:cxn ang="0">
                <a:pos x="T10" y="T11"/>
              </a:cxn>
              <a:cxn ang="0">
                <a:pos x="T12" y="T13"/>
              </a:cxn>
            </a:cxnLst>
            <a:rect l="0" t="0" r="r" b="b"/>
            <a:pathLst>
              <a:path w="59" h="104">
                <a:moveTo>
                  <a:pt x="0" y="52"/>
                </a:moveTo>
                <a:lnTo>
                  <a:pt x="52" y="0"/>
                </a:lnTo>
                <a:lnTo>
                  <a:pt x="59" y="6"/>
                </a:lnTo>
                <a:lnTo>
                  <a:pt x="14" y="52"/>
                </a:lnTo>
                <a:lnTo>
                  <a:pt x="59" y="97"/>
                </a:lnTo>
                <a:lnTo>
                  <a:pt x="52" y="104"/>
                </a:lnTo>
                <a:lnTo>
                  <a:pt x="0" y="5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34" name="Freeform 135">
            <a:extLst>
              <a:ext uri="{FF2B5EF4-FFF2-40B4-BE49-F238E27FC236}">
                <a16:creationId xmlns:a16="http://schemas.microsoft.com/office/drawing/2014/main" id="{A74B31AF-8DC1-46AF-9FC5-D42CF1E53072}"/>
              </a:ext>
            </a:extLst>
          </p:cNvPr>
          <p:cNvSpPr>
            <a:spLocks/>
          </p:cNvSpPr>
          <p:nvPr/>
        </p:nvSpPr>
        <p:spPr bwMode="auto">
          <a:xfrm>
            <a:off x="8674101" y="3355976"/>
            <a:ext cx="36513" cy="38100"/>
          </a:xfrm>
          <a:custGeom>
            <a:avLst/>
            <a:gdLst>
              <a:gd name="T0" fmla="*/ 130 w 130"/>
              <a:gd name="T1" fmla="*/ 65 h 131"/>
              <a:gd name="T2" fmla="*/ 65 w 130"/>
              <a:gd name="T3" fmla="*/ 131 h 131"/>
              <a:gd name="T4" fmla="*/ 0 w 130"/>
              <a:gd name="T5" fmla="*/ 65 h 131"/>
              <a:gd name="T6" fmla="*/ 65 w 130"/>
              <a:gd name="T7" fmla="*/ 0 h 131"/>
              <a:gd name="T8" fmla="*/ 130 w 130"/>
              <a:gd name="T9" fmla="*/ 65 h 131"/>
            </a:gdLst>
            <a:ahLst/>
            <a:cxnLst>
              <a:cxn ang="0">
                <a:pos x="T0" y="T1"/>
              </a:cxn>
              <a:cxn ang="0">
                <a:pos x="T2" y="T3"/>
              </a:cxn>
              <a:cxn ang="0">
                <a:pos x="T4" y="T5"/>
              </a:cxn>
              <a:cxn ang="0">
                <a:pos x="T6" y="T7"/>
              </a:cxn>
              <a:cxn ang="0">
                <a:pos x="T8" y="T9"/>
              </a:cxn>
            </a:cxnLst>
            <a:rect l="0" t="0" r="r" b="b"/>
            <a:pathLst>
              <a:path w="130" h="131">
                <a:moveTo>
                  <a:pt x="130" y="65"/>
                </a:moveTo>
                <a:cubicBezTo>
                  <a:pt x="130" y="101"/>
                  <a:pt x="100" y="131"/>
                  <a:pt x="65" y="131"/>
                </a:cubicBezTo>
                <a:cubicBezTo>
                  <a:pt x="27" y="131"/>
                  <a:pt x="0" y="101"/>
                  <a:pt x="0" y="65"/>
                </a:cubicBezTo>
                <a:cubicBezTo>
                  <a:pt x="0" y="30"/>
                  <a:pt x="30" y="0"/>
                  <a:pt x="65" y="0"/>
                </a:cubicBezTo>
                <a:cubicBezTo>
                  <a:pt x="100" y="0"/>
                  <a:pt x="130" y="27"/>
                  <a:pt x="130" y="65"/>
                </a:cubicBezTo>
              </a:path>
            </a:pathLst>
          </a:custGeom>
          <a:solidFill>
            <a:srgbClr val="0078D7"/>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35" name="Oval 136">
            <a:extLst>
              <a:ext uri="{FF2B5EF4-FFF2-40B4-BE49-F238E27FC236}">
                <a16:creationId xmlns:a16="http://schemas.microsoft.com/office/drawing/2014/main" id="{89EDFF33-4318-4DD7-8496-854949E3A893}"/>
              </a:ext>
            </a:extLst>
          </p:cNvPr>
          <p:cNvSpPr>
            <a:spLocks noChangeArrowheads="1"/>
          </p:cNvSpPr>
          <p:nvPr/>
        </p:nvSpPr>
        <p:spPr bwMode="auto">
          <a:xfrm>
            <a:off x="8729663" y="3355976"/>
            <a:ext cx="36513" cy="38100"/>
          </a:xfrm>
          <a:prstGeom prst="ellipse">
            <a:avLst/>
          </a:prstGeom>
          <a:solidFill>
            <a:srgbClr val="0078D7"/>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37" name="Oval 137">
            <a:extLst>
              <a:ext uri="{FF2B5EF4-FFF2-40B4-BE49-F238E27FC236}">
                <a16:creationId xmlns:a16="http://schemas.microsoft.com/office/drawing/2014/main" id="{1D31FC59-B0C3-46FA-B41A-4461EB5FFC3E}"/>
              </a:ext>
            </a:extLst>
          </p:cNvPr>
          <p:cNvSpPr>
            <a:spLocks noChangeArrowheads="1"/>
          </p:cNvSpPr>
          <p:nvPr/>
        </p:nvSpPr>
        <p:spPr bwMode="auto">
          <a:xfrm>
            <a:off x="8785226" y="3355976"/>
            <a:ext cx="36513" cy="38100"/>
          </a:xfrm>
          <a:prstGeom prst="ellipse">
            <a:avLst/>
          </a:prstGeom>
          <a:solidFill>
            <a:srgbClr val="0078D7"/>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38" name="Rectangle 138">
            <a:extLst>
              <a:ext uri="{FF2B5EF4-FFF2-40B4-BE49-F238E27FC236}">
                <a16:creationId xmlns:a16="http://schemas.microsoft.com/office/drawing/2014/main" id="{663190F5-E890-4BC6-A1BB-FF5C3A64DF43}"/>
              </a:ext>
            </a:extLst>
          </p:cNvPr>
          <p:cNvSpPr>
            <a:spLocks noChangeArrowheads="1"/>
          </p:cNvSpPr>
          <p:nvPr/>
        </p:nvSpPr>
        <p:spPr bwMode="auto">
          <a:xfrm>
            <a:off x="8374063" y="3473451"/>
            <a:ext cx="854075"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78D7"/>
                </a:solidFill>
                <a:effectLst/>
                <a:latin typeface="Segoe UI" panose="020B0502040204020203" pitchFamily="34" charset="0"/>
              </a:rPr>
              <a:t>Virtual Network</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239" name="Freeform 139">
            <a:extLst>
              <a:ext uri="{FF2B5EF4-FFF2-40B4-BE49-F238E27FC236}">
                <a16:creationId xmlns:a16="http://schemas.microsoft.com/office/drawing/2014/main" id="{72B93221-5017-475E-AC4E-6F90D07B5C3B}"/>
              </a:ext>
            </a:extLst>
          </p:cNvPr>
          <p:cNvSpPr>
            <a:spLocks noEditPoints="1"/>
          </p:cNvSpPr>
          <p:nvPr/>
        </p:nvSpPr>
        <p:spPr bwMode="auto">
          <a:xfrm>
            <a:off x="5894388" y="1868488"/>
            <a:ext cx="3340100" cy="1835150"/>
          </a:xfrm>
          <a:custGeom>
            <a:avLst/>
            <a:gdLst>
              <a:gd name="T0" fmla="*/ 47 w 11765"/>
              <a:gd name="T1" fmla="*/ 634 h 6460"/>
              <a:gd name="T2" fmla="*/ 47 w 11765"/>
              <a:gd name="T3" fmla="*/ 1197 h 6460"/>
              <a:gd name="T4" fmla="*/ 23 w 11765"/>
              <a:gd name="T5" fmla="*/ 1784 h 6460"/>
              <a:gd name="T6" fmla="*/ 0 w 11765"/>
              <a:gd name="T7" fmla="*/ 2324 h 6460"/>
              <a:gd name="T8" fmla="*/ 0 w 11765"/>
              <a:gd name="T9" fmla="*/ 2887 h 6460"/>
              <a:gd name="T10" fmla="*/ 23 w 11765"/>
              <a:gd name="T11" fmla="*/ 3427 h 6460"/>
              <a:gd name="T12" fmla="*/ 47 w 11765"/>
              <a:gd name="T13" fmla="*/ 4014 h 6460"/>
              <a:gd name="T14" fmla="*/ 47 w 11765"/>
              <a:gd name="T15" fmla="*/ 4718 h 6460"/>
              <a:gd name="T16" fmla="*/ 47 w 11765"/>
              <a:gd name="T17" fmla="*/ 5282 h 6460"/>
              <a:gd name="T18" fmla="*/ 23 w 11765"/>
              <a:gd name="T19" fmla="*/ 5869 h 6460"/>
              <a:gd name="T20" fmla="*/ 0 w 11765"/>
              <a:gd name="T21" fmla="*/ 6409 h 6460"/>
              <a:gd name="T22" fmla="*/ 559 w 11765"/>
              <a:gd name="T23" fmla="*/ 6460 h 6460"/>
              <a:gd name="T24" fmla="*/ 1099 w 11765"/>
              <a:gd name="T25" fmla="*/ 6436 h 6460"/>
              <a:gd name="T26" fmla="*/ 1686 w 11765"/>
              <a:gd name="T27" fmla="*/ 6413 h 6460"/>
              <a:gd name="T28" fmla="*/ 2390 w 11765"/>
              <a:gd name="T29" fmla="*/ 6413 h 6460"/>
              <a:gd name="T30" fmla="*/ 2953 w 11765"/>
              <a:gd name="T31" fmla="*/ 6413 h 6460"/>
              <a:gd name="T32" fmla="*/ 3540 w 11765"/>
              <a:gd name="T33" fmla="*/ 6436 h 6460"/>
              <a:gd name="T34" fmla="*/ 4080 w 11765"/>
              <a:gd name="T35" fmla="*/ 6460 h 6460"/>
              <a:gd name="T36" fmla="*/ 4644 w 11765"/>
              <a:gd name="T37" fmla="*/ 6460 h 6460"/>
              <a:gd name="T38" fmla="*/ 5183 w 11765"/>
              <a:gd name="T39" fmla="*/ 6436 h 6460"/>
              <a:gd name="T40" fmla="*/ 5770 w 11765"/>
              <a:gd name="T41" fmla="*/ 6413 h 6460"/>
              <a:gd name="T42" fmla="*/ 6475 w 11765"/>
              <a:gd name="T43" fmla="*/ 6413 h 6460"/>
              <a:gd name="T44" fmla="*/ 7038 w 11765"/>
              <a:gd name="T45" fmla="*/ 6413 h 6460"/>
              <a:gd name="T46" fmla="*/ 7625 w 11765"/>
              <a:gd name="T47" fmla="*/ 6436 h 6460"/>
              <a:gd name="T48" fmla="*/ 8165 w 11765"/>
              <a:gd name="T49" fmla="*/ 6460 h 6460"/>
              <a:gd name="T50" fmla="*/ 8728 w 11765"/>
              <a:gd name="T51" fmla="*/ 6460 h 6460"/>
              <a:gd name="T52" fmla="*/ 9268 w 11765"/>
              <a:gd name="T53" fmla="*/ 6436 h 6460"/>
              <a:gd name="T54" fmla="*/ 9855 w 11765"/>
              <a:gd name="T55" fmla="*/ 6413 h 6460"/>
              <a:gd name="T56" fmla="*/ 10559 w 11765"/>
              <a:gd name="T57" fmla="*/ 6413 h 6460"/>
              <a:gd name="T58" fmla="*/ 11123 w 11765"/>
              <a:gd name="T59" fmla="*/ 6413 h 6460"/>
              <a:gd name="T60" fmla="*/ 11709 w 11765"/>
              <a:gd name="T61" fmla="*/ 6436 h 6460"/>
              <a:gd name="T62" fmla="*/ 11765 w 11765"/>
              <a:gd name="T63" fmla="*/ 5928 h 6460"/>
              <a:gd name="T64" fmla="*/ 11765 w 11765"/>
              <a:gd name="T65" fmla="*/ 5365 h 6460"/>
              <a:gd name="T66" fmla="*/ 11742 w 11765"/>
              <a:gd name="T67" fmla="*/ 4825 h 6460"/>
              <a:gd name="T68" fmla="*/ 11718 w 11765"/>
              <a:gd name="T69" fmla="*/ 4238 h 6460"/>
              <a:gd name="T70" fmla="*/ 11718 w 11765"/>
              <a:gd name="T71" fmla="*/ 3534 h 6460"/>
              <a:gd name="T72" fmla="*/ 11718 w 11765"/>
              <a:gd name="T73" fmla="*/ 2971 h 6460"/>
              <a:gd name="T74" fmla="*/ 11742 w 11765"/>
              <a:gd name="T75" fmla="*/ 2384 h 6460"/>
              <a:gd name="T76" fmla="*/ 11765 w 11765"/>
              <a:gd name="T77" fmla="*/ 1844 h 6460"/>
              <a:gd name="T78" fmla="*/ 11765 w 11765"/>
              <a:gd name="T79" fmla="*/ 1280 h 6460"/>
              <a:gd name="T80" fmla="*/ 11742 w 11765"/>
              <a:gd name="T81" fmla="*/ 740 h 6460"/>
              <a:gd name="T82" fmla="*/ 11718 w 11765"/>
              <a:gd name="T83" fmla="*/ 154 h 6460"/>
              <a:gd name="T84" fmla="*/ 11168 w 11765"/>
              <a:gd name="T85" fmla="*/ 47 h 6460"/>
              <a:gd name="T86" fmla="*/ 10604 w 11765"/>
              <a:gd name="T87" fmla="*/ 47 h 6460"/>
              <a:gd name="T88" fmla="*/ 10017 w 11765"/>
              <a:gd name="T89" fmla="*/ 23 h 6460"/>
              <a:gd name="T90" fmla="*/ 9477 w 11765"/>
              <a:gd name="T91" fmla="*/ 0 h 6460"/>
              <a:gd name="T92" fmla="*/ 8914 w 11765"/>
              <a:gd name="T93" fmla="*/ 0 h 6460"/>
              <a:gd name="T94" fmla="*/ 8374 w 11765"/>
              <a:gd name="T95" fmla="*/ 23 h 6460"/>
              <a:gd name="T96" fmla="*/ 7787 w 11765"/>
              <a:gd name="T97" fmla="*/ 47 h 6460"/>
              <a:gd name="T98" fmla="*/ 7083 w 11765"/>
              <a:gd name="T99" fmla="*/ 47 h 6460"/>
              <a:gd name="T100" fmla="*/ 6520 w 11765"/>
              <a:gd name="T101" fmla="*/ 47 h 6460"/>
              <a:gd name="T102" fmla="*/ 5933 w 11765"/>
              <a:gd name="T103" fmla="*/ 23 h 6460"/>
              <a:gd name="T104" fmla="*/ 5393 w 11765"/>
              <a:gd name="T105" fmla="*/ 0 h 6460"/>
              <a:gd name="T106" fmla="*/ 4829 w 11765"/>
              <a:gd name="T107" fmla="*/ 0 h 6460"/>
              <a:gd name="T108" fmla="*/ 4290 w 11765"/>
              <a:gd name="T109" fmla="*/ 23 h 6460"/>
              <a:gd name="T110" fmla="*/ 3703 w 11765"/>
              <a:gd name="T111" fmla="*/ 47 h 6460"/>
              <a:gd name="T112" fmla="*/ 2998 w 11765"/>
              <a:gd name="T113" fmla="*/ 47 h 6460"/>
              <a:gd name="T114" fmla="*/ 2435 w 11765"/>
              <a:gd name="T115" fmla="*/ 47 h 6460"/>
              <a:gd name="T116" fmla="*/ 1848 w 11765"/>
              <a:gd name="T117" fmla="*/ 23 h 6460"/>
              <a:gd name="T118" fmla="*/ 1308 w 11765"/>
              <a:gd name="T119" fmla="*/ 0 h 6460"/>
              <a:gd name="T120" fmla="*/ 745 w 11765"/>
              <a:gd name="T121" fmla="*/ 0 h 6460"/>
              <a:gd name="T122" fmla="*/ 205 w 11765"/>
              <a:gd name="T123" fmla="*/ 23 h 6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765" h="6460">
                <a:moveTo>
                  <a:pt x="47" y="70"/>
                </a:moveTo>
                <a:lnTo>
                  <a:pt x="47" y="70"/>
                </a:lnTo>
                <a:cubicBezTo>
                  <a:pt x="47" y="83"/>
                  <a:pt x="36" y="94"/>
                  <a:pt x="23" y="94"/>
                </a:cubicBezTo>
                <a:cubicBezTo>
                  <a:pt x="10" y="94"/>
                  <a:pt x="0" y="83"/>
                  <a:pt x="0" y="70"/>
                </a:cubicBezTo>
                <a:lnTo>
                  <a:pt x="0" y="70"/>
                </a:lnTo>
                <a:cubicBezTo>
                  <a:pt x="0" y="57"/>
                  <a:pt x="10" y="47"/>
                  <a:pt x="23" y="47"/>
                </a:cubicBezTo>
                <a:cubicBezTo>
                  <a:pt x="36" y="47"/>
                  <a:pt x="47" y="57"/>
                  <a:pt x="47" y="70"/>
                </a:cubicBezTo>
                <a:close/>
                <a:moveTo>
                  <a:pt x="47" y="211"/>
                </a:moveTo>
                <a:lnTo>
                  <a:pt x="47" y="211"/>
                </a:lnTo>
                <a:cubicBezTo>
                  <a:pt x="47" y="224"/>
                  <a:pt x="36" y="235"/>
                  <a:pt x="23" y="235"/>
                </a:cubicBezTo>
                <a:cubicBezTo>
                  <a:pt x="10" y="235"/>
                  <a:pt x="0" y="224"/>
                  <a:pt x="0" y="211"/>
                </a:cubicBezTo>
                <a:lnTo>
                  <a:pt x="0" y="211"/>
                </a:lnTo>
                <a:cubicBezTo>
                  <a:pt x="0" y="198"/>
                  <a:pt x="10" y="188"/>
                  <a:pt x="23" y="188"/>
                </a:cubicBezTo>
                <a:cubicBezTo>
                  <a:pt x="36" y="188"/>
                  <a:pt x="47" y="198"/>
                  <a:pt x="47" y="211"/>
                </a:cubicBezTo>
                <a:close/>
                <a:moveTo>
                  <a:pt x="47" y="352"/>
                </a:moveTo>
                <a:lnTo>
                  <a:pt x="47" y="352"/>
                </a:lnTo>
                <a:cubicBezTo>
                  <a:pt x="47" y="365"/>
                  <a:pt x="36" y="376"/>
                  <a:pt x="23" y="376"/>
                </a:cubicBezTo>
                <a:cubicBezTo>
                  <a:pt x="10" y="376"/>
                  <a:pt x="0" y="365"/>
                  <a:pt x="0" y="352"/>
                </a:cubicBezTo>
                <a:lnTo>
                  <a:pt x="0" y="352"/>
                </a:lnTo>
                <a:cubicBezTo>
                  <a:pt x="0" y="339"/>
                  <a:pt x="10" y="329"/>
                  <a:pt x="23" y="329"/>
                </a:cubicBezTo>
                <a:cubicBezTo>
                  <a:pt x="36" y="329"/>
                  <a:pt x="47" y="339"/>
                  <a:pt x="47" y="352"/>
                </a:cubicBezTo>
                <a:close/>
                <a:moveTo>
                  <a:pt x="47" y="493"/>
                </a:moveTo>
                <a:lnTo>
                  <a:pt x="47" y="493"/>
                </a:lnTo>
                <a:cubicBezTo>
                  <a:pt x="47" y="506"/>
                  <a:pt x="36" y="516"/>
                  <a:pt x="23" y="516"/>
                </a:cubicBezTo>
                <a:cubicBezTo>
                  <a:pt x="10" y="516"/>
                  <a:pt x="0" y="506"/>
                  <a:pt x="0" y="493"/>
                </a:cubicBezTo>
                <a:lnTo>
                  <a:pt x="0" y="493"/>
                </a:lnTo>
                <a:cubicBezTo>
                  <a:pt x="0" y="480"/>
                  <a:pt x="10" y="469"/>
                  <a:pt x="23" y="469"/>
                </a:cubicBezTo>
                <a:cubicBezTo>
                  <a:pt x="36" y="469"/>
                  <a:pt x="47" y="480"/>
                  <a:pt x="47" y="493"/>
                </a:cubicBezTo>
                <a:close/>
                <a:moveTo>
                  <a:pt x="47" y="634"/>
                </a:moveTo>
                <a:lnTo>
                  <a:pt x="47" y="634"/>
                </a:lnTo>
                <a:cubicBezTo>
                  <a:pt x="47" y="647"/>
                  <a:pt x="36" y="657"/>
                  <a:pt x="23" y="657"/>
                </a:cubicBezTo>
                <a:cubicBezTo>
                  <a:pt x="10" y="657"/>
                  <a:pt x="0" y="647"/>
                  <a:pt x="0" y="634"/>
                </a:cubicBezTo>
                <a:lnTo>
                  <a:pt x="0" y="634"/>
                </a:lnTo>
                <a:cubicBezTo>
                  <a:pt x="0" y="621"/>
                  <a:pt x="10" y="610"/>
                  <a:pt x="23" y="610"/>
                </a:cubicBezTo>
                <a:cubicBezTo>
                  <a:pt x="36" y="610"/>
                  <a:pt x="47" y="621"/>
                  <a:pt x="47" y="634"/>
                </a:cubicBezTo>
                <a:close/>
                <a:moveTo>
                  <a:pt x="47" y="775"/>
                </a:moveTo>
                <a:lnTo>
                  <a:pt x="47" y="775"/>
                </a:lnTo>
                <a:cubicBezTo>
                  <a:pt x="47" y="788"/>
                  <a:pt x="36" y="798"/>
                  <a:pt x="23" y="798"/>
                </a:cubicBezTo>
                <a:cubicBezTo>
                  <a:pt x="10" y="798"/>
                  <a:pt x="0" y="788"/>
                  <a:pt x="0" y="775"/>
                </a:cubicBezTo>
                <a:lnTo>
                  <a:pt x="0" y="775"/>
                </a:lnTo>
                <a:cubicBezTo>
                  <a:pt x="0" y="762"/>
                  <a:pt x="10" y="751"/>
                  <a:pt x="23" y="751"/>
                </a:cubicBezTo>
                <a:cubicBezTo>
                  <a:pt x="36" y="751"/>
                  <a:pt x="47" y="762"/>
                  <a:pt x="47" y="775"/>
                </a:cubicBezTo>
                <a:close/>
                <a:moveTo>
                  <a:pt x="47" y="915"/>
                </a:moveTo>
                <a:lnTo>
                  <a:pt x="47" y="915"/>
                </a:lnTo>
                <a:cubicBezTo>
                  <a:pt x="47" y="928"/>
                  <a:pt x="36" y="939"/>
                  <a:pt x="23" y="939"/>
                </a:cubicBezTo>
                <a:cubicBezTo>
                  <a:pt x="10" y="939"/>
                  <a:pt x="0" y="928"/>
                  <a:pt x="0" y="915"/>
                </a:cubicBezTo>
                <a:lnTo>
                  <a:pt x="0" y="915"/>
                </a:lnTo>
                <a:cubicBezTo>
                  <a:pt x="0" y="902"/>
                  <a:pt x="10" y="892"/>
                  <a:pt x="23" y="892"/>
                </a:cubicBezTo>
                <a:cubicBezTo>
                  <a:pt x="36" y="892"/>
                  <a:pt x="47" y="902"/>
                  <a:pt x="47" y="915"/>
                </a:cubicBezTo>
                <a:close/>
                <a:moveTo>
                  <a:pt x="47" y="1056"/>
                </a:moveTo>
                <a:lnTo>
                  <a:pt x="47" y="1056"/>
                </a:lnTo>
                <a:cubicBezTo>
                  <a:pt x="47" y="1069"/>
                  <a:pt x="36" y="1080"/>
                  <a:pt x="23" y="1080"/>
                </a:cubicBezTo>
                <a:cubicBezTo>
                  <a:pt x="10" y="1080"/>
                  <a:pt x="0" y="1069"/>
                  <a:pt x="0" y="1056"/>
                </a:cubicBezTo>
                <a:lnTo>
                  <a:pt x="0" y="1056"/>
                </a:lnTo>
                <a:cubicBezTo>
                  <a:pt x="0" y="1043"/>
                  <a:pt x="10" y="1033"/>
                  <a:pt x="23" y="1033"/>
                </a:cubicBezTo>
                <a:cubicBezTo>
                  <a:pt x="36" y="1033"/>
                  <a:pt x="47" y="1043"/>
                  <a:pt x="47" y="1056"/>
                </a:cubicBezTo>
                <a:close/>
                <a:moveTo>
                  <a:pt x="47" y="1197"/>
                </a:moveTo>
                <a:lnTo>
                  <a:pt x="47" y="1197"/>
                </a:lnTo>
                <a:cubicBezTo>
                  <a:pt x="47" y="1210"/>
                  <a:pt x="36" y="1221"/>
                  <a:pt x="23" y="1221"/>
                </a:cubicBezTo>
                <a:cubicBezTo>
                  <a:pt x="10" y="1221"/>
                  <a:pt x="0" y="1210"/>
                  <a:pt x="0" y="1197"/>
                </a:cubicBezTo>
                <a:lnTo>
                  <a:pt x="0" y="1197"/>
                </a:lnTo>
                <a:cubicBezTo>
                  <a:pt x="0" y="1184"/>
                  <a:pt x="10" y="1174"/>
                  <a:pt x="23" y="1174"/>
                </a:cubicBezTo>
                <a:cubicBezTo>
                  <a:pt x="36" y="1174"/>
                  <a:pt x="47" y="1184"/>
                  <a:pt x="47" y="1197"/>
                </a:cubicBezTo>
                <a:close/>
                <a:moveTo>
                  <a:pt x="47" y="1338"/>
                </a:moveTo>
                <a:lnTo>
                  <a:pt x="47" y="1338"/>
                </a:lnTo>
                <a:cubicBezTo>
                  <a:pt x="47" y="1351"/>
                  <a:pt x="36" y="1361"/>
                  <a:pt x="23" y="1361"/>
                </a:cubicBezTo>
                <a:cubicBezTo>
                  <a:pt x="10" y="1361"/>
                  <a:pt x="0" y="1351"/>
                  <a:pt x="0" y="1338"/>
                </a:cubicBezTo>
                <a:lnTo>
                  <a:pt x="0" y="1338"/>
                </a:lnTo>
                <a:cubicBezTo>
                  <a:pt x="0" y="1325"/>
                  <a:pt x="10" y="1315"/>
                  <a:pt x="23" y="1315"/>
                </a:cubicBezTo>
                <a:cubicBezTo>
                  <a:pt x="36" y="1315"/>
                  <a:pt x="47" y="1325"/>
                  <a:pt x="47" y="1338"/>
                </a:cubicBezTo>
                <a:close/>
                <a:moveTo>
                  <a:pt x="47" y="1479"/>
                </a:moveTo>
                <a:lnTo>
                  <a:pt x="47" y="1479"/>
                </a:lnTo>
                <a:cubicBezTo>
                  <a:pt x="47" y="1492"/>
                  <a:pt x="36" y="1502"/>
                  <a:pt x="23" y="1502"/>
                </a:cubicBezTo>
                <a:cubicBezTo>
                  <a:pt x="10" y="1502"/>
                  <a:pt x="0" y="1492"/>
                  <a:pt x="0" y="1479"/>
                </a:cubicBezTo>
                <a:lnTo>
                  <a:pt x="0" y="1479"/>
                </a:lnTo>
                <a:cubicBezTo>
                  <a:pt x="0" y="1466"/>
                  <a:pt x="10" y="1455"/>
                  <a:pt x="23" y="1455"/>
                </a:cubicBezTo>
                <a:cubicBezTo>
                  <a:pt x="36" y="1455"/>
                  <a:pt x="47" y="1466"/>
                  <a:pt x="47" y="1479"/>
                </a:cubicBezTo>
                <a:close/>
                <a:moveTo>
                  <a:pt x="47" y="1620"/>
                </a:moveTo>
                <a:lnTo>
                  <a:pt x="47" y="1620"/>
                </a:lnTo>
                <a:cubicBezTo>
                  <a:pt x="47" y="1633"/>
                  <a:pt x="36" y="1643"/>
                  <a:pt x="23" y="1643"/>
                </a:cubicBezTo>
                <a:cubicBezTo>
                  <a:pt x="10" y="1643"/>
                  <a:pt x="0" y="1633"/>
                  <a:pt x="0" y="1620"/>
                </a:cubicBezTo>
                <a:lnTo>
                  <a:pt x="0" y="1620"/>
                </a:lnTo>
                <a:cubicBezTo>
                  <a:pt x="0" y="1607"/>
                  <a:pt x="10" y="1596"/>
                  <a:pt x="23" y="1596"/>
                </a:cubicBezTo>
                <a:cubicBezTo>
                  <a:pt x="36" y="1596"/>
                  <a:pt x="47" y="1607"/>
                  <a:pt x="47" y="1620"/>
                </a:cubicBezTo>
                <a:close/>
                <a:moveTo>
                  <a:pt x="47" y="1761"/>
                </a:moveTo>
                <a:lnTo>
                  <a:pt x="47" y="1761"/>
                </a:lnTo>
                <a:cubicBezTo>
                  <a:pt x="47" y="1774"/>
                  <a:pt x="36" y="1784"/>
                  <a:pt x="23" y="1784"/>
                </a:cubicBezTo>
                <a:cubicBezTo>
                  <a:pt x="10" y="1784"/>
                  <a:pt x="0" y="1774"/>
                  <a:pt x="0" y="1761"/>
                </a:cubicBezTo>
                <a:lnTo>
                  <a:pt x="0" y="1761"/>
                </a:lnTo>
                <a:cubicBezTo>
                  <a:pt x="0" y="1748"/>
                  <a:pt x="10" y="1737"/>
                  <a:pt x="23" y="1737"/>
                </a:cubicBezTo>
                <a:cubicBezTo>
                  <a:pt x="36" y="1737"/>
                  <a:pt x="47" y="1748"/>
                  <a:pt x="47" y="1761"/>
                </a:cubicBezTo>
                <a:close/>
                <a:moveTo>
                  <a:pt x="47" y="1901"/>
                </a:moveTo>
                <a:lnTo>
                  <a:pt x="47" y="1901"/>
                </a:lnTo>
                <a:cubicBezTo>
                  <a:pt x="47" y="1914"/>
                  <a:pt x="36" y="1925"/>
                  <a:pt x="23" y="1925"/>
                </a:cubicBezTo>
                <a:cubicBezTo>
                  <a:pt x="10" y="1925"/>
                  <a:pt x="0" y="1914"/>
                  <a:pt x="0" y="1901"/>
                </a:cubicBezTo>
                <a:lnTo>
                  <a:pt x="0" y="1901"/>
                </a:lnTo>
                <a:cubicBezTo>
                  <a:pt x="0" y="1888"/>
                  <a:pt x="10" y="1878"/>
                  <a:pt x="23" y="1878"/>
                </a:cubicBezTo>
                <a:cubicBezTo>
                  <a:pt x="36" y="1878"/>
                  <a:pt x="47" y="1888"/>
                  <a:pt x="47" y="1901"/>
                </a:cubicBezTo>
                <a:close/>
                <a:moveTo>
                  <a:pt x="47" y="2042"/>
                </a:moveTo>
                <a:lnTo>
                  <a:pt x="47" y="2042"/>
                </a:lnTo>
                <a:cubicBezTo>
                  <a:pt x="47" y="2055"/>
                  <a:pt x="36" y="2066"/>
                  <a:pt x="23" y="2066"/>
                </a:cubicBezTo>
                <a:cubicBezTo>
                  <a:pt x="10" y="2066"/>
                  <a:pt x="0" y="2055"/>
                  <a:pt x="0" y="2042"/>
                </a:cubicBezTo>
                <a:lnTo>
                  <a:pt x="0" y="2042"/>
                </a:lnTo>
                <a:cubicBezTo>
                  <a:pt x="0" y="2029"/>
                  <a:pt x="10" y="2019"/>
                  <a:pt x="23" y="2019"/>
                </a:cubicBezTo>
                <a:cubicBezTo>
                  <a:pt x="36" y="2019"/>
                  <a:pt x="47" y="2029"/>
                  <a:pt x="47" y="2042"/>
                </a:cubicBezTo>
                <a:close/>
                <a:moveTo>
                  <a:pt x="47" y="2183"/>
                </a:moveTo>
                <a:lnTo>
                  <a:pt x="47" y="2183"/>
                </a:lnTo>
                <a:cubicBezTo>
                  <a:pt x="47" y="2196"/>
                  <a:pt x="36" y="2207"/>
                  <a:pt x="23" y="2207"/>
                </a:cubicBezTo>
                <a:cubicBezTo>
                  <a:pt x="10" y="2207"/>
                  <a:pt x="0" y="2196"/>
                  <a:pt x="0" y="2183"/>
                </a:cubicBezTo>
                <a:lnTo>
                  <a:pt x="0" y="2183"/>
                </a:lnTo>
                <a:cubicBezTo>
                  <a:pt x="0" y="2170"/>
                  <a:pt x="10" y="2160"/>
                  <a:pt x="23" y="2160"/>
                </a:cubicBezTo>
                <a:cubicBezTo>
                  <a:pt x="36" y="2160"/>
                  <a:pt x="47" y="2170"/>
                  <a:pt x="47" y="2183"/>
                </a:cubicBezTo>
                <a:close/>
                <a:moveTo>
                  <a:pt x="47" y="2324"/>
                </a:moveTo>
                <a:lnTo>
                  <a:pt x="47" y="2324"/>
                </a:lnTo>
                <a:cubicBezTo>
                  <a:pt x="47" y="2337"/>
                  <a:pt x="36" y="2347"/>
                  <a:pt x="23" y="2347"/>
                </a:cubicBezTo>
                <a:cubicBezTo>
                  <a:pt x="10" y="2347"/>
                  <a:pt x="0" y="2337"/>
                  <a:pt x="0" y="2324"/>
                </a:cubicBezTo>
                <a:lnTo>
                  <a:pt x="0" y="2324"/>
                </a:lnTo>
                <a:cubicBezTo>
                  <a:pt x="0" y="2311"/>
                  <a:pt x="10" y="2300"/>
                  <a:pt x="23" y="2300"/>
                </a:cubicBezTo>
                <a:cubicBezTo>
                  <a:pt x="36" y="2300"/>
                  <a:pt x="47" y="2311"/>
                  <a:pt x="47" y="2324"/>
                </a:cubicBezTo>
                <a:close/>
                <a:moveTo>
                  <a:pt x="47" y="2465"/>
                </a:moveTo>
                <a:lnTo>
                  <a:pt x="47" y="2465"/>
                </a:lnTo>
                <a:cubicBezTo>
                  <a:pt x="47" y="2478"/>
                  <a:pt x="36" y="2488"/>
                  <a:pt x="23" y="2488"/>
                </a:cubicBezTo>
                <a:cubicBezTo>
                  <a:pt x="10" y="2488"/>
                  <a:pt x="0" y="2478"/>
                  <a:pt x="0" y="2465"/>
                </a:cubicBezTo>
                <a:lnTo>
                  <a:pt x="0" y="2465"/>
                </a:lnTo>
                <a:cubicBezTo>
                  <a:pt x="0" y="2452"/>
                  <a:pt x="10" y="2441"/>
                  <a:pt x="23" y="2441"/>
                </a:cubicBezTo>
                <a:cubicBezTo>
                  <a:pt x="36" y="2441"/>
                  <a:pt x="47" y="2452"/>
                  <a:pt x="47" y="2465"/>
                </a:cubicBezTo>
                <a:close/>
                <a:moveTo>
                  <a:pt x="47" y="2606"/>
                </a:moveTo>
                <a:lnTo>
                  <a:pt x="47" y="2606"/>
                </a:lnTo>
                <a:cubicBezTo>
                  <a:pt x="47" y="2619"/>
                  <a:pt x="36" y="2629"/>
                  <a:pt x="23" y="2629"/>
                </a:cubicBezTo>
                <a:cubicBezTo>
                  <a:pt x="10" y="2629"/>
                  <a:pt x="0" y="2619"/>
                  <a:pt x="0" y="2606"/>
                </a:cubicBezTo>
                <a:lnTo>
                  <a:pt x="0" y="2606"/>
                </a:lnTo>
                <a:cubicBezTo>
                  <a:pt x="0" y="2593"/>
                  <a:pt x="10" y="2582"/>
                  <a:pt x="23" y="2582"/>
                </a:cubicBezTo>
                <a:cubicBezTo>
                  <a:pt x="36" y="2582"/>
                  <a:pt x="47" y="2593"/>
                  <a:pt x="47" y="2606"/>
                </a:cubicBezTo>
                <a:close/>
                <a:moveTo>
                  <a:pt x="47" y="2746"/>
                </a:moveTo>
                <a:lnTo>
                  <a:pt x="47" y="2746"/>
                </a:lnTo>
                <a:cubicBezTo>
                  <a:pt x="47" y="2759"/>
                  <a:pt x="36" y="2770"/>
                  <a:pt x="23" y="2770"/>
                </a:cubicBezTo>
                <a:cubicBezTo>
                  <a:pt x="10" y="2770"/>
                  <a:pt x="0" y="2759"/>
                  <a:pt x="0" y="2746"/>
                </a:cubicBezTo>
                <a:lnTo>
                  <a:pt x="0" y="2746"/>
                </a:lnTo>
                <a:cubicBezTo>
                  <a:pt x="0" y="2733"/>
                  <a:pt x="10" y="2723"/>
                  <a:pt x="23" y="2723"/>
                </a:cubicBezTo>
                <a:cubicBezTo>
                  <a:pt x="36" y="2723"/>
                  <a:pt x="47" y="2733"/>
                  <a:pt x="47" y="2746"/>
                </a:cubicBezTo>
                <a:close/>
                <a:moveTo>
                  <a:pt x="47" y="2887"/>
                </a:moveTo>
                <a:lnTo>
                  <a:pt x="47" y="2887"/>
                </a:lnTo>
                <a:cubicBezTo>
                  <a:pt x="47" y="2900"/>
                  <a:pt x="36" y="2911"/>
                  <a:pt x="23" y="2911"/>
                </a:cubicBezTo>
                <a:cubicBezTo>
                  <a:pt x="10" y="2911"/>
                  <a:pt x="0" y="2900"/>
                  <a:pt x="0" y="2887"/>
                </a:cubicBezTo>
                <a:lnTo>
                  <a:pt x="0" y="2887"/>
                </a:lnTo>
                <a:cubicBezTo>
                  <a:pt x="0" y="2874"/>
                  <a:pt x="10" y="2864"/>
                  <a:pt x="23" y="2864"/>
                </a:cubicBezTo>
                <a:cubicBezTo>
                  <a:pt x="36" y="2864"/>
                  <a:pt x="47" y="2874"/>
                  <a:pt x="47" y="2887"/>
                </a:cubicBezTo>
                <a:close/>
                <a:moveTo>
                  <a:pt x="47" y="3028"/>
                </a:moveTo>
                <a:lnTo>
                  <a:pt x="47" y="3028"/>
                </a:lnTo>
                <a:cubicBezTo>
                  <a:pt x="47" y="3041"/>
                  <a:pt x="36" y="3052"/>
                  <a:pt x="23" y="3052"/>
                </a:cubicBezTo>
                <a:cubicBezTo>
                  <a:pt x="10" y="3052"/>
                  <a:pt x="0" y="3041"/>
                  <a:pt x="0" y="3028"/>
                </a:cubicBezTo>
                <a:lnTo>
                  <a:pt x="0" y="3028"/>
                </a:lnTo>
                <a:cubicBezTo>
                  <a:pt x="0" y="3015"/>
                  <a:pt x="10" y="3005"/>
                  <a:pt x="23" y="3005"/>
                </a:cubicBezTo>
                <a:cubicBezTo>
                  <a:pt x="36" y="3005"/>
                  <a:pt x="47" y="3015"/>
                  <a:pt x="47" y="3028"/>
                </a:cubicBezTo>
                <a:close/>
                <a:moveTo>
                  <a:pt x="47" y="3169"/>
                </a:moveTo>
                <a:lnTo>
                  <a:pt x="47" y="3169"/>
                </a:lnTo>
                <a:cubicBezTo>
                  <a:pt x="47" y="3182"/>
                  <a:pt x="36" y="3192"/>
                  <a:pt x="23" y="3192"/>
                </a:cubicBezTo>
                <a:cubicBezTo>
                  <a:pt x="10" y="3192"/>
                  <a:pt x="0" y="3182"/>
                  <a:pt x="0" y="3169"/>
                </a:cubicBezTo>
                <a:lnTo>
                  <a:pt x="0" y="3169"/>
                </a:lnTo>
                <a:cubicBezTo>
                  <a:pt x="0" y="3156"/>
                  <a:pt x="10" y="3146"/>
                  <a:pt x="23" y="3146"/>
                </a:cubicBezTo>
                <a:cubicBezTo>
                  <a:pt x="36" y="3146"/>
                  <a:pt x="47" y="3156"/>
                  <a:pt x="47" y="3169"/>
                </a:cubicBezTo>
                <a:close/>
                <a:moveTo>
                  <a:pt x="47" y="3310"/>
                </a:moveTo>
                <a:lnTo>
                  <a:pt x="47" y="3310"/>
                </a:lnTo>
                <a:cubicBezTo>
                  <a:pt x="47" y="3323"/>
                  <a:pt x="36" y="3333"/>
                  <a:pt x="23" y="3333"/>
                </a:cubicBezTo>
                <a:cubicBezTo>
                  <a:pt x="10" y="3333"/>
                  <a:pt x="0" y="3323"/>
                  <a:pt x="0" y="3310"/>
                </a:cubicBezTo>
                <a:lnTo>
                  <a:pt x="0" y="3310"/>
                </a:lnTo>
                <a:cubicBezTo>
                  <a:pt x="0" y="3297"/>
                  <a:pt x="10" y="3286"/>
                  <a:pt x="23" y="3286"/>
                </a:cubicBezTo>
                <a:cubicBezTo>
                  <a:pt x="36" y="3286"/>
                  <a:pt x="47" y="3297"/>
                  <a:pt x="47" y="3310"/>
                </a:cubicBezTo>
                <a:close/>
                <a:moveTo>
                  <a:pt x="47" y="3451"/>
                </a:moveTo>
                <a:lnTo>
                  <a:pt x="47" y="3451"/>
                </a:lnTo>
                <a:cubicBezTo>
                  <a:pt x="47" y="3464"/>
                  <a:pt x="36" y="3474"/>
                  <a:pt x="23" y="3474"/>
                </a:cubicBezTo>
                <a:cubicBezTo>
                  <a:pt x="10" y="3474"/>
                  <a:pt x="0" y="3464"/>
                  <a:pt x="0" y="3451"/>
                </a:cubicBezTo>
                <a:lnTo>
                  <a:pt x="0" y="3451"/>
                </a:lnTo>
                <a:cubicBezTo>
                  <a:pt x="0" y="3438"/>
                  <a:pt x="10" y="3427"/>
                  <a:pt x="23" y="3427"/>
                </a:cubicBezTo>
                <a:cubicBezTo>
                  <a:pt x="36" y="3427"/>
                  <a:pt x="47" y="3438"/>
                  <a:pt x="47" y="3451"/>
                </a:cubicBezTo>
                <a:close/>
                <a:moveTo>
                  <a:pt x="47" y="3592"/>
                </a:moveTo>
                <a:lnTo>
                  <a:pt x="47" y="3592"/>
                </a:lnTo>
                <a:cubicBezTo>
                  <a:pt x="47" y="3605"/>
                  <a:pt x="36" y="3615"/>
                  <a:pt x="23" y="3615"/>
                </a:cubicBezTo>
                <a:cubicBezTo>
                  <a:pt x="10" y="3615"/>
                  <a:pt x="0" y="3605"/>
                  <a:pt x="0" y="3592"/>
                </a:cubicBezTo>
                <a:lnTo>
                  <a:pt x="0" y="3592"/>
                </a:lnTo>
                <a:cubicBezTo>
                  <a:pt x="0" y="3579"/>
                  <a:pt x="10" y="3568"/>
                  <a:pt x="23" y="3568"/>
                </a:cubicBezTo>
                <a:cubicBezTo>
                  <a:pt x="36" y="3568"/>
                  <a:pt x="47" y="3579"/>
                  <a:pt x="47" y="3592"/>
                </a:cubicBezTo>
                <a:close/>
                <a:moveTo>
                  <a:pt x="47" y="3732"/>
                </a:moveTo>
                <a:lnTo>
                  <a:pt x="47" y="3732"/>
                </a:lnTo>
                <a:cubicBezTo>
                  <a:pt x="47" y="3745"/>
                  <a:pt x="36" y="3756"/>
                  <a:pt x="23" y="3756"/>
                </a:cubicBezTo>
                <a:cubicBezTo>
                  <a:pt x="10" y="3756"/>
                  <a:pt x="0" y="3745"/>
                  <a:pt x="0" y="3732"/>
                </a:cubicBezTo>
                <a:lnTo>
                  <a:pt x="0" y="3732"/>
                </a:lnTo>
                <a:cubicBezTo>
                  <a:pt x="0" y="3719"/>
                  <a:pt x="10" y="3709"/>
                  <a:pt x="23" y="3709"/>
                </a:cubicBezTo>
                <a:cubicBezTo>
                  <a:pt x="36" y="3709"/>
                  <a:pt x="47" y="3719"/>
                  <a:pt x="47" y="3732"/>
                </a:cubicBezTo>
                <a:close/>
                <a:moveTo>
                  <a:pt x="47" y="3873"/>
                </a:moveTo>
                <a:lnTo>
                  <a:pt x="47" y="3873"/>
                </a:lnTo>
                <a:cubicBezTo>
                  <a:pt x="47" y="3886"/>
                  <a:pt x="36" y="3897"/>
                  <a:pt x="23" y="3897"/>
                </a:cubicBezTo>
                <a:cubicBezTo>
                  <a:pt x="10" y="3897"/>
                  <a:pt x="0" y="3886"/>
                  <a:pt x="0" y="3873"/>
                </a:cubicBezTo>
                <a:lnTo>
                  <a:pt x="0" y="3873"/>
                </a:lnTo>
                <a:cubicBezTo>
                  <a:pt x="0" y="3860"/>
                  <a:pt x="10" y="3850"/>
                  <a:pt x="23" y="3850"/>
                </a:cubicBezTo>
                <a:cubicBezTo>
                  <a:pt x="36" y="3850"/>
                  <a:pt x="47" y="3860"/>
                  <a:pt x="47" y="3873"/>
                </a:cubicBezTo>
                <a:close/>
                <a:moveTo>
                  <a:pt x="47" y="4014"/>
                </a:moveTo>
                <a:lnTo>
                  <a:pt x="47" y="4014"/>
                </a:lnTo>
                <a:cubicBezTo>
                  <a:pt x="47" y="4027"/>
                  <a:pt x="36" y="4038"/>
                  <a:pt x="23" y="4038"/>
                </a:cubicBezTo>
                <a:cubicBezTo>
                  <a:pt x="10" y="4038"/>
                  <a:pt x="0" y="4027"/>
                  <a:pt x="0" y="4014"/>
                </a:cubicBezTo>
                <a:lnTo>
                  <a:pt x="0" y="4014"/>
                </a:lnTo>
                <a:cubicBezTo>
                  <a:pt x="0" y="4001"/>
                  <a:pt x="10" y="3991"/>
                  <a:pt x="23" y="3991"/>
                </a:cubicBezTo>
                <a:cubicBezTo>
                  <a:pt x="36" y="3991"/>
                  <a:pt x="47" y="4001"/>
                  <a:pt x="47" y="4014"/>
                </a:cubicBezTo>
                <a:close/>
                <a:moveTo>
                  <a:pt x="47" y="4155"/>
                </a:moveTo>
                <a:lnTo>
                  <a:pt x="47" y="4155"/>
                </a:lnTo>
                <a:cubicBezTo>
                  <a:pt x="47" y="4168"/>
                  <a:pt x="36" y="4178"/>
                  <a:pt x="23" y="4178"/>
                </a:cubicBezTo>
                <a:cubicBezTo>
                  <a:pt x="10" y="4178"/>
                  <a:pt x="0" y="4168"/>
                  <a:pt x="0" y="4155"/>
                </a:cubicBezTo>
                <a:lnTo>
                  <a:pt x="0" y="4155"/>
                </a:lnTo>
                <a:cubicBezTo>
                  <a:pt x="0" y="4142"/>
                  <a:pt x="10" y="4131"/>
                  <a:pt x="23" y="4131"/>
                </a:cubicBezTo>
                <a:cubicBezTo>
                  <a:pt x="36" y="4131"/>
                  <a:pt x="47" y="4142"/>
                  <a:pt x="47" y="4155"/>
                </a:cubicBezTo>
                <a:close/>
                <a:moveTo>
                  <a:pt x="47" y="4296"/>
                </a:moveTo>
                <a:lnTo>
                  <a:pt x="47" y="4296"/>
                </a:lnTo>
                <a:cubicBezTo>
                  <a:pt x="47" y="4309"/>
                  <a:pt x="36" y="4319"/>
                  <a:pt x="23" y="4319"/>
                </a:cubicBezTo>
                <a:cubicBezTo>
                  <a:pt x="10" y="4319"/>
                  <a:pt x="0" y="4309"/>
                  <a:pt x="0" y="4296"/>
                </a:cubicBezTo>
                <a:lnTo>
                  <a:pt x="0" y="4296"/>
                </a:lnTo>
                <a:cubicBezTo>
                  <a:pt x="0" y="4283"/>
                  <a:pt x="10" y="4272"/>
                  <a:pt x="23" y="4272"/>
                </a:cubicBezTo>
                <a:cubicBezTo>
                  <a:pt x="36" y="4272"/>
                  <a:pt x="47" y="4283"/>
                  <a:pt x="47" y="4296"/>
                </a:cubicBezTo>
                <a:close/>
                <a:moveTo>
                  <a:pt x="47" y="4437"/>
                </a:moveTo>
                <a:lnTo>
                  <a:pt x="47" y="4437"/>
                </a:lnTo>
                <a:cubicBezTo>
                  <a:pt x="47" y="4450"/>
                  <a:pt x="36" y="4460"/>
                  <a:pt x="23" y="4460"/>
                </a:cubicBezTo>
                <a:cubicBezTo>
                  <a:pt x="10" y="4460"/>
                  <a:pt x="0" y="4450"/>
                  <a:pt x="0" y="4437"/>
                </a:cubicBezTo>
                <a:lnTo>
                  <a:pt x="0" y="4437"/>
                </a:lnTo>
                <a:cubicBezTo>
                  <a:pt x="0" y="4424"/>
                  <a:pt x="10" y="4413"/>
                  <a:pt x="23" y="4413"/>
                </a:cubicBezTo>
                <a:cubicBezTo>
                  <a:pt x="36" y="4413"/>
                  <a:pt x="47" y="4424"/>
                  <a:pt x="47" y="4437"/>
                </a:cubicBezTo>
                <a:close/>
                <a:moveTo>
                  <a:pt x="47" y="4577"/>
                </a:moveTo>
                <a:lnTo>
                  <a:pt x="47" y="4577"/>
                </a:lnTo>
                <a:cubicBezTo>
                  <a:pt x="47" y="4590"/>
                  <a:pt x="36" y="4601"/>
                  <a:pt x="23" y="4601"/>
                </a:cubicBezTo>
                <a:cubicBezTo>
                  <a:pt x="10" y="4601"/>
                  <a:pt x="0" y="4590"/>
                  <a:pt x="0" y="4577"/>
                </a:cubicBezTo>
                <a:lnTo>
                  <a:pt x="0" y="4577"/>
                </a:lnTo>
                <a:cubicBezTo>
                  <a:pt x="0" y="4564"/>
                  <a:pt x="10" y="4554"/>
                  <a:pt x="23" y="4554"/>
                </a:cubicBezTo>
                <a:cubicBezTo>
                  <a:pt x="36" y="4554"/>
                  <a:pt x="47" y="4564"/>
                  <a:pt x="47" y="4577"/>
                </a:cubicBezTo>
                <a:close/>
                <a:moveTo>
                  <a:pt x="47" y="4718"/>
                </a:moveTo>
                <a:lnTo>
                  <a:pt x="47" y="4718"/>
                </a:lnTo>
                <a:cubicBezTo>
                  <a:pt x="47" y="4731"/>
                  <a:pt x="36" y="4742"/>
                  <a:pt x="23" y="4742"/>
                </a:cubicBezTo>
                <a:cubicBezTo>
                  <a:pt x="10" y="4742"/>
                  <a:pt x="0" y="4731"/>
                  <a:pt x="0" y="4718"/>
                </a:cubicBezTo>
                <a:lnTo>
                  <a:pt x="0" y="4718"/>
                </a:lnTo>
                <a:cubicBezTo>
                  <a:pt x="0" y="4705"/>
                  <a:pt x="10" y="4695"/>
                  <a:pt x="23" y="4695"/>
                </a:cubicBezTo>
                <a:cubicBezTo>
                  <a:pt x="36" y="4695"/>
                  <a:pt x="47" y="4705"/>
                  <a:pt x="47" y="4718"/>
                </a:cubicBezTo>
                <a:close/>
                <a:moveTo>
                  <a:pt x="47" y="4859"/>
                </a:moveTo>
                <a:lnTo>
                  <a:pt x="47" y="4859"/>
                </a:lnTo>
                <a:cubicBezTo>
                  <a:pt x="47" y="4872"/>
                  <a:pt x="36" y="4883"/>
                  <a:pt x="23" y="4883"/>
                </a:cubicBezTo>
                <a:cubicBezTo>
                  <a:pt x="10" y="4883"/>
                  <a:pt x="0" y="4872"/>
                  <a:pt x="0" y="4859"/>
                </a:cubicBezTo>
                <a:lnTo>
                  <a:pt x="0" y="4859"/>
                </a:lnTo>
                <a:cubicBezTo>
                  <a:pt x="0" y="4846"/>
                  <a:pt x="10" y="4836"/>
                  <a:pt x="23" y="4836"/>
                </a:cubicBezTo>
                <a:cubicBezTo>
                  <a:pt x="36" y="4836"/>
                  <a:pt x="47" y="4846"/>
                  <a:pt x="47" y="4859"/>
                </a:cubicBezTo>
                <a:close/>
                <a:moveTo>
                  <a:pt x="47" y="5000"/>
                </a:moveTo>
                <a:lnTo>
                  <a:pt x="47" y="5000"/>
                </a:lnTo>
                <a:cubicBezTo>
                  <a:pt x="47" y="5013"/>
                  <a:pt x="36" y="5024"/>
                  <a:pt x="23" y="5024"/>
                </a:cubicBezTo>
                <a:cubicBezTo>
                  <a:pt x="10" y="5024"/>
                  <a:pt x="0" y="5013"/>
                  <a:pt x="0" y="5000"/>
                </a:cubicBezTo>
                <a:lnTo>
                  <a:pt x="0" y="5000"/>
                </a:lnTo>
                <a:cubicBezTo>
                  <a:pt x="0" y="4987"/>
                  <a:pt x="10" y="4977"/>
                  <a:pt x="23" y="4977"/>
                </a:cubicBezTo>
                <a:cubicBezTo>
                  <a:pt x="36" y="4977"/>
                  <a:pt x="47" y="4987"/>
                  <a:pt x="47" y="5000"/>
                </a:cubicBezTo>
                <a:close/>
                <a:moveTo>
                  <a:pt x="47" y="5141"/>
                </a:moveTo>
                <a:lnTo>
                  <a:pt x="47" y="5141"/>
                </a:lnTo>
                <a:cubicBezTo>
                  <a:pt x="47" y="5154"/>
                  <a:pt x="36" y="5164"/>
                  <a:pt x="23" y="5164"/>
                </a:cubicBezTo>
                <a:cubicBezTo>
                  <a:pt x="10" y="5164"/>
                  <a:pt x="0" y="5154"/>
                  <a:pt x="0" y="5141"/>
                </a:cubicBezTo>
                <a:lnTo>
                  <a:pt x="0" y="5141"/>
                </a:lnTo>
                <a:cubicBezTo>
                  <a:pt x="0" y="5128"/>
                  <a:pt x="10" y="5117"/>
                  <a:pt x="23" y="5117"/>
                </a:cubicBezTo>
                <a:cubicBezTo>
                  <a:pt x="36" y="5117"/>
                  <a:pt x="47" y="5128"/>
                  <a:pt x="47" y="5141"/>
                </a:cubicBezTo>
                <a:close/>
                <a:moveTo>
                  <a:pt x="47" y="5282"/>
                </a:moveTo>
                <a:lnTo>
                  <a:pt x="47" y="5282"/>
                </a:lnTo>
                <a:cubicBezTo>
                  <a:pt x="47" y="5295"/>
                  <a:pt x="36" y="5305"/>
                  <a:pt x="23" y="5305"/>
                </a:cubicBezTo>
                <a:cubicBezTo>
                  <a:pt x="10" y="5305"/>
                  <a:pt x="0" y="5295"/>
                  <a:pt x="0" y="5282"/>
                </a:cubicBezTo>
                <a:lnTo>
                  <a:pt x="0" y="5282"/>
                </a:lnTo>
                <a:cubicBezTo>
                  <a:pt x="0" y="5269"/>
                  <a:pt x="10" y="5258"/>
                  <a:pt x="23" y="5258"/>
                </a:cubicBezTo>
                <a:cubicBezTo>
                  <a:pt x="36" y="5258"/>
                  <a:pt x="47" y="5269"/>
                  <a:pt x="47" y="5282"/>
                </a:cubicBezTo>
                <a:close/>
                <a:moveTo>
                  <a:pt x="47" y="5423"/>
                </a:moveTo>
                <a:lnTo>
                  <a:pt x="47" y="5423"/>
                </a:lnTo>
                <a:cubicBezTo>
                  <a:pt x="47" y="5436"/>
                  <a:pt x="36" y="5446"/>
                  <a:pt x="23" y="5446"/>
                </a:cubicBezTo>
                <a:cubicBezTo>
                  <a:pt x="10" y="5446"/>
                  <a:pt x="0" y="5436"/>
                  <a:pt x="0" y="5423"/>
                </a:cubicBezTo>
                <a:lnTo>
                  <a:pt x="0" y="5423"/>
                </a:lnTo>
                <a:cubicBezTo>
                  <a:pt x="0" y="5410"/>
                  <a:pt x="10" y="5399"/>
                  <a:pt x="23" y="5399"/>
                </a:cubicBezTo>
                <a:cubicBezTo>
                  <a:pt x="36" y="5399"/>
                  <a:pt x="47" y="5410"/>
                  <a:pt x="47" y="5423"/>
                </a:cubicBezTo>
                <a:close/>
                <a:moveTo>
                  <a:pt x="47" y="5563"/>
                </a:moveTo>
                <a:lnTo>
                  <a:pt x="47" y="5563"/>
                </a:lnTo>
                <a:cubicBezTo>
                  <a:pt x="47" y="5576"/>
                  <a:pt x="36" y="5587"/>
                  <a:pt x="23" y="5587"/>
                </a:cubicBezTo>
                <a:cubicBezTo>
                  <a:pt x="10" y="5587"/>
                  <a:pt x="0" y="5576"/>
                  <a:pt x="0" y="5563"/>
                </a:cubicBezTo>
                <a:lnTo>
                  <a:pt x="0" y="5563"/>
                </a:lnTo>
                <a:cubicBezTo>
                  <a:pt x="0" y="5550"/>
                  <a:pt x="10" y="5540"/>
                  <a:pt x="23" y="5540"/>
                </a:cubicBezTo>
                <a:cubicBezTo>
                  <a:pt x="36" y="5540"/>
                  <a:pt x="47" y="5550"/>
                  <a:pt x="47" y="5563"/>
                </a:cubicBezTo>
                <a:close/>
                <a:moveTo>
                  <a:pt x="47" y="5704"/>
                </a:moveTo>
                <a:lnTo>
                  <a:pt x="47" y="5704"/>
                </a:lnTo>
                <a:cubicBezTo>
                  <a:pt x="47" y="5717"/>
                  <a:pt x="36" y="5728"/>
                  <a:pt x="23" y="5728"/>
                </a:cubicBezTo>
                <a:cubicBezTo>
                  <a:pt x="10" y="5728"/>
                  <a:pt x="0" y="5717"/>
                  <a:pt x="0" y="5704"/>
                </a:cubicBezTo>
                <a:lnTo>
                  <a:pt x="0" y="5704"/>
                </a:lnTo>
                <a:cubicBezTo>
                  <a:pt x="0" y="5691"/>
                  <a:pt x="10" y="5681"/>
                  <a:pt x="23" y="5681"/>
                </a:cubicBezTo>
                <a:cubicBezTo>
                  <a:pt x="36" y="5681"/>
                  <a:pt x="47" y="5691"/>
                  <a:pt x="47" y="5704"/>
                </a:cubicBezTo>
                <a:close/>
                <a:moveTo>
                  <a:pt x="47" y="5845"/>
                </a:moveTo>
                <a:lnTo>
                  <a:pt x="47" y="5845"/>
                </a:lnTo>
                <a:cubicBezTo>
                  <a:pt x="47" y="5858"/>
                  <a:pt x="36" y="5869"/>
                  <a:pt x="23" y="5869"/>
                </a:cubicBezTo>
                <a:cubicBezTo>
                  <a:pt x="10" y="5869"/>
                  <a:pt x="0" y="5858"/>
                  <a:pt x="0" y="5845"/>
                </a:cubicBezTo>
                <a:lnTo>
                  <a:pt x="0" y="5845"/>
                </a:lnTo>
                <a:cubicBezTo>
                  <a:pt x="0" y="5832"/>
                  <a:pt x="10" y="5822"/>
                  <a:pt x="23" y="5822"/>
                </a:cubicBezTo>
                <a:cubicBezTo>
                  <a:pt x="36" y="5822"/>
                  <a:pt x="47" y="5832"/>
                  <a:pt x="47" y="5845"/>
                </a:cubicBezTo>
                <a:close/>
                <a:moveTo>
                  <a:pt x="47" y="5986"/>
                </a:moveTo>
                <a:lnTo>
                  <a:pt x="47" y="5986"/>
                </a:lnTo>
                <a:cubicBezTo>
                  <a:pt x="47" y="5999"/>
                  <a:pt x="36" y="6009"/>
                  <a:pt x="23" y="6009"/>
                </a:cubicBezTo>
                <a:cubicBezTo>
                  <a:pt x="10" y="6009"/>
                  <a:pt x="0" y="5999"/>
                  <a:pt x="0" y="5986"/>
                </a:cubicBezTo>
                <a:lnTo>
                  <a:pt x="0" y="5986"/>
                </a:lnTo>
                <a:cubicBezTo>
                  <a:pt x="0" y="5973"/>
                  <a:pt x="10" y="5962"/>
                  <a:pt x="23" y="5962"/>
                </a:cubicBezTo>
                <a:cubicBezTo>
                  <a:pt x="36" y="5962"/>
                  <a:pt x="47" y="5973"/>
                  <a:pt x="47" y="5986"/>
                </a:cubicBezTo>
                <a:close/>
                <a:moveTo>
                  <a:pt x="47" y="6127"/>
                </a:moveTo>
                <a:lnTo>
                  <a:pt x="47" y="6127"/>
                </a:lnTo>
                <a:cubicBezTo>
                  <a:pt x="47" y="6140"/>
                  <a:pt x="36" y="6150"/>
                  <a:pt x="23" y="6150"/>
                </a:cubicBezTo>
                <a:cubicBezTo>
                  <a:pt x="10" y="6150"/>
                  <a:pt x="0" y="6140"/>
                  <a:pt x="0" y="6127"/>
                </a:cubicBezTo>
                <a:lnTo>
                  <a:pt x="0" y="6127"/>
                </a:lnTo>
                <a:cubicBezTo>
                  <a:pt x="0" y="6114"/>
                  <a:pt x="10" y="6103"/>
                  <a:pt x="23" y="6103"/>
                </a:cubicBezTo>
                <a:cubicBezTo>
                  <a:pt x="36" y="6103"/>
                  <a:pt x="47" y="6114"/>
                  <a:pt x="47" y="6127"/>
                </a:cubicBezTo>
                <a:close/>
                <a:moveTo>
                  <a:pt x="47" y="6268"/>
                </a:moveTo>
                <a:lnTo>
                  <a:pt x="47" y="6268"/>
                </a:lnTo>
                <a:cubicBezTo>
                  <a:pt x="47" y="6281"/>
                  <a:pt x="36" y="6291"/>
                  <a:pt x="23" y="6291"/>
                </a:cubicBezTo>
                <a:cubicBezTo>
                  <a:pt x="10" y="6291"/>
                  <a:pt x="0" y="6281"/>
                  <a:pt x="0" y="6268"/>
                </a:cubicBezTo>
                <a:lnTo>
                  <a:pt x="0" y="6268"/>
                </a:lnTo>
                <a:cubicBezTo>
                  <a:pt x="0" y="6255"/>
                  <a:pt x="10" y="6244"/>
                  <a:pt x="23" y="6244"/>
                </a:cubicBezTo>
                <a:cubicBezTo>
                  <a:pt x="36" y="6244"/>
                  <a:pt x="47" y="6255"/>
                  <a:pt x="47" y="6268"/>
                </a:cubicBezTo>
                <a:close/>
                <a:moveTo>
                  <a:pt x="47" y="6408"/>
                </a:moveTo>
                <a:lnTo>
                  <a:pt x="47" y="6409"/>
                </a:lnTo>
                <a:cubicBezTo>
                  <a:pt x="47" y="6421"/>
                  <a:pt x="36" y="6432"/>
                  <a:pt x="23" y="6432"/>
                </a:cubicBezTo>
                <a:cubicBezTo>
                  <a:pt x="10" y="6432"/>
                  <a:pt x="0" y="6421"/>
                  <a:pt x="0" y="6409"/>
                </a:cubicBezTo>
                <a:lnTo>
                  <a:pt x="0" y="6408"/>
                </a:lnTo>
                <a:cubicBezTo>
                  <a:pt x="0" y="6396"/>
                  <a:pt x="10" y="6385"/>
                  <a:pt x="23" y="6385"/>
                </a:cubicBezTo>
                <a:cubicBezTo>
                  <a:pt x="36" y="6385"/>
                  <a:pt x="47" y="6396"/>
                  <a:pt x="47" y="6408"/>
                </a:cubicBezTo>
                <a:close/>
                <a:moveTo>
                  <a:pt x="136" y="6413"/>
                </a:moveTo>
                <a:lnTo>
                  <a:pt x="137" y="6413"/>
                </a:lnTo>
                <a:cubicBezTo>
                  <a:pt x="149" y="6413"/>
                  <a:pt x="160" y="6423"/>
                  <a:pt x="160" y="6436"/>
                </a:cubicBezTo>
                <a:cubicBezTo>
                  <a:pt x="160" y="6449"/>
                  <a:pt x="149" y="6460"/>
                  <a:pt x="137" y="6460"/>
                </a:cubicBezTo>
                <a:lnTo>
                  <a:pt x="136" y="6460"/>
                </a:lnTo>
                <a:cubicBezTo>
                  <a:pt x="124" y="6460"/>
                  <a:pt x="113" y="6449"/>
                  <a:pt x="113" y="6436"/>
                </a:cubicBezTo>
                <a:cubicBezTo>
                  <a:pt x="113" y="6423"/>
                  <a:pt x="124" y="6413"/>
                  <a:pt x="136" y="6413"/>
                </a:cubicBezTo>
                <a:close/>
                <a:moveTo>
                  <a:pt x="277" y="6413"/>
                </a:moveTo>
                <a:lnTo>
                  <a:pt x="277" y="6413"/>
                </a:lnTo>
                <a:cubicBezTo>
                  <a:pt x="290" y="6413"/>
                  <a:pt x="301" y="6423"/>
                  <a:pt x="301" y="6436"/>
                </a:cubicBezTo>
                <a:cubicBezTo>
                  <a:pt x="301" y="6449"/>
                  <a:pt x="290" y="6460"/>
                  <a:pt x="277" y="6460"/>
                </a:cubicBezTo>
                <a:lnTo>
                  <a:pt x="277" y="6460"/>
                </a:lnTo>
                <a:cubicBezTo>
                  <a:pt x="264" y="6460"/>
                  <a:pt x="254" y="6449"/>
                  <a:pt x="254" y="6436"/>
                </a:cubicBezTo>
                <a:cubicBezTo>
                  <a:pt x="254" y="6423"/>
                  <a:pt x="264" y="6413"/>
                  <a:pt x="277" y="6413"/>
                </a:cubicBezTo>
                <a:close/>
                <a:moveTo>
                  <a:pt x="418" y="6413"/>
                </a:moveTo>
                <a:lnTo>
                  <a:pt x="418" y="6413"/>
                </a:lnTo>
                <a:cubicBezTo>
                  <a:pt x="431" y="6413"/>
                  <a:pt x="442" y="6423"/>
                  <a:pt x="442" y="6436"/>
                </a:cubicBezTo>
                <a:cubicBezTo>
                  <a:pt x="442" y="6449"/>
                  <a:pt x="431" y="6460"/>
                  <a:pt x="418" y="6460"/>
                </a:cubicBezTo>
                <a:lnTo>
                  <a:pt x="418" y="6460"/>
                </a:lnTo>
                <a:cubicBezTo>
                  <a:pt x="405" y="6460"/>
                  <a:pt x="395" y="6449"/>
                  <a:pt x="395" y="6436"/>
                </a:cubicBezTo>
                <a:cubicBezTo>
                  <a:pt x="395" y="6423"/>
                  <a:pt x="405" y="6413"/>
                  <a:pt x="418" y="6413"/>
                </a:cubicBezTo>
                <a:close/>
                <a:moveTo>
                  <a:pt x="559" y="6413"/>
                </a:moveTo>
                <a:lnTo>
                  <a:pt x="559" y="6413"/>
                </a:lnTo>
                <a:cubicBezTo>
                  <a:pt x="572" y="6413"/>
                  <a:pt x="583" y="6423"/>
                  <a:pt x="583" y="6436"/>
                </a:cubicBezTo>
                <a:cubicBezTo>
                  <a:pt x="583" y="6449"/>
                  <a:pt x="572" y="6460"/>
                  <a:pt x="559" y="6460"/>
                </a:cubicBezTo>
                <a:lnTo>
                  <a:pt x="559" y="6460"/>
                </a:lnTo>
                <a:cubicBezTo>
                  <a:pt x="546" y="6460"/>
                  <a:pt x="536" y="6449"/>
                  <a:pt x="536" y="6436"/>
                </a:cubicBezTo>
                <a:cubicBezTo>
                  <a:pt x="536" y="6423"/>
                  <a:pt x="546" y="6413"/>
                  <a:pt x="559" y="6413"/>
                </a:cubicBezTo>
                <a:close/>
                <a:moveTo>
                  <a:pt x="700" y="6413"/>
                </a:moveTo>
                <a:lnTo>
                  <a:pt x="700" y="6413"/>
                </a:lnTo>
                <a:cubicBezTo>
                  <a:pt x="713" y="6413"/>
                  <a:pt x="723" y="6423"/>
                  <a:pt x="723" y="6436"/>
                </a:cubicBezTo>
                <a:cubicBezTo>
                  <a:pt x="723" y="6449"/>
                  <a:pt x="713" y="6460"/>
                  <a:pt x="700" y="6460"/>
                </a:cubicBezTo>
                <a:lnTo>
                  <a:pt x="700" y="6460"/>
                </a:lnTo>
                <a:cubicBezTo>
                  <a:pt x="687" y="6460"/>
                  <a:pt x="676" y="6449"/>
                  <a:pt x="676" y="6436"/>
                </a:cubicBezTo>
                <a:cubicBezTo>
                  <a:pt x="676" y="6423"/>
                  <a:pt x="687" y="6413"/>
                  <a:pt x="700" y="6413"/>
                </a:cubicBezTo>
                <a:close/>
                <a:moveTo>
                  <a:pt x="841" y="6413"/>
                </a:moveTo>
                <a:lnTo>
                  <a:pt x="841" y="6413"/>
                </a:lnTo>
                <a:cubicBezTo>
                  <a:pt x="854" y="6413"/>
                  <a:pt x="864" y="6423"/>
                  <a:pt x="864" y="6436"/>
                </a:cubicBezTo>
                <a:cubicBezTo>
                  <a:pt x="864" y="6449"/>
                  <a:pt x="854" y="6460"/>
                  <a:pt x="841" y="6460"/>
                </a:cubicBezTo>
                <a:lnTo>
                  <a:pt x="841" y="6460"/>
                </a:lnTo>
                <a:cubicBezTo>
                  <a:pt x="828" y="6460"/>
                  <a:pt x="817" y="6449"/>
                  <a:pt x="817" y="6436"/>
                </a:cubicBezTo>
                <a:cubicBezTo>
                  <a:pt x="817" y="6423"/>
                  <a:pt x="828" y="6413"/>
                  <a:pt x="841" y="6413"/>
                </a:cubicBezTo>
                <a:close/>
                <a:moveTo>
                  <a:pt x="982" y="6413"/>
                </a:moveTo>
                <a:lnTo>
                  <a:pt x="982" y="6413"/>
                </a:lnTo>
                <a:cubicBezTo>
                  <a:pt x="995" y="6413"/>
                  <a:pt x="1005" y="6423"/>
                  <a:pt x="1005" y="6436"/>
                </a:cubicBezTo>
                <a:cubicBezTo>
                  <a:pt x="1005" y="6449"/>
                  <a:pt x="995" y="6460"/>
                  <a:pt x="982" y="6460"/>
                </a:cubicBezTo>
                <a:lnTo>
                  <a:pt x="982" y="6460"/>
                </a:lnTo>
                <a:cubicBezTo>
                  <a:pt x="969" y="6460"/>
                  <a:pt x="958" y="6449"/>
                  <a:pt x="958" y="6436"/>
                </a:cubicBezTo>
                <a:cubicBezTo>
                  <a:pt x="958" y="6423"/>
                  <a:pt x="969" y="6413"/>
                  <a:pt x="982" y="6413"/>
                </a:cubicBezTo>
                <a:close/>
                <a:moveTo>
                  <a:pt x="1122" y="6413"/>
                </a:moveTo>
                <a:lnTo>
                  <a:pt x="1122" y="6413"/>
                </a:lnTo>
                <a:cubicBezTo>
                  <a:pt x="1135" y="6413"/>
                  <a:pt x="1146" y="6423"/>
                  <a:pt x="1146" y="6436"/>
                </a:cubicBezTo>
                <a:cubicBezTo>
                  <a:pt x="1146" y="6449"/>
                  <a:pt x="1135" y="6460"/>
                  <a:pt x="1122" y="6460"/>
                </a:cubicBezTo>
                <a:lnTo>
                  <a:pt x="1122" y="6460"/>
                </a:lnTo>
                <a:cubicBezTo>
                  <a:pt x="1109" y="6460"/>
                  <a:pt x="1099" y="6449"/>
                  <a:pt x="1099" y="6436"/>
                </a:cubicBezTo>
                <a:cubicBezTo>
                  <a:pt x="1099" y="6423"/>
                  <a:pt x="1109" y="6413"/>
                  <a:pt x="1122" y="6413"/>
                </a:cubicBezTo>
                <a:close/>
                <a:moveTo>
                  <a:pt x="1263" y="6413"/>
                </a:moveTo>
                <a:lnTo>
                  <a:pt x="1263" y="6413"/>
                </a:lnTo>
                <a:cubicBezTo>
                  <a:pt x="1276" y="6413"/>
                  <a:pt x="1287" y="6423"/>
                  <a:pt x="1287" y="6436"/>
                </a:cubicBezTo>
                <a:cubicBezTo>
                  <a:pt x="1287" y="6449"/>
                  <a:pt x="1276" y="6460"/>
                  <a:pt x="1263" y="6460"/>
                </a:cubicBezTo>
                <a:lnTo>
                  <a:pt x="1263" y="6460"/>
                </a:lnTo>
                <a:cubicBezTo>
                  <a:pt x="1250" y="6460"/>
                  <a:pt x="1240" y="6449"/>
                  <a:pt x="1240" y="6436"/>
                </a:cubicBezTo>
                <a:cubicBezTo>
                  <a:pt x="1240" y="6423"/>
                  <a:pt x="1250" y="6413"/>
                  <a:pt x="1263" y="6413"/>
                </a:cubicBezTo>
                <a:close/>
                <a:moveTo>
                  <a:pt x="1404" y="6413"/>
                </a:moveTo>
                <a:lnTo>
                  <a:pt x="1404" y="6413"/>
                </a:lnTo>
                <a:cubicBezTo>
                  <a:pt x="1417" y="6413"/>
                  <a:pt x="1428" y="6423"/>
                  <a:pt x="1428" y="6436"/>
                </a:cubicBezTo>
                <a:cubicBezTo>
                  <a:pt x="1428" y="6449"/>
                  <a:pt x="1417" y="6460"/>
                  <a:pt x="1404" y="6460"/>
                </a:cubicBezTo>
                <a:lnTo>
                  <a:pt x="1404" y="6460"/>
                </a:lnTo>
                <a:cubicBezTo>
                  <a:pt x="1391" y="6460"/>
                  <a:pt x="1381" y="6449"/>
                  <a:pt x="1381" y="6436"/>
                </a:cubicBezTo>
                <a:cubicBezTo>
                  <a:pt x="1381" y="6423"/>
                  <a:pt x="1391" y="6413"/>
                  <a:pt x="1404" y="6413"/>
                </a:cubicBezTo>
                <a:close/>
                <a:moveTo>
                  <a:pt x="1545" y="6413"/>
                </a:moveTo>
                <a:lnTo>
                  <a:pt x="1545" y="6413"/>
                </a:lnTo>
                <a:cubicBezTo>
                  <a:pt x="1558" y="6413"/>
                  <a:pt x="1568" y="6423"/>
                  <a:pt x="1568" y="6436"/>
                </a:cubicBezTo>
                <a:cubicBezTo>
                  <a:pt x="1568" y="6449"/>
                  <a:pt x="1558" y="6460"/>
                  <a:pt x="1545" y="6460"/>
                </a:cubicBezTo>
                <a:lnTo>
                  <a:pt x="1545" y="6460"/>
                </a:lnTo>
                <a:cubicBezTo>
                  <a:pt x="1532" y="6460"/>
                  <a:pt x="1521" y="6449"/>
                  <a:pt x="1521" y="6436"/>
                </a:cubicBezTo>
                <a:cubicBezTo>
                  <a:pt x="1521" y="6423"/>
                  <a:pt x="1532" y="6413"/>
                  <a:pt x="1545" y="6413"/>
                </a:cubicBezTo>
                <a:close/>
                <a:moveTo>
                  <a:pt x="1686" y="6413"/>
                </a:moveTo>
                <a:lnTo>
                  <a:pt x="1686" y="6413"/>
                </a:lnTo>
                <a:cubicBezTo>
                  <a:pt x="1699" y="6413"/>
                  <a:pt x="1709" y="6423"/>
                  <a:pt x="1709" y="6436"/>
                </a:cubicBezTo>
                <a:cubicBezTo>
                  <a:pt x="1709" y="6449"/>
                  <a:pt x="1699" y="6460"/>
                  <a:pt x="1686" y="6460"/>
                </a:cubicBezTo>
                <a:lnTo>
                  <a:pt x="1686" y="6460"/>
                </a:lnTo>
                <a:cubicBezTo>
                  <a:pt x="1673" y="6460"/>
                  <a:pt x="1662" y="6449"/>
                  <a:pt x="1662" y="6436"/>
                </a:cubicBezTo>
                <a:cubicBezTo>
                  <a:pt x="1662" y="6423"/>
                  <a:pt x="1673" y="6413"/>
                  <a:pt x="1686" y="6413"/>
                </a:cubicBezTo>
                <a:close/>
                <a:moveTo>
                  <a:pt x="1827" y="6413"/>
                </a:moveTo>
                <a:lnTo>
                  <a:pt x="1827" y="6413"/>
                </a:lnTo>
                <a:cubicBezTo>
                  <a:pt x="1840" y="6413"/>
                  <a:pt x="1850" y="6423"/>
                  <a:pt x="1850" y="6436"/>
                </a:cubicBezTo>
                <a:cubicBezTo>
                  <a:pt x="1850" y="6449"/>
                  <a:pt x="1840" y="6460"/>
                  <a:pt x="1827" y="6460"/>
                </a:cubicBezTo>
                <a:lnTo>
                  <a:pt x="1827" y="6460"/>
                </a:lnTo>
                <a:cubicBezTo>
                  <a:pt x="1814" y="6460"/>
                  <a:pt x="1803" y="6449"/>
                  <a:pt x="1803" y="6436"/>
                </a:cubicBezTo>
                <a:cubicBezTo>
                  <a:pt x="1803" y="6423"/>
                  <a:pt x="1814" y="6413"/>
                  <a:pt x="1827" y="6413"/>
                </a:cubicBezTo>
                <a:close/>
                <a:moveTo>
                  <a:pt x="1967" y="6413"/>
                </a:moveTo>
                <a:lnTo>
                  <a:pt x="1968" y="6413"/>
                </a:lnTo>
                <a:cubicBezTo>
                  <a:pt x="1980" y="6413"/>
                  <a:pt x="1991" y="6423"/>
                  <a:pt x="1991" y="6436"/>
                </a:cubicBezTo>
                <a:cubicBezTo>
                  <a:pt x="1991" y="6449"/>
                  <a:pt x="1980" y="6460"/>
                  <a:pt x="1968" y="6460"/>
                </a:cubicBezTo>
                <a:lnTo>
                  <a:pt x="1967" y="6460"/>
                </a:lnTo>
                <a:cubicBezTo>
                  <a:pt x="1955" y="6460"/>
                  <a:pt x="1944" y="6449"/>
                  <a:pt x="1944" y="6436"/>
                </a:cubicBezTo>
                <a:cubicBezTo>
                  <a:pt x="1944" y="6423"/>
                  <a:pt x="1955" y="6413"/>
                  <a:pt x="1967" y="6413"/>
                </a:cubicBezTo>
                <a:close/>
                <a:moveTo>
                  <a:pt x="2108" y="6413"/>
                </a:moveTo>
                <a:lnTo>
                  <a:pt x="2108" y="6413"/>
                </a:lnTo>
                <a:cubicBezTo>
                  <a:pt x="2121" y="6413"/>
                  <a:pt x="2132" y="6423"/>
                  <a:pt x="2132" y="6436"/>
                </a:cubicBezTo>
                <a:cubicBezTo>
                  <a:pt x="2132" y="6449"/>
                  <a:pt x="2121" y="6460"/>
                  <a:pt x="2108" y="6460"/>
                </a:cubicBezTo>
                <a:lnTo>
                  <a:pt x="2108" y="6460"/>
                </a:lnTo>
                <a:cubicBezTo>
                  <a:pt x="2095" y="6460"/>
                  <a:pt x="2085" y="6449"/>
                  <a:pt x="2085" y="6436"/>
                </a:cubicBezTo>
                <a:cubicBezTo>
                  <a:pt x="2085" y="6423"/>
                  <a:pt x="2095" y="6413"/>
                  <a:pt x="2108" y="6413"/>
                </a:cubicBezTo>
                <a:close/>
                <a:moveTo>
                  <a:pt x="2249" y="6413"/>
                </a:moveTo>
                <a:lnTo>
                  <a:pt x="2249" y="6413"/>
                </a:lnTo>
                <a:cubicBezTo>
                  <a:pt x="2262" y="6413"/>
                  <a:pt x="2273" y="6423"/>
                  <a:pt x="2273" y="6436"/>
                </a:cubicBezTo>
                <a:cubicBezTo>
                  <a:pt x="2273" y="6449"/>
                  <a:pt x="2262" y="6460"/>
                  <a:pt x="2249" y="6460"/>
                </a:cubicBezTo>
                <a:lnTo>
                  <a:pt x="2249" y="6460"/>
                </a:lnTo>
                <a:cubicBezTo>
                  <a:pt x="2236" y="6460"/>
                  <a:pt x="2226" y="6449"/>
                  <a:pt x="2226" y="6436"/>
                </a:cubicBezTo>
                <a:cubicBezTo>
                  <a:pt x="2226" y="6423"/>
                  <a:pt x="2236" y="6413"/>
                  <a:pt x="2249" y="6413"/>
                </a:cubicBezTo>
                <a:close/>
                <a:moveTo>
                  <a:pt x="2390" y="6413"/>
                </a:moveTo>
                <a:lnTo>
                  <a:pt x="2390" y="6413"/>
                </a:lnTo>
                <a:cubicBezTo>
                  <a:pt x="2403" y="6413"/>
                  <a:pt x="2414" y="6423"/>
                  <a:pt x="2414" y="6436"/>
                </a:cubicBezTo>
                <a:cubicBezTo>
                  <a:pt x="2414" y="6449"/>
                  <a:pt x="2403" y="6460"/>
                  <a:pt x="2390" y="6460"/>
                </a:cubicBezTo>
                <a:lnTo>
                  <a:pt x="2390" y="6460"/>
                </a:lnTo>
                <a:cubicBezTo>
                  <a:pt x="2377" y="6460"/>
                  <a:pt x="2367" y="6449"/>
                  <a:pt x="2367" y="6436"/>
                </a:cubicBezTo>
                <a:cubicBezTo>
                  <a:pt x="2367" y="6423"/>
                  <a:pt x="2377" y="6413"/>
                  <a:pt x="2390" y="6413"/>
                </a:cubicBezTo>
                <a:close/>
                <a:moveTo>
                  <a:pt x="2531" y="6413"/>
                </a:moveTo>
                <a:lnTo>
                  <a:pt x="2531" y="6413"/>
                </a:lnTo>
                <a:cubicBezTo>
                  <a:pt x="2544" y="6413"/>
                  <a:pt x="2554" y="6423"/>
                  <a:pt x="2554" y="6436"/>
                </a:cubicBezTo>
                <a:cubicBezTo>
                  <a:pt x="2554" y="6449"/>
                  <a:pt x="2544" y="6460"/>
                  <a:pt x="2531" y="6460"/>
                </a:cubicBezTo>
                <a:lnTo>
                  <a:pt x="2531" y="6460"/>
                </a:lnTo>
                <a:cubicBezTo>
                  <a:pt x="2518" y="6460"/>
                  <a:pt x="2507" y="6449"/>
                  <a:pt x="2507" y="6436"/>
                </a:cubicBezTo>
                <a:cubicBezTo>
                  <a:pt x="2507" y="6423"/>
                  <a:pt x="2518" y="6413"/>
                  <a:pt x="2531" y="6413"/>
                </a:cubicBezTo>
                <a:close/>
                <a:moveTo>
                  <a:pt x="2672" y="6413"/>
                </a:moveTo>
                <a:lnTo>
                  <a:pt x="2672" y="6413"/>
                </a:lnTo>
                <a:cubicBezTo>
                  <a:pt x="2685" y="6413"/>
                  <a:pt x="2695" y="6423"/>
                  <a:pt x="2695" y="6436"/>
                </a:cubicBezTo>
                <a:cubicBezTo>
                  <a:pt x="2695" y="6449"/>
                  <a:pt x="2685" y="6460"/>
                  <a:pt x="2672" y="6460"/>
                </a:cubicBezTo>
                <a:lnTo>
                  <a:pt x="2672" y="6460"/>
                </a:lnTo>
                <a:cubicBezTo>
                  <a:pt x="2659" y="6460"/>
                  <a:pt x="2648" y="6449"/>
                  <a:pt x="2648" y="6436"/>
                </a:cubicBezTo>
                <a:cubicBezTo>
                  <a:pt x="2648" y="6423"/>
                  <a:pt x="2659" y="6413"/>
                  <a:pt x="2672" y="6413"/>
                </a:cubicBezTo>
                <a:close/>
                <a:moveTo>
                  <a:pt x="2813" y="6413"/>
                </a:moveTo>
                <a:lnTo>
                  <a:pt x="2813" y="6413"/>
                </a:lnTo>
                <a:cubicBezTo>
                  <a:pt x="2826" y="6413"/>
                  <a:pt x="2836" y="6423"/>
                  <a:pt x="2836" y="6436"/>
                </a:cubicBezTo>
                <a:cubicBezTo>
                  <a:pt x="2836" y="6449"/>
                  <a:pt x="2826" y="6460"/>
                  <a:pt x="2813" y="6460"/>
                </a:cubicBezTo>
                <a:lnTo>
                  <a:pt x="2813" y="6460"/>
                </a:lnTo>
                <a:cubicBezTo>
                  <a:pt x="2800" y="6460"/>
                  <a:pt x="2789" y="6449"/>
                  <a:pt x="2789" y="6436"/>
                </a:cubicBezTo>
                <a:cubicBezTo>
                  <a:pt x="2789" y="6423"/>
                  <a:pt x="2800" y="6413"/>
                  <a:pt x="2813" y="6413"/>
                </a:cubicBezTo>
                <a:close/>
                <a:moveTo>
                  <a:pt x="2953" y="6413"/>
                </a:moveTo>
                <a:lnTo>
                  <a:pt x="2953" y="6413"/>
                </a:lnTo>
                <a:cubicBezTo>
                  <a:pt x="2966" y="6413"/>
                  <a:pt x="2977" y="6423"/>
                  <a:pt x="2977" y="6436"/>
                </a:cubicBezTo>
                <a:cubicBezTo>
                  <a:pt x="2977" y="6449"/>
                  <a:pt x="2966" y="6460"/>
                  <a:pt x="2953" y="6460"/>
                </a:cubicBezTo>
                <a:lnTo>
                  <a:pt x="2953" y="6460"/>
                </a:lnTo>
                <a:cubicBezTo>
                  <a:pt x="2940" y="6460"/>
                  <a:pt x="2930" y="6449"/>
                  <a:pt x="2930" y="6436"/>
                </a:cubicBezTo>
                <a:cubicBezTo>
                  <a:pt x="2930" y="6423"/>
                  <a:pt x="2940" y="6413"/>
                  <a:pt x="2953" y="6413"/>
                </a:cubicBezTo>
                <a:close/>
                <a:moveTo>
                  <a:pt x="3094" y="6413"/>
                </a:moveTo>
                <a:lnTo>
                  <a:pt x="3094" y="6413"/>
                </a:lnTo>
                <a:cubicBezTo>
                  <a:pt x="3107" y="6413"/>
                  <a:pt x="3118" y="6423"/>
                  <a:pt x="3118" y="6436"/>
                </a:cubicBezTo>
                <a:cubicBezTo>
                  <a:pt x="3118" y="6449"/>
                  <a:pt x="3107" y="6460"/>
                  <a:pt x="3094" y="6460"/>
                </a:cubicBezTo>
                <a:lnTo>
                  <a:pt x="3094" y="6460"/>
                </a:lnTo>
                <a:cubicBezTo>
                  <a:pt x="3081" y="6460"/>
                  <a:pt x="3071" y="6449"/>
                  <a:pt x="3071" y="6436"/>
                </a:cubicBezTo>
                <a:cubicBezTo>
                  <a:pt x="3071" y="6423"/>
                  <a:pt x="3081" y="6413"/>
                  <a:pt x="3094" y="6413"/>
                </a:cubicBezTo>
                <a:close/>
                <a:moveTo>
                  <a:pt x="3235" y="6413"/>
                </a:moveTo>
                <a:lnTo>
                  <a:pt x="3235" y="6413"/>
                </a:lnTo>
                <a:cubicBezTo>
                  <a:pt x="3248" y="6413"/>
                  <a:pt x="3259" y="6423"/>
                  <a:pt x="3259" y="6436"/>
                </a:cubicBezTo>
                <a:cubicBezTo>
                  <a:pt x="3259" y="6449"/>
                  <a:pt x="3248" y="6460"/>
                  <a:pt x="3235" y="6460"/>
                </a:cubicBezTo>
                <a:lnTo>
                  <a:pt x="3235" y="6460"/>
                </a:lnTo>
                <a:cubicBezTo>
                  <a:pt x="3222" y="6460"/>
                  <a:pt x="3212" y="6449"/>
                  <a:pt x="3212" y="6436"/>
                </a:cubicBezTo>
                <a:cubicBezTo>
                  <a:pt x="3212" y="6423"/>
                  <a:pt x="3222" y="6413"/>
                  <a:pt x="3235" y="6413"/>
                </a:cubicBezTo>
                <a:close/>
                <a:moveTo>
                  <a:pt x="3376" y="6413"/>
                </a:moveTo>
                <a:lnTo>
                  <a:pt x="3376" y="6413"/>
                </a:lnTo>
                <a:cubicBezTo>
                  <a:pt x="3389" y="6413"/>
                  <a:pt x="3399" y="6423"/>
                  <a:pt x="3399" y="6436"/>
                </a:cubicBezTo>
                <a:cubicBezTo>
                  <a:pt x="3399" y="6449"/>
                  <a:pt x="3389" y="6460"/>
                  <a:pt x="3376" y="6460"/>
                </a:cubicBezTo>
                <a:lnTo>
                  <a:pt x="3376" y="6460"/>
                </a:lnTo>
                <a:cubicBezTo>
                  <a:pt x="3363" y="6460"/>
                  <a:pt x="3352" y="6449"/>
                  <a:pt x="3352" y="6436"/>
                </a:cubicBezTo>
                <a:cubicBezTo>
                  <a:pt x="3352" y="6423"/>
                  <a:pt x="3363" y="6413"/>
                  <a:pt x="3376" y="6413"/>
                </a:cubicBezTo>
                <a:close/>
                <a:moveTo>
                  <a:pt x="3517" y="6413"/>
                </a:moveTo>
                <a:lnTo>
                  <a:pt x="3517" y="6413"/>
                </a:lnTo>
                <a:cubicBezTo>
                  <a:pt x="3530" y="6413"/>
                  <a:pt x="3540" y="6423"/>
                  <a:pt x="3540" y="6436"/>
                </a:cubicBezTo>
                <a:cubicBezTo>
                  <a:pt x="3540" y="6449"/>
                  <a:pt x="3530" y="6460"/>
                  <a:pt x="3517" y="6460"/>
                </a:cubicBezTo>
                <a:lnTo>
                  <a:pt x="3517" y="6460"/>
                </a:lnTo>
                <a:cubicBezTo>
                  <a:pt x="3504" y="6460"/>
                  <a:pt x="3493" y="6449"/>
                  <a:pt x="3493" y="6436"/>
                </a:cubicBezTo>
                <a:cubicBezTo>
                  <a:pt x="3493" y="6423"/>
                  <a:pt x="3504" y="6413"/>
                  <a:pt x="3517" y="6413"/>
                </a:cubicBezTo>
                <a:close/>
                <a:moveTo>
                  <a:pt x="3658" y="6413"/>
                </a:moveTo>
                <a:lnTo>
                  <a:pt x="3658" y="6413"/>
                </a:lnTo>
                <a:cubicBezTo>
                  <a:pt x="3671" y="6413"/>
                  <a:pt x="3681" y="6423"/>
                  <a:pt x="3681" y="6436"/>
                </a:cubicBezTo>
                <a:cubicBezTo>
                  <a:pt x="3681" y="6449"/>
                  <a:pt x="3671" y="6460"/>
                  <a:pt x="3658" y="6460"/>
                </a:cubicBezTo>
                <a:lnTo>
                  <a:pt x="3658" y="6460"/>
                </a:lnTo>
                <a:cubicBezTo>
                  <a:pt x="3645" y="6460"/>
                  <a:pt x="3634" y="6449"/>
                  <a:pt x="3634" y="6436"/>
                </a:cubicBezTo>
                <a:cubicBezTo>
                  <a:pt x="3634" y="6423"/>
                  <a:pt x="3645" y="6413"/>
                  <a:pt x="3658" y="6413"/>
                </a:cubicBezTo>
                <a:close/>
                <a:moveTo>
                  <a:pt x="3798" y="6413"/>
                </a:moveTo>
                <a:lnTo>
                  <a:pt x="3799" y="6413"/>
                </a:lnTo>
                <a:cubicBezTo>
                  <a:pt x="3812" y="6413"/>
                  <a:pt x="3822" y="6423"/>
                  <a:pt x="3822" y="6436"/>
                </a:cubicBezTo>
                <a:cubicBezTo>
                  <a:pt x="3822" y="6449"/>
                  <a:pt x="3812" y="6460"/>
                  <a:pt x="3799" y="6460"/>
                </a:cubicBezTo>
                <a:lnTo>
                  <a:pt x="3798" y="6460"/>
                </a:lnTo>
                <a:cubicBezTo>
                  <a:pt x="3786" y="6460"/>
                  <a:pt x="3775" y="6449"/>
                  <a:pt x="3775" y="6436"/>
                </a:cubicBezTo>
                <a:cubicBezTo>
                  <a:pt x="3775" y="6423"/>
                  <a:pt x="3786" y="6413"/>
                  <a:pt x="3798" y="6413"/>
                </a:cubicBezTo>
                <a:close/>
                <a:moveTo>
                  <a:pt x="3939" y="6413"/>
                </a:moveTo>
                <a:lnTo>
                  <a:pt x="3939" y="6413"/>
                </a:lnTo>
                <a:cubicBezTo>
                  <a:pt x="3952" y="6413"/>
                  <a:pt x="3963" y="6423"/>
                  <a:pt x="3963" y="6436"/>
                </a:cubicBezTo>
                <a:cubicBezTo>
                  <a:pt x="3963" y="6449"/>
                  <a:pt x="3952" y="6460"/>
                  <a:pt x="3939" y="6460"/>
                </a:cubicBezTo>
                <a:lnTo>
                  <a:pt x="3939" y="6460"/>
                </a:lnTo>
                <a:cubicBezTo>
                  <a:pt x="3926" y="6460"/>
                  <a:pt x="3916" y="6449"/>
                  <a:pt x="3916" y="6436"/>
                </a:cubicBezTo>
                <a:cubicBezTo>
                  <a:pt x="3916" y="6423"/>
                  <a:pt x="3926" y="6413"/>
                  <a:pt x="3939" y="6413"/>
                </a:cubicBezTo>
                <a:close/>
                <a:moveTo>
                  <a:pt x="4080" y="6413"/>
                </a:moveTo>
                <a:lnTo>
                  <a:pt x="4080" y="6413"/>
                </a:lnTo>
                <a:cubicBezTo>
                  <a:pt x="4093" y="6413"/>
                  <a:pt x="4104" y="6423"/>
                  <a:pt x="4104" y="6436"/>
                </a:cubicBezTo>
                <a:cubicBezTo>
                  <a:pt x="4104" y="6449"/>
                  <a:pt x="4093" y="6460"/>
                  <a:pt x="4080" y="6460"/>
                </a:cubicBezTo>
                <a:lnTo>
                  <a:pt x="4080" y="6460"/>
                </a:lnTo>
                <a:cubicBezTo>
                  <a:pt x="4067" y="6460"/>
                  <a:pt x="4057" y="6449"/>
                  <a:pt x="4057" y="6436"/>
                </a:cubicBezTo>
                <a:cubicBezTo>
                  <a:pt x="4057" y="6423"/>
                  <a:pt x="4067" y="6413"/>
                  <a:pt x="4080" y="6413"/>
                </a:cubicBezTo>
                <a:close/>
                <a:moveTo>
                  <a:pt x="4221" y="6413"/>
                </a:moveTo>
                <a:lnTo>
                  <a:pt x="4221" y="6413"/>
                </a:lnTo>
                <a:cubicBezTo>
                  <a:pt x="4234" y="6413"/>
                  <a:pt x="4245" y="6423"/>
                  <a:pt x="4245" y="6436"/>
                </a:cubicBezTo>
                <a:cubicBezTo>
                  <a:pt x="4245" y="6449"/>
                  <a:pt x="4234" y="6460"/>
                  <a:pt x="4221" y="6460"/>
                </a:cubicBezTo>
                <a:lnTo>
                  <a:pt x="4221" y="6460"/>
                </a:lnTo>
                <a:cubicBezTo>
                  <a:pt x="4208" y="6460"/>
                  <a:pt x="4198" y="6449"/>
                  <a:pt x="4198" y="6436"/>
                </a:cubicBezTo>
                <a:cubicBezTo>
                  <a:pt x="4198" y="6423"/>
                  <a:pt x="4208" y="6413"/>
                  <a:pt x="4221" y="6413"/>
                </a:cubicBezTo>
                <a:close/>
                <a:moveTo>
                  <a:pt x="4362" y="6413"/>
                </a:moveTo>
                <a:lnTo>
                  <a:pt x="4362" y="6413"/>
                </a:lnTo>
                <a:cubicBezTo>
                  <a:pt x="4375" y="6413"/>
                  <a:pt x="4385" y="6423"/>
                  <a:pt x="4385" y="6436"/>
                </a:cubicBezTo>
                <a:cubicBezTo>
                  <a:pt x="4385" y="6449"/>
                  <a:pt x="4375" y="6460"/>
                  <a:pt x="4362" y="6460"/>
                </a:cubicBezTo>
                <a:lnTo>
                  <a:pt x="4362" y="6460"/>
                </a:lnTo>
                <a:cubicBezTo>
                  <a:pt x="4349" y="6460"/>
                  <a:pt x="4338" y="6449"/>
                  <a:pt x="4338" y="6436"/>
                </a:cubicBezTo>
                <a:cubicBezTo>
                  <a:pt x="4338" y="6423"/>
                  <a:pt x="4349" y="6413"/>
                  <a:pt x="4362" y="6413"/>
                </a:cubicBezTo>
                <a:close/>
                <a:moveTo>
                  <a:pt x="4503" y="6413"/>
                </a:moveTo>
                <a:lnTo>
                  <a:pt x="4503" y="6413"/>
                </a:lnTo>
                <a:cubicBezTo>
                  <a:pt x="4516" y="6413"/>
                  <a:pt x="4526" y="6423"/>
                  <a:pt x="4526" y="6436"/>
                </a:cubicBezTo>
                <a:cubicBezTo>
                  <a:pt x="4526" y="6449"/>
                  <a:pt x="4516" y="6460"/>
                  <a:pt x="4503" y="6460"/>
                </a:cubicBezTo>
                <a:lnTo>
                  <a:pt x="4503" y="6460"/>
                </a:lnTo>
                <a:cubicBezTo>
                  <a:pt x="4490" y="6460"/>
                  <a:pt x="4479" y="6449"/>
                  <a:pt x="4479" y="6436"/>
                </a:cubicBezTo>
                <a:cubicBezTo>
                  <a:pt x="4479" y="6423"/>
                  <a:pt x="4490" y="6413"/>
                  <a:pt x="4503" y="6413"/>
                </a:cubicBezTo>
                <a:close/>
                <a:moveTo>
                  <a:pt x="4644" y="6413"/>
                </a:moveTo>
                <a:lnTo>
                  <a:pt x="4644" y="6413"/>
                </a:lnTo>
                <a:cubicBezTo>
                  <a:pt x="4657" y="6413"/>
                  <a:pt x="4667" y="6423"/>
                  <a:pt x="4667" y="6436"/>
                </a:cubicBezTo>
                <a:cubicBezTo>
                  <a:pt x="4667" y="6449"/>
                  <a:pt x="4657" y="6460"/>
                  <a:pt x="4644" y="6460"/>
                </a:cubicBezTo>
                <a:lnTo>
                  <a:pt x="4644" y="6460"/>
                </a:lnTo>
                <a:cubicBezTo>
                  <a:pt x="4631" y="6460"/>
                  <a:pt x="4620" y="6449"/>
                  <a:pt x="4620" y="6436"/>
                </a:cubicBezTo>
                <a:cubicBezTo>
                  <a:pt x="4620" y="6423"/>
                  <a:pt x="4631" y="6413"/>
                  <a:pt x="4644" y="6413"/>
                </a:cubicBezTo>
                <a:close/>
                <a:moveTo>
                  <a:pt x="4784" y="6413"/>
                </a:moveTo>
                <a:lnTo>
                  <a:pt x="4784" y="6413"/>
                </a:lnTo>
                <a:cubicBezTo>
                  <a:pt x="4797" y="6413"/>
                  <a:pt x="4808" y="6423"/>
                  <a:pt x="4808" y="6436"/>
                </a:cubicBezTo>
                <a:cubicBezTo>
                  <a:pt x="4808" y="6449"/>
                  <a:pt x="4797" y="6460"/>
                  <a:pt x="4784" y="6460"/>
                </a:cubicBezTo>
                <a:lnTo>
                  <a:pt x="4784" y="6460"/>
                </a:lnTo>
                <a:cubicBezTo>
                  <a:pt x="4771" y="6460"/>
                  <a:pt x="4761" y="6449"/>
                  <a:pt x="4761" y="6436"/>
                </a:cubicBezTo>
                <a:cubicBezTo>
                  <a:pt x="4761" y="6423"/>
                  <a:pt x="4771" y="6413"/>
                  <a:pt x="4784" y="6413"/>
                </a:cubicBezTo>
                <a:close/>
                <a:moveTo>
                  <a:pt x="4925" y="6413"/>
                </a:moveTo>
                <a:lnTo>
                  <a:pt x="4925" y="6413"/>
                </a:lnTo>
                <a:cubicBezTo>
                  <a:pt x="4938" y="6413"/>
                  <a:pt x="4949" y="6423"/>
                  <a:pt x="4949" y="6436"/>
                </a:cubicBezTo>
                <a:cubicBezTo>
                  <a:pt x="4949" y="6449"/>
                  <a:pt x="4938" y="6460"/>
                  <a:pt x="4925" y="6460"/>
                </a:cubicBezTo>
                <a:lnTo>
                  <a:pt x="4925" y="6460"/>
                </a:lnTo>
                <a:cubicBezTo>
                  <a:pt x="4912" y="6460"/>
                  <a:pt x="4902" y="6449"/>
                  <a:pt x="4902" y="6436"/>
                </a:cubicBezTo>
                <a:cubicBezTo>
                  <a:pt x="4902" y="6423"/>
                  <a:pt x="4912" y="6413"/>
                  <a:pt x="4925" y="6413"/>
                </a:cubicBezTo>
                <a:close/>
                <a:moveTo>
                  <a:pt x="5066" y="6413"/>
                </a:moveTo>
                <a:lnTo>
                  <a:pt x="5066" y="6413"/>
                </a:lnTo>
                <a:cubicBezTo>
                  <a:pt x="5079" y="6413"/>
                  <a:pt x="5090" y="6423"/>
                  <a:pt x="5090" y="6436"/>
                </a:cubicBezTo>
                <a:cubicBezTo>
                  <a:pt x="5090" y="6449"/>
                  <a:pt x="5079" y="6460"/>
                  <a:pt x="5066" y="6460"/>
                </a:cubicBezTo>
                <a:lnTo>
                  <a:pt x="5066" y="6460"/>
                </a:lnTo>
                <a:cubicBezTo>
                  <a:pt x="5053" y="6460"/>
                  <a:pt x="5043" y="6449"/>
                  <a:pt x="5043" y="6436"/>
                </a:cubicBezTo>
                <a:cubicBezTo>
                  <a:pt x="5043" y="6423"/>
                  <a:pt x="5053" y="6413"/>
                  <a:pt x="5066" y="6413"/>
                </a:cubicBezTo>
                <a:close/>
                <a:moveTo>
                  <a:pt x="5207" y="6413"/>
                </a:moveTo>
                <a:lnTo>
                  <a:pt x="5207" y="6413"/>
                </a:lnTo>
                <a:cubicBezTo>
                  <a:pt x="5220" y="6413"/>
                  <a:pt x="5230" y="6423"/>
                  <a:pt x="5230" y="6436"/>
                </a:cubicBezTo>
                <a:cubicBezTo>
                  <a:pt x="5230" y="6449"/>
                  <a:pt x="5220" y="6460"/>
                  <a:pt x="5207" y="6460"/>
                </a:cubicBezTo>
                <a:lnTo>
                  <a:pt x="5207" y="6460"/>
                </a:lnTo>
                <a:cubicBezTo>
                  <a:pt x="5194" y="6460"/>
                  <a:pt x="5183" y="6449"/>
                  <a:pt x="5183" y="6436"/>
                </a:cubicBezTo>
                <a:cubicBezTo>
                  <a:pt x="5183" y="6423"/>
                  <a:pt x="5194" y="6413"/>
                  <a:pt x="5207" y="6413"/>
                </a:cubicBezTo>
                <a:close/>
                <a:moveTo>
                  <a:pt x="5348" y="6413"/>
                </a:moveTo>
                <a:lnTo>
                  <a:pt x="5348" y="6413"/>
                </a:lnTo>
                <a:cubicBezTo>
                  <a:pt x="5361" y="6413"/>
                  <a:pt x="5371" y="6423"/>
                  <a:pt x="5371" y="6436"/>
                </a:cubicBezTo>
                <a:cubicBezTo>
                  <a:pt x="5371" y="6449"/>
                  <a:pt x="5361" y="6460"/>
                  <a:pt x="5348" y="6460"/>
                </a:cubicBezTo>
                <a:lnTo>
                  <a:pt x="5348" y="6460"/>
                </a:lnTo>
                <a:cubicBezTo>
                  <a:pt x="5335" y="6460"/>
                  <a:pt x="5324" y="6449"/>
                  <a:pt x="5324" y="6436"/>
                </a:cubicBezTo>
                <a:cubicBezTo>
                  <a:pt x="5324" y="6423"/>
                  <a:pt x="5335" y="6413"/>
                  <a:pt x="5348" y="6413"/>
                </a:cubicBezTo>
                <a:close/>
                <a:moveTo>
                  <a:pt x="5489" y="6413"/>
                </a:moveTo>
                <a:lnTo>
                  <a:pt x="5489" y="6413"/>
                </a:lnTo>
                <a:cubicBezTo>
                  <a:pt x="5502" y="6413"/>
                  <a:pt x="5512" y="6423"/>
                  <a:pt x="5512" y="6436"/>
                </a:cubicBezTo>
                <a:cubicBezTo>
                  <a:pt x="5512" y="6449"/>
                  <a:pt x="5502" y="6460"/>
                  <a:pt x="5489" y="6460"/>
                </a:cubicBezTo>
                <a:lnTo>
                  <a:pt x="5489" y="6460"/>
                </a:lnTo>
                <a:cubicBezTo>
                  <a:pt x="5476" y="6460"/>
                  <a:pt x="5465" y="6449"/>
                  <a:pt x="5465" y="6436"/>
                </a:cubicBezTo>
                <a:cubicBezTo>
                  <a:pt x="5465" y="6423"/>
                  <a:pt x="5476" y="6413"/>
                  <a:pt x="5489" y="6413"/>
                </a:cubicBezTo>
                <a:close/>
                <a:moveTo>
                  <a:pt x="5630" y="6413"/>
                </a:moveTo>
                <a:lnTo>
                  <a:pt x="5630" y="6413"/>
                </a:lnTo>
                <a:cubicBezTo>
                  <a:pt x="5643" y="6413"/>
                  <a:pt x="5653" y="6423"/>
                  <a:pt x="5653" y="6436"/>
                </a:cubicBezTo>
                <a:cubicBezTo>
                  <a:pt x="5653" y="6449"/>
                  <a:pt x="5643" y="6460"/>
                  <a:pt x="5630" y="6460"/>
                </a:cubicBezTo>
                <a:lnTo>
                  <a:pt x="5630" y="6460"/>
                </a:lnTo>
                <a:cubicBezTo>
                  <a:pt x="5617" y="6460"/>
                  <a:pt x="5606" y="6449"/>
                  <a:pt x="5606" y="6436"/>
                </a:cubicBezTo>
                <a:cubicBezTo>
                  <a:pt x="5606" y="6423"/>
                  <a:pt x="5617" y="6413"/>
                  <a:pt x="5630" y="6413"/>
                </a:cubicBezTo>
                <a:close/>
                <a:moveTo>
                  <a:pt x="5770" y="6413"/>
                </a:moveTo>
                <a:lnTo>
                  <a:pt x="5770" y="6413"/>
                </a:lnTo>
                <a:cubicBezTo>
                  <a:pt x="5783" y="6413"/>
                  <a:pt x="5794" y="6423"/>
                  <a:pt x="5794" y="6436"/>
                </a:cubicBezTo>
                <a:cubicBezTo>
                  <a:pt x="5794" y="6449"/>
                  <a:pt x="5783" y="6460"/>
                  <a:pt x="5770" y="6460"/>
                </a:cubicBezTo>
                <a:lnTo>
                  <a:pt x="5770" y="6460"/>
                </a:lnTo>
                <a:cubicBezTo>
                  <a:pt x="5757" y="6460"/>
                  <a:pt x="5747" y="6449"/>
                  <a:pt x="5747" y="6436"/>
                </a:cubicBezTo>
                <a:cubicBezTo>
                  <a:pt x="5747" y="6423"/>
                  <a:pt x="5757" y="6413"/>
                  <a:pt x="5770" y="6413"/>
                </a:cubicBezTo>
                <a:close/>
                <a:moveTo>
                  <a:pt x="5911" y="6413"/>
                </a:moveTo>
                <a:lnTo>
                  <a:pt x="5911" y="6413"/>
                </a:lnTo>
                <a:cubicBezTo>
                  <a:pt x="5924" y="6413"/>
                  <a:pt x="5935" y="6423"/>
                  <a:pt x="5935" y="6436"/>
                </a:cubicBezTo>
                <a:cubicBezTo>
                  <a:pt x="5935" y="6449"/>
                  <a:pt x="5924" y="6460"/>
                  <a:pt x="5911" y="6460"/>
                </a:cubicBezTo>
                <a:lnTo>
                  <a:pt x="5911" y="6460"/>
                </a:lnTo>
                <a:cubicBezTo>
                  <a:pt x="5898" y="6460"/>
                  <a:pt x="5888" y="6449"/>
                  <a:pt x="5888" y="6436"/>
                </a:cubicBezTo>
                <a:cubicBezTo>
                  <a:pt x="5888" y="6423"/>
                  <a:pt x="5898" y="6413"/>
                  <a:pt x="5911" y="6413"/>
                </a:cubicBezTo>
                <a:close/>
                <a:moveTo>
                  <a:pt x="6052" y="6413"/>
                </a:moveTo>
                <a:lnTo>
                  <a:pt x="6052" y="6413"/>
                </a:lnTo>
                <a:cubicBezTo>
                  <a:pt x="6065" y="6413"/>
                  <a:pt x="6076" y="6423"/>
                  <a:pt x="6076" y="6436"/>
                </a:cubicBezTo>
                <a:cubicBezTo>
                  <a:pt x="6076" y="6449"/>
                  <a:pt x="6065" y="6460"/>
                  <a:pt x="6052" y="6460"/>
                </a:cubicBezTo>
                <a:lnTo>
                  <a:pt x="6052" y="6460"/>
                </a:lnTo>
                <a:cubicBezTo>
                  <a:pt x="6039" y="6460"/>
                  <a:pt x="6029" y="6449"/>
                  <a:pt x="6029" y="6436"/>
                </a:cubicBezTo>
                <a:cubicBezTo>
                  <a:pt x="6029" y="6423"/>
                  <a:pt x="6039" y="6413"/>
                  <a:pt x="6052" y="6413"/>
                </a:cubicBezTo>
                <a:close/>
                <a:moveTo>
                  <a:pt x="6193" y="6413"/>
                </a:moveTo>
                <a:lnTo>
                  <a:pt x="6193" y="6413"/>
                </a:lnTo>
                <a:cubicBezTo>
                  <a:pt x="6206" y="6413"/>
                  <a:pt x="6216" y="6423"/>
                  <a:pt x="6216" y="6436"/>
                </a:cubicBezTo>
                <a:cubicBezTo>
                  <a:pt x="6216" y="6449"/>
                  <a:pt x="6206" y="6460"/>
                  <a:pt x="6193" y="6460"/>
                </a:cubicBezTo>
                <a:lnTo>
                  <a:pt x="6193" y="6460"/>
                </a:lnTo>
                <a:cubicBezTo>
                  <a:pt x="6180" y="6460"/>
                  <a:pt x="6169" y="6449"/>
                  <a:pt x="6169" y="6436"/>
                </a:cubicBezTo>
                <a:cubicBezTo>
                  <a:pt x="6169" y="6423"/>
                  <a:pt x="6180" y="6413"/>
                  <a:pt x="6193" y="6413"/>
                </a:cubicBezTo>
                <a:close/>
                <a:moveTo>
                  <a:pt x="6334" y="6413"/>
                </a:moveTo>
                <a:lnTo>
                  <a:pt x="6334" y="6413"/>
                </a:lnTo>
                <a:cubicBezTo>
                  <a:pt x="6347" y="6413"/>
                  <a:pt x="6357" y="6423"/>
                  <a:pt x="6357" y="6436"/>
                </a:cubicBezTo>
                <a:cubicBezTo>
                  <a:pt x="6357" y="6449"/>
                  <a:pt x="6347" y="6460"/>
                  <a:pt x="6334" y="6460"/>
                </a:cubicBezTo>
                <a:lnTo>
                  <a:pt x="6334" y="6460"/>
                </a:lnTo>
                <a:cubicBezTo>
                  <a:pt x="6321" y="6460"/>
                  <a:pt x="6310" y="6449"/>
                  <a:pt x="6310" y="6436"/>
                </a:cubicBezTo>
                <a:cubicBezTo>
                  <a:pt x="6310" y="6423"/>
                  <a:pt x="6321" y="6413"/>
                  <a:pt x="6334" y="6413"/>
                </a:cubicBezTo>
                <a:close/>
                <a:moveTo>
                  <a:pt x="6475" y="6413"/>
                </a:moveTo>
                <a:lnTo>
                  <a:pt x="6475" y="6413"/>
                </a:lnTo>
                <a:cubicBezTo>
                  <a:pt x="6488" y="6413"/>
                  <a:pt x="6498" y="6423"/>
                  <a:pt x="6498" y="6436"/>
                </a:cubicBezTo>
                <a:cubicBezTo>
                  <a:pt x="6498" y="6449"/>
                  <a:pt x="6488" y="6460"/>
                  <a:pt x="6475" y="6460"/>
                </a:cubicBezTo>
                <a:lnTo>
                  <a:pt x="6475" y="6460"/>
                </a:lnTo>
                <a:cubicBezTo>
                  <a:pt x="6462" y="6460"/>
                  <a:pt x="6451" y="6449"/>
                  <a:pt x="6451" y="6436"/>
                </a:cubicBezTo>
                <a:cubicBezTo>
                  <a:pt x="6451" y="6423"/>
                  <a:pt x="6462" y="6413"/>
                  <a:pt x="6475" y="6413"/>
                </a:cubicBezTo>
                <a:close/>
                <a:moveTo>
                  <a:pt x="6615" y="6413"/>
                </a:moveTo>
                <a:lnTo>
                  <a:pt x="6615" y="6413"/>
                </a:lnTo>
                <a:cubicBezTo>
                  <a:pt x="6628" y="6413"/>
                  <a:pt x="6639" y="6423"/>
                  <a:pt x="6639" y="6436"/>
                </a:cubicBezTo>
                <a:cubicBezTo>
                  <a:pt x="6639" y="6449"/>
                  <a:pt x="6628" y="6460"/>
                  <a:pt x="6615" y="6460"/>
                </a:cubicBezTo>
                <a:lnTo>
                  <a:pt x="6615" y="6460"/>
                </a:lnTo>
                <a:cubicBezTo>
                  <a:pt x="6602" y="6460"/>
                  <a:pt x="6592" y="6449"/>
                  <a:pt x="6592" y="6436"/>
                </a:cubicBezTo>
                <a:cubicBezTo>
                  <a:pt x="6592" y="6423"/>
                  <a:pt x="6602" y="6413"/>
                  <a:pt x="6615" y="6413"/>
                </a:cubicBezTo>
                <a:close/>
                <a:moveTo>
                  <a:pt x="6756" y="6413"/>
                </a:moveTo>
                <a:lnTo>
                  <a:pt x="6756" y="6413"/>
                </a:lnTo>
                <a:cubicBezTo>
                  <a:pt x="6769" y="6413"/>
                  <a:pt x="6780" y="6423"/>
                  <a:pt x="6780" y="6436"/>
                </a:cubicBezTo>
                <a:cubicBezTo>
                  <a:pt x="6780" y="6449"/>
                  <a:pt x="6769" y="6460"/>
                  <a:pt x="6756" y="6460"/>
                </a:cubicBezTo>
                <a:lnTo>
                  <a:pt x="6756" y="6460"/>
                </a:lnTo>
                <a:cubicBezTo>
                  <a:pt x="6743" y="6460"/>
                  <a:pt x="6733" y="6449"/>
                  <a:pt x="6733" y="6436"/>
                </a:cubicBezTo>
                <a:cubicBezTo>
                  <a:pt x="6733" y="6423"/>
                  <a:pt x="6743" y="6413"/>
                  <a:pt x="6756" y="6413"/>
                </a:cubicBezTo>
                <a:close/>
                <a:moveTo>
                  <a:pt x="6897" y="6413"/>
                </a:moveTo>
                <a:lnTo>
                  <a:pt x="6897" y="6413"/>
                </a:lnTo>
                <a:cubicBezTo>
                  <a:pt x="6910" y="6413"/>
                  <a:pt x="6921" y="6423"/>
                  <a:pt x="6921" y="6436"/>
                </a:cubicBezTo>
                <a:cubicBezTo>
                  <a:pt x="6921" y="6449"/>
                  <a:pt x="6910" y="6460"/>
                  <a:pt x="6897" y="6460"/>
                </a:cubicBezTo>
                <a:lnTo>
                  <a:pt x="6897" y="6460"/>
                </a:lnTo>
                <a:cubicBezTo>
                  <a:pt x="6884" y="6460"/>
                  <a:pt x="6874" y="6449"/>
                  <a:pt x="6874" y="6436"/>
                </a:cubicBezTo>
                <a:cubicBezTo>
                  <a:pt x="6874" y="6423"/>
                  <a:pt x="6884" y="6413"/>
                  <a:pt x="6897" y="6413"/>
                </a:cubicBezTo>
                <a:close/>
                <a:moveTo>
                  <a:pt x="7038" y="6413"/>
                </a:moveTo>
                <a:lnTo>
                  <a:pt x="7038" y="6413"/>
                </a:lnTo>
                <a:cubicBezTo>
                  <a:pt x="7051" y="6413"/>
                  <a:pt x="7061" y="6423"/>
                  <a:pt x="7061" y="6436"/>
                </a:cubicBezTo>
                <a:cubicBezTo>
                  <a:pt x="7061" y="6449"/>
                  <a:pt x="7051" y="6460"/>
                  <a:pt x="7038" y="6460"/>
                </a:cubicBezTo>
                <a:lnTo>
                  <a:pt x="7038" y="6460"/>
                </a:lnTo>
                <a:cubicBezTo>
                  <a:pt x="7025" y="6460"/>
                  <a:pt x="7015" y="6449"/>
                  <a:pt x="7015" y="6436"/>
                </a:cubicBezTo>
                <a:cubicBezTo>
                  <a:pt x="7015" y="6423"/>
                  <a:pt x="7025" y="6413"/>
                  <a:pt x="7038" y="6413"/>
                </a:cubicBezTo>
                <a:close/>
                <a:moveTo>
                  <a:pt x="7179" y="6413"/>
                </a:moveTo>
                <a:lnTo>
                  <a:pt x="7179" y="6413"/>
                </a:lnTo>
                <a:cubicBezTo>
                  <a:pt x="7192" y="6413"/>
                  <a:pt x="7202" y="6423"/>
                  <a:pt x="7202" y="6436"/>
                </a:cubicBezTo>
                <a:cubicBezTo>
                  <a:pt x="7202" y="6449"/>
                  <a:pt x="7192" y="6460"/>
                  <a:pt x="7179" y="6460"/>
                </a:cubicBezTo>
                <a:lnTo>
                  <a:pt x="7179" y="6460"/>
                </a:lnTo>
                <a:cubicBezTo>
                  <a:pt x="7166" y="6460"/>
                  <a:pt x="7155" y="6449"/>
                  <a:pt x="7155" y="6436"/>
                </a:cubicBezTo>
                <a:cubicBezTo>
                  <a:pt x="7155" y="6423"/>
                  <a:pt x="7166" y="6413"/>
                  <a:pt x="7179" y="6413"/>
                </a:cubicBezTo>
                <a:close/>
                <a:moveTo>
                  <a:pt x="7320" y="6413"/>
                </a:moveTo>
                <a:lnTo>
                  <a:pt x="7320" y="6413"/>
                </a:lnTo>
                <a:cubicBezTo>
                  <a:pt x="7333" y="6413"/>
                  <a:pt x="7343" y="6423"/>
                  <a:pt x="7343" y="6436"/>
                </a:cubicBezTo>
                <a:cubicBezTo>
                  <a:pt x="7343" y="6449"/>
                  <a:pt x="7333" y="6460"/>
                  <a:pt x="7320" y="6460"/>
                </a:cubicBezTo>
                <a:lnTo>
                  <a:pt x="7320" y="6460"/>
                </a:lnTo>
                <a:cubicBezTo>
                  <a:pt x="7307" y="6460"/>
                  <a:pt x="7296" y="6449"/>
                  <a:pt x="7296" y="6436"/>
                </a:cubicBezTo>
                <a:cubicBezTo>
                  <a:pt x="7296" y="6423"/>
                  <a:pt x="7307" y="6413"/>
                  <a:pt x="7320" y="6413"/>
                </a:cubicBezTo>
                <a:close/>
                <a:moveTo>
                  <a:pt x="7461" y="6413"/>
                </a:moveTo>
                <a:lnTo>
                  <a:pt x="7461" y="6413"/>
                </a:lnTo>
                <a:cubicBezTo>
                  <a:pt x="7474" y="6413"/>
                  <a:pt x="7484" y="6423"/>
                  <a:pt x="7484" y="6436"/>
                </a:cubicBezTo>
                <a:cubicBezTo>
                  <a:pt x="7484" y="6449"/>
                  <a:pt x="7474" y="6460"/>
                  <a:pt x="7461" y="6460"/>
                </a:cubicBezTo>
                <a:lnTo>
                  <a:pt x="7461" y="6460"/>
                </a:lnTo>
                <a:cubicBezTo>
                  <a:pt x="7448" y="6460"/>
                  <a:pt x="7437" y="6449"/>
                  <a:pt x="7437" y="6436"/>
                </a:cubicBezTo>
                <a:cubicBezTo>
                  <a:pt x="7437" y="6423"/>
                  <a:pt x="7448" y="6413"/>
                  <a:pt x="7461" y="6413"/>
                </a:cubicBezTo>
                <a:close/>
                <a:moveTo>
                  <a:pt x="7601" y="6413"/>
                </a:moveTo>
                <a:lnTo>
                  <a:pt x="7601" y="6413"/>
                </a:lnTo>
                <a:cubicBezTo>
                  <a:pt x="7614" y="6413"/>
                  <a:pt x="7625" y="6423"/>
                  <a:pt x="7625" y="6436"/>
                </a:cubicBezTo>
                <a:cubicBezTo>
                  <a:pt x="7625" y="6449"/>
                  <a:pt x="7614" y="6460"/>
                  <a:pt x="7601" y="6460"/>
                </a:cubicBezTo>
                <a:lnTo>
                  <a:pt x="7601" y="6460"/>
                </a:lnTo>
                <a:cubicBezTo>
                  <a:pt x="7588" y="6460"/>
                  <a:pt x="7578" y="6449"/>
                  <a:pt x="7578" y="6436"/>
                </a:cubicBezTo>
                <a:cubicBezTo>
                  <a:pt x="7578" y="6423"/>
                  <a:pt x="7588" y="6413"/>
                  <a:pt x="7601" y="6413"/>
                </a:cubicBezTo>
                <a:close/>
                <a:moveTo>
                  <a:pt x="7742" y="6413"/>
                </a:moveTo>
                <a:lnTo>
                  <a:pt x="7742" y="6413"/>
                </a:lnTo>
                <a:cubicBezTo>
                  <a:pt x="7755" y="6413"/>
                  <a:pt x="7766" y="6423"/>
                  <a:pt x="7766" y="6436"/>
                </a:cubicBezTo>
                <a:cubicBezTo>
                  <a:pt x="7766" y="6449"/>
                  <a:pt x="7755" y="6460"/>
                  <a:pt x="7742" y="6460"/>
                </a:cubicBezTo>
                <a:lnTo>
                  <a:pt x="7742" y="6460"/>
                </a:lnTo>
                <a:cubicBezTo>
                  <a:pt x="7729" y="6460"/>
                  <a:pt x="7719" y="6449"/>
                  <a:pt x="7719" y="6436"/>
                </a:cubicBezTo>
                <a:cubicBezTo>
                  <a:pt x="7719" y="6423"/>
                  <a:pt x="7729" y="6413"/>
                  <a:pt x="7742" y="6413"/>
                </a:cubicBezTo>
                <a:close/>
                <a:moveTo>
                  <a:pt x="7883" y="6413"/>
                </a:moveTo>
                <a:lnTo>
                  <a:pt x="7883" y="6413"/>
                </a:lnTo>
                <a:cubicBezTo>
                  <a:pt x="7896" y="6413"/>
                  <a:pt x="7907" y="6423"/>
                  <a:pt x="7907" y="6436"/>
                </a:cubicBezTo>
                <a:cubicBezTo>
                  <a:pt x="7907" y="6449"/>
                  <a:pt x="7896" y="6460"/>
                  <a:pt x="7883" y="6460"/>
                </a:cubicBezTo>
                <a:lnTo>
                  <a:pt x="7883" y="6460"/>
                </a:lnTo>
                <a:cubicBezTo>
                  <a:pt x="7870" y="6460"/>
                  <a:pt x="7860" y="6449"/>
                  <a:pt x="7860" y="6436"/>
                </a:cubicBezTo>
                <a:cubicBezTo>
                  <a:pt x="7860" y="6423"/>
                  <a:pt x="7870" y="6413"/>
                  <a:pt x="7883" y="6413"/>
                </a:cubicBezTo>
                <a:close/>
                <a:moveTo>
                  <a:pt x="8024" y="6413"/>
                </a:moveTo>
                <a:lnTo>
                  <a:pt x="8024" y="6413"/>
                </a:lnTo>
                <a:cubicBezTo>
                  <a:pt x="8037" y="6413"/>
                  <a:pt x="8047" y="6423"/>
                  <a:pt x="8047" y="6436"/>
                </a:cubicBezTo>
                <a:cubicBezTo>
                  <a:pt x="8047" y="6449"/>
                  <a:pt x="8037" y="6460"/>
                  <a:pt x="8024" y="6460"/>
                </a:cubicBezTo>
                <a:lnTo>
                  <a:pt x="8024" y="6460"/>
                </a:lnTo>
                <a:cubicBezTo>
                  <a:pt x="8011" y="6460"/>
                  <a:pt x="8000" y="6449"/>
                  <a:pt x="8000" y="6436"/>
                </a:cubicBezTo>
                <a:cubicBezTo>
                  <a:pt x="8000" y="6423"/>
                  <a:pt x="8011" y="6413"/>
                  <a:pt x="8024" y="6413"/>
                </a:cubicBezTo>
                <a:close/>
                <a:moveTo>
                  <a:pt x="8165" y="6413"/>
                </a:moveTo>
                <a:lnTo>
                  <a:pt x="8165" y="6413"/>
                </a:lnTo>
                <a:cubicBezTo>
                  <a:pt x="8178" y="6413"/>
                  <a:pt x="8188" y="6423"/>
                  <a:pt x="8188" y="6436"/>
                </a:cubicBezTo>
                <a:cubicBezTo>
                  <a:pt x="8188" y="6449"/>
                  <a:pt x="8178" y="6460"/>
                  <a:pt x="8165" y="6460"/>
                </a:cubicBezTo>
                <a:lnTo>
                  <a:pt x="8165" y="6460"/>
                </a:lnTo>
                <a:cubicBezTo>
                  <a:pt x="8152" y="6460"/>
                  <a:pt x="8141" y="6449"/>
                  <a:pt x="8141" y="6436"/>
                </a:cubicBezTo>
                <a:cubicBezTo>
                  <a:pt x="8141" y="6423"/>
                  <a:pt x="8152" y="6413"/>
                  <a:pt x="8165" y="6413"/>
                </a:cubicBezTo>
                <a:close/>
                <a:moveTo>
                  <a:pt x="8306" y="6413"/>
                </a:moveTo>
                <a:lnTo>
                  <a:pt x="8306" y="6413"/>
                </a:lnTo>
                <a:cubicBezTo>
                  <a:pt x="8319" y="6413"/>
                  <a:pt x="8329" y="6423"/>
                  <a:pt x="8329" y="6436"/>
                </a:cubicBezTo>
                <a:cubicBezTo>
                  <a:pt x="8329" y="6449"/>
                  <a:pt x="8319" y="6460"/>
                  <a:pt x="8306" y="6460"/>
                </a:cubicBezTo>
                <a:lnTo>
                  <a:pt x="8306" y="6460"/>
                </a:lnTo>
                <a:cubicBezTo>
                  <a:pt x="8293" y="6460"/>
                  <a:pt x="8282" y="6449"/>
                  <a:pt x="8282" y="6436"/>
                </a:cubicBezTo>
                <a:cubicBezTo>
                  <a:pt x="8282" y="6423"/>
                  <a:pt x="8293" y="6413"/>
                  <a:pt x="8306" y="6413"/>
                </a:cubicBezTo>
                <a:close/>
                <a:moveTo>
                  <a:pt x="8446" y="6413"/>
                </a:moveTo>
                <a:lnTo>
                  <a:pt x="8446" y="6413"/>
                </a:lnTo>
                <a:cubicBezTo>
                  <a:pt x="8459" y="6413"/>
                  <a:pt x="8470" y="6423"/>
                  <a:pt x="8470" y="6436"/>
                </a:cubicBezTo>
                <a:cubicBezTo>
                  <a:pt x="8470" y="6449"/>
                  <a:pt x="8459" y="6460"/>
                  <a:pt x="8446" y="6460"/>
                </a:cubicBezTo>
                <a:lnTo>
                  <a:pt x="8446" y="6460"/>
                </a:lnTo>
                <a:cubicBezTo>
                  <a:pt x="8433" y="6460"/>
                  <a:pt x="8423" y="6449"/>
                  <a:pt x="8423" y="6436"/>
                </a:cubicBezTo>
                <a:cubicBezTo>
                  <a:pt x="8423" y="6423"/>
                  <a:pt x="8433" y="6413"/>
                  <a:pt x="8446" y="6413"/>
                </a:cubicBezTo>
                <a:close/>
                <a:moveTo>
                  <a:pt x="8587" y="6413"/>
                </a:moveTo>
                <a:lnTo>
                  <a:pt x="8587" y="6413"/>
                </a:lnTo>
                <a:cubicBezTo>
                  <a:pt x="8600" y="6413"/>
                  <a:pt x="8611" y="6423"/>
                  <a:pt x="8611" y="6436"/>
                </a:cubicBezTo>
                <a:cubicBezTo>
                  <a:pt x="8611" y="6449"/>
                  <a:pt x="8600" y="6460"/>
                  <a:pt x="8587" y="6460"/>
                </a:cubicBezTo>
                <a:lnTo>
                  <a:pt x="8587" y="6460"/>
                </a:lnTo>
                <a:cubicBezTo>
                  <a:pt x="8574" y="6460"/>
                  <a:pt x="8564" y="6449"/>
                  <a:pt x="8564" y="6436"/>
                </a:cubicBezTo>
                <a:cubicBezTo>
                  <a:pt x="8564" y="6423"/>
                  <a:pt x="8574" y="6413"/>
                  <a:pt x="8587" y="6413"/>
                </a:cubicBezTo>
                <a:close/>
                <a:moveTo>
                  <a:pt x="8728" y="6413"/>
                </a:moveTo>
                <a:lnTo>
                  <a:pt x="8728" y="6413"/>
                </a:lnTo>
                <a:cubicBezTo>
                  <a:pt x="8741" y="6413"/>
                  <a:pt x="8752" y="6423"/>
                  <a:pt x="8752" y="6436"/>
                </a:cubicBezTo>
                <a:cubicBezTo>
                  <a:pt x="8752" y="6449"/>
                  <a:pt x="8741" y="6460"/>
                  <a:pt x="8728" y="6460"/>
                </a:cubicBezTo>
                <a:lnTo>
                  <a:pt x="8728" y="6460"/>
                </a:lnTo>
                <a:cubicBezTo>
                  <a:pt x="8715" y="6460"/>
                  <a:pt x="8705" y="6449"/>
                  <a:pt x="8705" y="6436"/>
                </a:cubicBezTo>
                <a:cubicBezTo>
                  <a:pt x="8705" y="6423"/>
                  <a:pt x="8715" y="6413"/>
                  <a:pt x="8728" y="6413"/>
                </a:cubicBezTo>
                <a:close/>
                <a:moveTo>
                  <a:pt x="8869" y="6413"/>
                </a:moveTo>
                <a:lnTo>
                  <a:pt x="8869" y="6413"/>
                </a:lnTo>
                <a:cubicBezTo>
                  <a:pt x="8882" y="6413"/>
                  <a:pt x="8892" y="6423"/>
                  <a:pt x="8892" y="6436"/>
                </a:cubicBezTo>
                <a:cubicBezTo>
                  <a:pt x="8892" y="6449"/>
                  <a:pt x="8882" y="6460"/>
                  <a:pt x="8869" y="6460"/>
                </a:cubicBezTo>
                <a:lnTo>
                  <a:pt x="8869" y="6460"/>
                </a:lnTo>
                <a:cubicBezTo>
                  <a:pt x="8856" y="6460"/>
                  <a:pt x="8846" y="6449"/>
                  <a:pt x="8846" y="6436"/>
                </a:cubicBezTo>
                <a:cubicBezTo>
                  <a:pt x="8846" y="6423"/>
                  <a:pt x="8856" y="6413"/>
                  <a:pt x="8869" y="6413"/>
                </a:cubicBezTo>
                <a:close/>
                <a:moveTo>
                  <a:pt x="9010" y="6413"/>
                </a:moveTo>
                <a:lnTo>
                  <a:pt x="9010" y="6413"/>
                </a:lnTo>
                <a:cubicBezTo>
                  <a:pt x="9023" y="6413"/>
                  <a:pt x="9033" y="6423"/>
                  <a:pt x="9033" y="6436"/>
                </a:cubicBezTo>
                <a:cubicBezTo>
                  <a:pt x="9033" y="6449"/>
                  <a:pt x="9023" y="6460"/>
                  <a:pt x="9010" y="6460"/>
                </a:cubicBezTo>
                <a:lnTo>
                  <a:pt x="9010" y="6460"/>
                </a:lnTo>
                <a:cubicBezTo>
                  <a:pt x="8997" y="6460"/>
                  <a:pt x="8986" y="6449"/>
                  <a:pt x="8986" y="6436"/>
                </a:cubicBezTo>
                <a:cubicBezTo>
                  <a:pt x="8986" y="6423"/>
                  <a:pt x="8997" y="6413"/>
                  <a:pt x="9010" y="6413"/>
                </a:cubicBezTo>
                <a:close/>
                <a:moveTo>
                  <a:pt x="9151" y="6413"/>
                </a:moveTo>
                <a:lnTo>
                  <a:pt x="9151" y="6413"/>
                </a:lnTo>
                <a:cubicBezTo>
                  <a:pt x="9164" y="6413"/>
                  <a:pt x="9174" y="6423"/>
                  <a:pt x="9174" y="6436"/>
                </a:cubicBezTo>
                <a:cubicBezTo>
                  <a:pt x="9174" y="6449"/>
                  <a:pt x="9164" y="6460"/>
                  <a:pt x="9151" y="6460"/>
                </a:cubicBezTo>
                <a:lnTo>
                  <a:pt x="9151" y="6460"/>
                </a:lnTo>
                <a:cubicBezTo>
                  <a:pt x="9138" y="6460"/>
                  <a:pt x="9127" y="6449"/>
                  <a:pt x="9127" y="6436"/>
                </a:cubicBezTo>
                <a:cubicBezTo>
                  <a:pt x="9127" y="6423"/>
                  <a:pt x="9138" y="6413"/>
                  <a:pt x="9151" y="6413"/>
                </a:cubicBezTo>
                <a:close/>
                <a:moveTo>
                  <a:pt x="9292" y="6413"/>
                </a:moveTo>
                <a:lnTo>
                  <a:pt x="9292" y="6413"/>
                </a:lnTo>
                <a:cubicBezTo>
                  <a:pt x="9305" y="6413"/>
                  <a:pt x="9315" y="6423"/>
                  <a:pt x="9315" y="6436"/>
                </a:cubicBezTo>
                <a:cubicBezTo>
                  <a:pt x="9315" y="6449"/>
                  <a:pt x="9305" y="6460"/>
                  <a:pt x="9292" y="6460"/>
                </a:cubicBezTo>
                <a:lnTo>
                  <a:pt x="9292" y="6460"/>
                </a:lnTo>
                <a:cubicBezTo>
                  <a:pt x="9279" y="6460"/>
                  <a:pt x="9268" y="6449"/>
                  <a:pt x="9268" y="6436"/>
                </a:cubicBezTo>
                <a:cubicBezTo>
                  <a:pt x="9268" y="6423"/>
                  <a:pt x="9279" y="6413"/>
                  <a:pt x="9292" y="6413"/>
                </a:cubicBezTo>
                <a:close/>
                <a:moveTo>
                  <a:pt x="9432" y="6413"/>
                </a:moveTo>
                <a:lnTo>
                  <a:pt x="9432" y="6413"/>
                </a:lnTo>
                <a:cubicBezTo>
                  <a:pt x="9445" y="6413"/>
                  <a:pt x="9456" y="6423"/>
                  <a:pt x="9456" y="6436"/>
                </a:cubicBezTo>
                <a:cubicBezTo>
                  <a:pt x="9456" y="6449"/>
                  <a:pt x="9445" y="6460"/>
                  <a:pt x="9432" y="6460"/>
                </a:cubicBezTo>
                <a:lnTo>
                  <a:pt x="9432" y="6460"/>
                </a:lnTo>
                <a:cubicBezTo>
                  <a:pt x="9419" y="6460"/>
                  <a:pt x="9409" y="6449"/>
                  <a:pt x="9409" y="6436"/>
                </a:cubicBezTo>
                <a:cubicBezTo>
                  <a:pt x="9409" y="6423"/>
                  <a:pt x="9419" y="6413"/>
                  <a:pt x="9432" y="6413"/>
                </a:cubicBezTo>
                <a:close/>
                <a:moveTo>
                  <a:pt x="9573" y="6413"/>
                </a:moveTo>
                <a:lnTo>
                  <a:pt x="9573" y="6413"/>
                </a:lnTo>
                <a:cubicBezTo>
                  <a:pt x="9586" y="6413"/>
                  <a:pt x="9597" y="6423"/>
                  <a:pt x="9597" y="6436"/>
                </a:cubicBezTo>
                <a:cubicBezTo>
                  <a:pt x="9597" y="6449"/>
                  <a:pt x="9586" y="6460"/>
                  <a:pt x="9573" y="6460"/>
                </a:cubicBezTo>
                <a:lnTo>
                  <a:pt x="9573" y="6460"/>
                </a:lnTo>
                <a:cubicBezTo>
                  <a:pt x="9560" y="6460"/>
                  <a:pt x="9550" y="6449"/>
                  <a:pt x="9550" y="6436"/>
                </a:cubicBezTo>
                <a:cubicBezTo>
                  <a:pt x="9550" y="6423"/>
                  <a:pt x="9560" y="6413"/>
                  <a:pt x="9573" y="6413"/>
                </a:cubicBezTo>
                <a:close/>
                <a:moveTo>
                  <a:pt x="9714" y="6413"/>
                </a:moveTo>
                <a:lnTo>
                  <a:pt x="9714" y="6413"/>
                </a:lnTo>
                <a:cubicBezTo>
                  <a:pt x="9727" y="6413"/>
                  <a:pt x="9738" y="6423"/>
                  <a:pt x="9738" y="6436"/>
                </a:cubicBezTo>
                <a:cubicBezTo>
                  <a:pt x="9738" y="6449"/>
                  <a:pt x="9727" y="6460"/>
                  <a:pt x="9714" y="6460"/>
                </a:cubicBezTo>
                <a:lnTo>
                  <a:pt x="9714" y="6460"/>
                </a:lnTo>
                <a:cubicBezTo>
                  <a:pt x="9701" y="6460"/>
                  <a:pt x="9691" y="6449"/>
                  <a:pt x="9691" y="6436"/>
                </a:cubicBezTo>
                <a:cubicBezTo>
                  <a:pt x="9691" y="6423"/>
                  <a:pt x="9701" y="6413"/>
                  <a:pt x="9714" y="6413"/>
                </a:cubicBezTo>
                <a:close/>
                <a:moveTo>
                  <a:pt x="9855" y="6413"/>
                </a:moveTo>
                <a:lnTo>
                  <a:pt x="9855" y="6413"/>
                </a:lnTo>
                <a:cubicBezTo>
                  <a:pt x="9868" y="6413"/>
                  <a:pt x="9878" y="6423"/>
                  <a:pt x="9878" y="6436"/>
                </a:cubicBezTo>
                <a:cubicBezTo>
                  <a:pt x="9878" y="6449"/>
                  <a:pt x="9868" y="6460"/>
                  <a:pt x="9855" y="6460"/>
                </a:cubicBezTo>
                <a:lnTo>
                  <a:pt x="9855" y="6460"/>
                </a:lnTo>
                <a:cubicBezTo>
                  <a:pt x="9842" y="6460"/>
                  <a:pt x="9831" y="6449"/>
                  <a:pt x="9831" y="6436"/>
                </a:cubicBezTo>
                <a:cubicBezTo>
                  <a:pt x="9831" y="6423"/>
                  <a:pt x="9842" y="6413"/>
                  <a:pt x="9855" y="6413"/>
                </a:cubicBezTo>
                <a:close/>
                <a:moveTo>
                  <a:pt x="9996" y="6413"/>
                </a:moveTo>
                <a:lnTo>
                  <a:pt x="9996" y="6413"/>
                </a:lnTo>
                <a:cubicBezTo>
                  <a:pt x="10009" y="6413"/>
                  <a:pt x="10019" y="6423"/>
                  <a:pt x="10019" y="6436"/>
                </a:cubicBezTo>
                <a:cubicBezTo>
                  <a:pt x="10019" y="6449"/>
                  <a:pt x="10009" y="6460"/>
                  <a:pt x="9996" y="6460"/>
                </a:cubicBezTo>
                <a:lnTo>
                  <a:pt x="9996" y="6460"/>
                </a:lnTo>
                <a:cubicBezTo>
                  <a:pt x="9983" y="6460"/>
                  <a:pt x="9972" y="6449"/>
                  <a:pt x="9972" y="6436"/>
                </a:cubicBezTo>
                <a:cubicBezTo>
                  <a:pt x="9972" y="6423"/>
                  <a:pt x="9983" y="6413"/>
                  <a:pt x="9996" y="6413"/>
                </a:cubicBezTo>
                <a:close/>
                <a:moveTo>
                  <a:pt x="10137" y="6413"/>
                </a:moveTo>
                <a:lnTo>
                  <a:pt x="10137" y="6413"/>
                </a:lnTo>
                <a:cubicBezTo>
                  <a:pt x="10150" y="6413"/>
                  <a:pt x="10160" y="6423"/>
                  <a:pt x="10160" y="6436"/>
                </a:cubicBezTo>
                <a:cubicBezTo>
                  <a:pt x="10160" y="6449"/>
                  <a:pt x="10150" y="6460"/>
                  <a:pt x="10137" y="6460"/>
                </a:cubicBezTo>
                <a:lnTo>
                  <a:pt x="10137" y="6460"/>
                </a:lnTo>
                <a:cubicBezTo>
                  <a:pt x="10124" y="6460"/>
                  <a:pt x="10113" y="6449"/>
                  <a:pt x="10113" y="6436"/>
                </a:cubicBezTo>
                <a:cubicBezTo>
                  <a:pt x="10113" y="6423"/>
                  <a:pt x="10124" y="6413"/>
                  <a:pt x="10137" y="6413"/>
                </a:cubicBezTo>
                <a:close/>
                <a:moveTo>
                  <a:pt x="10277" y="6413"/>
                </a:moveTo>
                <a:lnTo>
                  <a:pt x="10277" y="6413"/>
                </a:lnTo>
                <a:cubicBezTo>
                  <a:pt x="10290" y="6413"/>
                  <a:pt x="10301" y="6423"/>
                  <a:pt x="10301" y="6436"/>
                </a:cubicBezTo>
                <a:cubicBezTo>
                  <a:pt x="10301" y="6449"/>
                  <a:pt x="10290" y="6460"/>
                  <a:pt x="10277" y="6460"/>
                </a:cubicBezTo>
                <a:lnTo>
                  <a:pt x="10277" y="6460"/>
                </a:lnTo>
                <a:cubicBezTo>
                  <a:pt x="10264" y="6460"/>
                  <a:pt x="10254" y="6449"/>
                  <a:pt x="10254" y="6436"/>
                </a:cubicBezTo>
                <a:cubicBezTo>
                  <a:pt x="10254" y="6423"/>
                  <a:pt x="10264" y="6413"/>
                  <a:pt x="10277" y="6413"/>
                </a:cubicBezTo>
                <a:close/>
                <a:moveTo>
                  <a:pt x="10418" y="6413"/>
                </a:moveTo>
                <a:lnTo>
                  <a:pt x="10418" y="6413"/>
                </a:lnTo>
                <a:cubicBezTo>
                  <a:pt x="10431" y="6413"/>
                  <a:pt x="10442" y="6423"/>
                  <a:pt x="10442" y="6436"/>
                </a:cubicBezTo>
                <a:cubicBezTo>
                  <a:pt x="10442" y="6449"/>
                  <a:pt x="10431" y="6460"/>
                  <a:pt x="10418" y="6460"/>
                </a:cubicBezTo>
                <a:lnTo>
                  <a:pt x="10418" y="6460"/>
                </a:lnTo>
                <a:cubicBezTo>
                  <a:pt x="10405" y="6460"/>
                  <a:pt x="10395" y="6449"/>
                  <a:pt x="10395" y="6436"/>
                </a:cubicBezTo>
                <a:cubicBezTo>
                  <a:pt x="10395" y="6423"/>
                  <a:pt x="10405" y="6413"/>
                  <a:pt x="10418" y="6413"/>
                </a:cubicBezTo>
                <a:close/>
                <a:moveTo>
                  <a:pt x="10559" y="6413"/>
                </a:moveTo>
                <a:lnTo>
                  <a:pt x="10559" y="6413"/>
                </a:lnTo>
                <a:cubicBezTo>
                  <a:pt x="10572" y="6413"/>
                  <a:pt x="10583" y="6423"/>
                  <a:pt x="10583" y="6436"/>
                </a:cubicBezTo>
                <a:cubicBezTo>
                  <a:pt x="10583" y="6449"/>
                  <a:pt x="10572" y="6460"/>
                  <a:pt x="10559" y="6460"/>
                </a:cubicBezTo>
                <a:lnTo>
                  <a:pt x="10559" y="6460"/>
                </a:lnTo>
                <a:cubicBezTo>
                  <a:pt x="10546" y="6460"/>
                  <a:pt x="10536" y="6449"/>
                  <a:pt x="10536" y="6436"/>
                </a:cubicBezTo>
                <a:cubicBezTo>
                  <a:pt x="10536" y="6423"/>
                  <a:pt x="10546" y="6413"/>
                  <a:pt x="10559" y="6413"/>
                </a:cubicBezTo>
                <a:close/>
                <a:moveTo>
                  <a:pt x="10700" y="6413"/>
                </a:moveTo>
                <a:lnTo>
                  <a:pt x="10700" y="6413"/>
                </a:lnTo>
                <a:cubicBezTo>
                  <a:pt x="10713" y="6413"/>
                  <a:pt x="10724" y="6423"/>
                  <a:pt x="10724" y="6436"/>
                </a:cubicBezTo>
                <a:cubicBezTo>
                  <a:pt x="10724" y="6449"/>
                  <a:pt x="10713" y="6460"/>
                  <a:pt x="10700" y="6460"/>
                </a:cubicBezTo>
                <a:lnTo>
                  <a:pt x="10700" y="6460"/>
                </a:lnTo>
                <a:cubicBezTo>
                  <a:pt x="10687" y="6460"/>
                  <a:pt x="10677" y="6449"/>
                  <a:pt x="10677" y="6436"/>
                </a:cubicBezTo>
                <a:cubicBezTo>
                  <a:pt x="10677" y="6423"/>
                  <a:pt x="10687" y="6413"/>
                  <a:pt x="10700" y="6413"/>
                </a:cubicBezTo>
                <a:close/>
                <a:moveTo>
                  <a:pt x="10841" y="6413"/>
                </a:moveTo>
                <a:lnTo>
                  <a:pt x="10841" y="6413"/>
                </a:lnTo>
                <a:cubicBezTo>
                  <a:pt x="10854" y="6413"/>
                  <a:pt x="10864" y="6423"/>
                  <a:pt x="10864" y="6436"/>
                </a:cubicBezTo>
                <a:cubicBezTo>
                  <a:pt x="10864" y="6449"/>
                  <a:pt x="10854" y="6460"/>
                  <a:pt x="10841" y="6460"/>
                </a:cubicBezTo>
                <a:lnTo>
                  <a:pt x="10841" y="6460"/>
                </a:lnTo>
                <a:cubicBezTo>
                  <a:pt x="10828" y="6460"/>
                  <a:pt x="10817" y="6449"/>
                  <a:pt x="10817" y="6436"/>
                </a:cubicBezTo>
                <a:cubicBezTo>
                  <a:pt x="10817" y="6423"/>
                  <a:pt x="10828" y="6413"/>
                  <a:pt x="10841" y="6413"/>
                </a:cubicBezTo>
                <a:close/>
                <a:moveTo>
                  <a:pt x="10982" y="6413"/>
                </a:moveTo>
                <a:lnTo>
                  <a:pt x="10982" y="6413"/>
                </a:lnTo>
                <a:cubicBezTo>
                  <a:pt x="10995" y="6413"/>
                  <a:pt x="11005" y="6423"/>
                  <a:pt x="11005" y="6436"/>
                </a:cubicBezTo>
                <a:cubicBezTo>
                  <a:pt x="11005" y="6449"/>
                  <a:pt x="10995" y="6460"/>
                  <a:pt x="10982" y="6460"/>
                </a:cubicBezTo>
                <a:lnTo>
                  <a:pt x="10982" y="6460"/>
                </a:lnTo>
                <a:cubicBezTo>
                  <a:pt x="10969" y="6460"/>
                  <a:pt x="10958" y="6449"/>
                  <a:pt x="10958" y="6436"/>
                </a:cubicBezTo>
                <a:cubicBezTo>
                  <a:pt x="10958" y="6423"/>
                  <a:pt x="10969" y="6413"/>
                  <a:pt x="10982" y="6413"/>
                </a:cubicBezTo>
                <a:close/>
                <a:moveTo>
                  <a:pt x="11123" y="6413"/>
                </a:moveTo>
                <a:lnTo>
                  <a:pt x="11123" y="6413"/>
                </a:lnTo>
                <a:cubicBezTo>
                  <a:pt x="11136" y="6413"/>
                  <a:pt x="11146" y="6423"/>
                  <a:pt x="11146" y="6436"/>
                </a:cubicBezTo>
                <a:cubicBezTo>
                  <a:pt x="11146" y="6449"/>
                  <a:pt x="11136" y="6460"/>
                  <a:pt x="11123" y="6460"/>
                </a:cubicBezTo>
                <a:lnTo>
                  <a:pt x="11123" y="6460"/>
                </a:lnTo>
                <a:cubicBezTo>
                  <a:pt x="11110" y="6460"/>
                  <a:pt x="11099" y="6449"/>
                  <a:pt x="11099" y="6436"/>
                </a:cubicBezTo>
                <a:cubicBezTo>
                  <a:pt x="11099" y="6423"/>
                  <a:pt x="11110" y="6413"/>
                  <a:pt x="11123" y="6413"/>
                </a:cubicBezTo>
                <a:close/>
                <a:moveTo>
                  <a:pt x="11263" y="6413"/>
                </a:moveTo>
                <a:lnTo>
                  <a:pt x="11263" y="6413"/>
                </a:lnTo>
                <a:cubicBezTo>
                  <a:pt x="11276" y="6413"/>
                  <a:pt x="11287" y="6423"/>
                  <a:pt x="11287" y="6436"/>
                </a:cubicBezTo>
                <a:cubicBezTo>
                  <a:pt x="11287" y="6449"/>
                  <a:pt x="11276" y="6460"/>
                  <a:pt x="11263" y="6460"/>
                </a:cubicBezTo>
                <a:lnTo>
                  <a:pt x="11263" y="6460"/>
                </a:lnTo>
                <a:cubicBezTo>
                  <a:pt x="11250" y="6460"/>
                  <a:pt x="11240" y="6449"/>
                  <a:pt x="11240" y="6436"/>
                </a:cubicBezTo>
                <a:cubicBezTo>
                  <a:pt x="11240" y="6423"/>
                  <a:pt x="11250" y="6413"/>
                  <a:pt x="11263" y="6413"/>
                </a:cubicBezTo>
                <a:close/>
                <a:moveTo>
                  <a:pt x="11404" y="6413"/>
                </a:moveTo>
                <a:lnTo>
                  <a:pt x="11404" y="6413"/>
                </a:lnTo>
                <a:cubicBezTo>
                  <a:pt x="11417" y="6413"/>
                  <a:pt x="11428" y="6423"/>
                  <a:pt x="11428" y="6436"/>
                </a:cubicBezTo>
                <a:cubicBezTo>
                  <a:pt x="11428" y="6449"/>
                  <a:pt x="11417" y="6460"/>
                  <a:pt x="11404" y="6460"/>
                </a:cubicBezTo>
                <a:lnTo>
                  <a:pt x="11404" y="6460"/>
                </a:lnTo>
                <a:cubicBezTo>
                  <a:pt x="11391" y="6460"/>
                  <a:pt x="11381" y="6449"/>
                  <a:pt x="11381" y="6436"/>
                </a:cubicBezTo>
                <a:cubicBezTo>
                  <a:pt x="11381" y="6423"/>
                  <a:pt x="11391" y="6413"/>
                  <a:pt x="11404" y="6413"/>
                </a:cubicBezTo>
                <a:close/>
                <a:moveTo>
                  <a:pt x="11545" y="6413"/>
                </a:moveTo>
                <a:lnTo>
                  <a:pt x="11545" y="6413"/>
                </a:lnTo>
                <a:cubicBezTo>
                  <a:pt x="11558" y="6413"/>
                  <a:pt x="11569" y="6423"/>
                  <a:pt x="11569" y="6436"/>
                </a:cubicBezTo>
                <a:cubicBezTo>
                  <a:pt x="11569" y="6449"/>
                  <a:pt x="11558" y="6460"/>
                  <a:pt x="11545" y="6460"/>
                </a:cubicBezTo>
                <a:lnTo>
                  <a:pt x="11545" y="6460"/>
                </a:lnTo>
                <a:cubicBezTo>
                  <a:pt x="11532" y="6460"/>
                  <a:pt x="11522" y="6449"/>
                  <a:pt x="11522" y="6436"/>
                </a:cubicBezTo>
                <a:cubicBezTo>
                  <a:pt x="11522" y="6423"/>
                  <a:pt x="11532" y="6413"/>
                  <a:pt x="11545" y="6413"/>
                </a:cubicBezTo>
                <a:close/>
                <a:moveTo>
                  <a:pt x="11686" y="6413"/>
                </a:moveTo>
                <a:lnTo>
                  <a:pt x="11686" y="6413"/>
                </a:lnTo>
                <a:cubicBezTo>
                  <a:pt x="11699" y="6413"/>
                  <a:pt x="11709" y="6423"/>
                  <a:pt x="11709" y="6436"/>
                </a:cubicBezTo>
                <a:cubicBezTo>
                  <a:pt x="11709" y="6449"/>
                  <a:pt x="11699" y="6460"/>
                  <a:pt x="11686" y="6460"/>
                </a:cubicBezTo>
                <a:lnTo>
                  <a:pt x="11686" y="6460"/>
                </a:lnTo>
                <a:cubicBezTo>
                  <a:pt x="11673" y="6460"/>
                  <a:pt x="11662" y="6449"/>
                  <a:pt x="11662" y="6436"/>
                </a:cubicBezTo>
                <a:cubicBezTo>
                  <a:pt x="11662" y="6423"/>
                  <a:pt x="11673" y="6413"/>
                  <a:pt x="11686" y="6413"/>
                </a:cubicBezTo>
                <a:close/>
                <a:moveTo>
                  <a:pt x="11718" y="6351"/>
                </a:moveTo>
                <a:lnTo>
                  <a:pt x="11718" y="6351"/>
                </a:lnTo>
                <a:cubicBezTo>
                  <a:pt x="11718" y="6338"/>
                  <a:pt x="11729" y="6327"/>
                  <a:pt x="11742" y="6327"/>
                </a:cubicBezTo>
                <a:cubicBezTo>
                  <a:pt x="11755" y="6327"/>
                  <a:pt x="11765" y="6338"/>
                  <a:pt x="11765" y="6351"/>
                </a:cubicBezTo>
                <a:lnTo>
                  <a:pt x="11765" y="6351"/>
                </a:lnTo>
                <a:cubicBezTo>
                  <a:pt x="11765" y="6364"/>
                  <a:pt x="11755" y="6374"/>
                  <a:pt x="11742" y="6374"/>
                </a:cubicBezTo>
                <a:cubicBezTo>
                  <a:pt x="11729" y="6374"/>
                  <a:pt x="11718" y="6364"/>
                  <a:pt x="11718" y="6351"/>
                </a:cubicBezTo>
                <a:close/>
                <a:moveTo>
                  <a:pt x="11718" y="6210"/>
                </a:moveTo>
                <a:lnTo>
                  <a:pt x="11718" y="6210"/>
                </a:lnTo>
                <a:cubicBezTo>
                  <a:pt x="11718" y="6197"/>
                  <a:pt x="11729" y="6187"/>
                  <a:pt x="11742" y="6187"/>
                </a:cubicBezTo>
                <a:cubicBezTo>
                  <a:pt x="11755" y="6187"/>
                  <a:pt x="11765" y="6197"/>
                  <a:pt x="11765" y="6210"/>
                </a:cubicBezTo>
                <a:lnTo>
                  <a:pt x="11765" y="6210"/>
                </a:lnTo>
                <a:cubicBezTo>
                  <a:pt x="11765" y="6223"/>
                  <a:pt x="11755" y="6234"/>
                  <a:pt x="11742" y="6234"/>
                </a:cubicBezTo>
                <a:cubicBezTo>
                  <a:pt x="11729" y="6234"/>
                  <a:pt x="11718" y="6223"/>
                  <a:pt x="11718" y="6210"/>
                </a:cubicBezTo>
                <a:close/>
                <a:moveTo>
                  <a:pt x="11718" y="6069"/>
                </a:moveTo>
                <a:lnTo>
                  <a:pt x="11718" y="6069"/>
                </a:lnTo>
                <a:cubicBezTo>
                  <a:pt x="11718" y="6056"/>
                  <a:pt x="11729" y="6046"/>
                  <a:pt x="11742" y="6046"/>
                </a:cubicBezTo>
                <a:cubicBezTo>
                  <a:pt x="11755" y="6046"/>
                  <a:pt x="11765" y="6056"/>
                  <a:pt x="11765" y="6069"/>
                </a:cubicBezTo>
                <a:lnTo>
                  <a:pt x="11765" y="6069"/>
                </a:lnTo>
                <a:cubicBezTo>
                  <a:pt x="11765" y="6082"/>
                  <a:pt x="11755" y="6093"/>
                  <a:pt x="11742" y="6093"/>
                </a:cubicBezTo>
                <a:cubicBezTo>
                  <a:pt x="11729" y="6093"/>
                  <a:pt x="11718" y="6082"/>
                  <a:pt x="11718" y="6069"/>
                </a:cubicBezTo>
                <a:close/>
                <a:moveTo>
                  <a:pt x="11718" y="5928"/>
                </a:moveTo>
                <a:lnTo>
                  <a:pt x="11718" y="5928"/>
                </a:lnTo>
                <a:cubicBezTo>
                  <a:pt x="11718" y="5915"/>
                  <a:pt x="11729" y="5905"/>
                  <a:pt x="11742" y="5905"/>
                </a:cubicBezTo>
                <a:cubicBezTo>
                  <a:pt x="11755" y="5905"/>
                  <a:pt x="11765" y="5915"/>
                  <a:pt x="11765" y="5928"/>
                </a:cubicBezTo>
                <a:lnTo>
                  <a:pt x="11765" y="5928"/>
                </a:lnTo>
                <a:cubicBezTo>
                  <a:pt x="11765" y="5941"/>
                  <a:pt x="11755" y="5952"/>
                  <a:pt x="11742" y="5952"/>
                </a:cubicBezTo>
                <a:cubicBezTo>
                  <a:pt x="11729" y="5952"/>
                  <a:pt x="11718" y="5941"/>
                  <a:pt x="11718" y="5928"/>
                </a:cubicBezTo>
                <a:close/>
                <a:moveTo>
                  <a:pt x="11718" y="5788"/>
                </a:moveTo>
                <a:lnTo>
                  <a:pt x="11718" y="5787"/>
                </a:lnTo>
                <a:cubicBezTo>
                  <a:pt x="11718" y="5775"/>
                  <a:pt x="11729" y="5764"/>
                  <a:pt x="11742" y="5764"/>
                </a:cubicBezTo>
                <a:cubicBezTo>
                  <a:pt x="11755" y="5764"/>
                  <a:pt x="11765" y="5775"/>
                  <a:pt x="11765" y="5787"/>
                </a:cubicBezTo>
                <a:lnTo>
                  <a:pt x="11765" y="5788"/>
                </a:lnTo>
                <a:cubicBezTo>
                  <a:pt x="11765" y="5800"/>
                  <a:pt x="11755" y="5811"/>
                  <a:pt x="11742" y="5811"/>
                </a:cubicBezTo>
                <a:cubicBezTo>
                  <a:pt x="11729" y="5811"/>
                  <a:pt x="11718" y="5800"/>
                  <a:pt x="11718" y="5788"/>
                </a:cubicBezTo>
                <a:close/>
                <a:moveTo>
                  <a:pt x="11718" y="5647"/>
                </a:moveTo>
                <a:lnTo>
                  <a:pt x="11718" y="5647"/>
                </a:lnTo>
                <a:cubicBezTo>
                  <a:pt x="11718" y="5634"/>
                  <a:pt x="11729" y="5623"/>
                  <a:pt x="11742" y="5623"/>
                </a:cubicBezTo>
                <a:cubicBezTo>
                  <a:pt x="11755" y="5623"/>
                  <a:pt x="11765" y="5634"/>
                  <a:pt x="11765" y="5647"/>
                </a:cubicBezTo>
                <a:lnTo>
                  <a:pt x="11765" y="5647"/>
                </a:lnTo>
                <a:cubicBezTo>
                  <a:pt x="11765" y="5660"/>
                  <a:pt x="11755" y="5670"/>
                  <a:pt x="11742" y="5670"/>
                </a:cubicBezTo>
                <a:cubicBezTo>
                  <a:pt x="11729" y="5670"/>
                  <a:pt x="11718" y="5660"/>
                  <a:pt x="11718" y="5647"/>
                </a:cubicBezTo>
                <a:close/>
                <a:moveTo>
                  <a:pt x="11718" y="5506"/>
                </a:moveTo>
                <a:lnTo>
                  <a:pt x="11718" y="5506"/>
                </a:lnTo>
                <a:cubicBezTo>
                  <a:pt x="11718" y="5493"/>
                  <a:pt x="11729" y="5482"/>
                  <a:pt x="11742" y="5482"/>
                </a:cubicBezTo>
                <a:cubicBezTo>
                  <a:pt x="11755" y="5482"/>
                  <a:pt x="11765" y="5493"/>
                  <a:pt x="11765" y="5506"/>
                </a:cubicBezTo>
                <a:lnTo>
                  <a:pt x="11765" y="5506"/>
                </a:lnTo>
                <a:cubicBezTo>
                  <a:pt x="11765" y="5519"/>
                  <a:pt x="11755" y="5529"/>
                  <a:pt x="11742" y="5529"/>
                </a:cubicBezTo>
                <a:cubicBezTo>
                  <a:pt x="11729" y="5529"/>
                  <a:pt x="11718" y="5519"/>
                  <a:pt x="11718" y="5506"/>
                </a:cubicBezTo>
                <a:close/>
                <a:moveTo>
                  <a:pt x="11718" y="5365"/>
                </a:moveTo>
                <a:lnTo>
                  <a:pt x="11718" y="5365"/>
                </a:lnTo>
                <a:cubicBezTo>
                  <a:pt x="11718" y="5352"/>
                  <a:pt x="11729" y="5341"/>
                  <a:pt x="11742" y="5341"/>
                </a:cubicBezTo>
                <a:cubicBezTo>
                  <a:pt x="11755" y="5341"/>
                  <a:pt x="11765" y="5352"/>
                  <a:pt x="11765" y="5365"/>
                </a:cubicBezTo>
                <a:lnTo>
                  <a:pt x="11765" y="5365"/>
                </a:lnTo>
                <a:cubicBezTo>
                  <a:pt x="11765" y="5378"/>
                  <a:pt x="11755" y="5388"/>
                  <a:pt x="11742" y="5388"/>
                </a:cubicBezTo>
                <a:cubicBezTo>
                  <a:pt x="11729" y="5388"/>
                  <a:pt x="11718" y="5378"/>
                  <a:pt x="11718" y="5365"/>
                </a:cubicBezTo>
                <a:close/>
                <a:moveTo>
                  <a:pt x="11718" y="5224"/>
                </a:moveTo>
                <a:lnTo>
                  <a:pt x="11718" y="5224"/>
                </a:lnTo>
                <a:cubicBezTo>
                  <a:pt x="11718" y="5211"/>
                  <a:pt x="11729" y="5201"/>
                  <a:pt x="11742" y="5201"/>
                </a:cubicBezTo>
                <a:cubicBezTo>
                  <a:pt x="11755" y="5201"/>
                  <a:pt x="11765" y="5211"/>
                  <a:pt x="11765" y="5224"/>
                </a:cubicBezTo>
                <a:lnTo>
                  <a:pt x="11765" y="5224"/>
                </a:lnTo>
                <a:cubicBezTo>
                  <a:pt x="11765" y="5237"/>
                  <a:pt x="11755" y="5248"/>
                  <a:pt x="11742" y="5248"/>
                </a:cubicBezTo>
                <a:cubicBezTo>
                  <a:pt x="11729" y="5248"/>
                  <a:pt x="11718" y="5237"/>
                  <a:pt x="11718" y="5224"/>
                </a:cubicBezTo>
                <a:close/>
                <a:moveTo>
                  <a:pt x="11718" y="5083"/>
                </a:moveTo>
                <a:lnTo>
                  <a:pt x="11718" y="5083"/>
                </a:lnTo>
                <a:cubicBezTo>
                  <a:pt x="11718" y="5070"/>
                  <a:pt x="11729" y="5060"/>
                  <a:pt x="11742" y="5060"/>
                </a:cubicBezTo>
                <a:cubicBezTo>
                  <a:pt x="11755" y="5060"/>
                  <a:pt x="11765" y="5070"/>
                  <a:pt x="11765" y="5083"/>
                </a:cubicBezTo>
                <a:lnTo>
                  <a:pt x="11765" y="5083"/>
                </a:lnTo>
                <a:cubicBezTo>
                  <a:pt x="11765" y="5096"/>
                  <a:pt x="11755" y="5107"/>
                  <a:pt x="11742" y="5107"/>
                </a:cubicBezTo>
                <a:cubicBezTo>
                  <a:pt x="11729" y="5107"/>
                  <a:pt x="11718" y="5096"/>
                  <a:pt x="11718" y="5083"/>
                </a:cubicBezTo>
                <a:close/>
                <a:moveTo>
                  <a:pt x="11718" y="4942"/>
                </a:moveTo>
                <a:lnTo>
                  <a:pt x="11718" y="4942"/>
                </a:lnTo>
                <a:cubicBezTo>
                  <a:pt x="11718" y="4929"/>
                  <a:pt x="11729" y="4919"/>
                  <a:pt x="11742" y="4919"/>
                </a:cubicBezTo>
                <a:cubicBezTo>
                  <a:pt x="11755" y="4919"/>
                  <a:pt x="11765" y="4929"/>
                  <a:pt x="11765" y="4942"/>
                </a:cubicBezTo>
                <a:lnTo>
                  <a:pt x="11765" y="4942"/>
                </a:lnTo>
                <a:cubicBezTo>
                  <a:pt x="11765" y="4955"/>
                  <a:pt x="11755" y="4966"/>
                  <a:pt x="11742" y="4966"/>
                </a:cubicBezTo>
                <a:cubicBezTo>
                  <a:pt x="11729" y="4966"/>
                  <a:pt x="11718" y="4955"/>
                  <a:pt x="11718" y="4942"/>
                </a:cubicBezTo>
                <a:close/>
                <a:moveTo>
                  <a:pt x="11718" y="4802"/>
                </a:moveTo>
                <a:lnTo>
                  <a:pt x="11718" y="4802"/>
                </a:lnTo>
                <a:cubicBezTo>
                  <a:pt x="11718" y="4789"/>
                  <a:pt x="11729" y="4778"/>
                  <a:pt x="11742" y="4778"/>
                </a:cubicBezTo>
                <a:cubicBezTo>
                  <a:pt x="11755" y="4778"/>
                  <a:pt x="11765" y="4789"/>
                  <a:pt x="11765" y="4802"/>
                </a:cubicBezTo>
                <a:lnTo>
                  <a:pt x="11765" y="4802"/>
                </a:lnTo>
                <a:cubicBezTo>
                  <a:pt x="11765" y="4815"/>
                  <a:pt x="11755" y="4825"/>
                  <a:pt x="11742" y="4825"/>
                </a:cubicBezTo>
                <a:cubicBezTo>
                  <a:pt x="11729" y="4825"/>
                  <a:pt x="11718" y="4815"/>
                  <a:pt x="11718" y="4802"/>
                </a:cubicBezTo>
                <a:close/>
                <a:moveTo>
                  <a:pt x="11718" y="4661"/>
                </a:moveTo>
                <a:lnTo>
                  <a:pt x="11718" y="4661"/>
                </a:lnTo>
                <a:cubicBezTo>
                  <a:pt x="11718" y="4648"/>
                  <a:pt x="11729" y="4637"/>
                  <a:pt x="11742" y="4637"/>
                </a:cubicBezTo>
                <a:cubicBezTo>
                  <a:pt x="11755" y="4637"/>
                  <a:pt x="11765" y="4648"/>
                  <a:pt x="11765" y="4661"/>
                </a:cubicBezTo>
                <a:lnTo>
                  <a:pt x="11765" y="4661"/>
                </a:lnTo>
                <a:cubicBezTo>
                  <a:pt x="11765" y="4674"/>
                  <a:pt x="11755" y="4684"/>
                  <a:pt x="11742" y="4684"/>
                </a:cubicBezTo>
                <a:cubicBezTo>
                  <a:pt x="11729" y="4684"/>
                  <a:pt x="11718" y="4674"/>
                  <a:pt x="11718" y="4661"/>
                </a:cubicBezTo>
                <a:close/>
                <a:moveTo>
                  <a:pt x="11718" y="4520"/>
                </a:moveTo>
                <a:lnTo>
                  <a:pt x="11718" y="4520"/>
                </a:lnTo>
                <a:cubicBezTo>
                  <a:pt x="11718" y="4507"/>
                  <a:pt x="11729" y="4496"/>
                  <a:pt x="11742" y="4496"/>
                </a:cubicBezTo>
                <a:cubicBezTo>
                  <a:pt x="11755" y="4496"/>
                  <a:pt x="11765" y="4507"/>
                  <a:pt x="11765" y="4520"/>
                </a:cubicBezTo>
                <a:lnTo>
                  <a:pt x="11765" y="4520"/>
                </a:lnTo>
                <a:cubicBezTo>
                  <a:pt x="11765" y="4533"/>
                  <a:pt x="11755" y="4543"/>
                  <a:pt x="11742" y="4543"/>
                </a:cubicBezTo>
                <a:cubicBezTo>
                  <a:pt x="11729" y="4543"/>
                  <a:pt x="11718" y="4533"/>
                  <a:pt x="11718" y="4520"/>
                </a:cubicBezTo>
                <a:close/>
                <a:moveTo>
                  <a:pt x="11718" y="4379"/>
                </a:moveTo>
                <a:lnTo>
                  <a:pt x="11718" y="4379"/>
                </a:lnTo>
                <a:cubicBezTo>
                  <a:pt x="11718" y="4366"/>
                  <a:pt x="11729" y="4356"/>
                  <a:pt x="11742" y="4356"/>
                </a:cubicBezTo>
                <a:cubicBezTo>
                  <a:pt x="11755" y="4356"/>
                  <a:pt x="11765" y="4366"/>
                  <a:pt x="11765" y="4379"/>
                </a:cubicBezTo>
                <a:lnTo>
                  <a:pt x="11765" y="4379"/>
                </a:lnTo>
                <a:cubicBezTo>
                  <a:pt x="11765" y="4392"/>
                  <a:pt x="11755" y="4403"/>
                  <a:pt x="11742" y="4403"/>
                </a:cubicBezTo>
                <a:cubicBezTo>
                  <a:pt x="11729" y="4403"/>
                  <a:pt x="11718" y="4392"/>
                  <a:pt x="11718" y="4379"/>
                </a:cubicBezTo>
                <a:close/>
                <a:moveTo>
                  <a:pt x="11718" y="4238"/>
                </a:moveTo>
                <a:lnTo>
                  <a:pt x="11718" y="4238"/>
                </a:lnTo>
                <a:cubicBezTo>
                  <a:pt x="11718" y="4225"/>
                  <a:pt x="11729" y="4215"/>
                  <a:pt x="11742" y="4215"/>
                </a:cubicBezTo>
                <a:cubicBezTo>
                  <a:pt x="11755" y="4215"/>
                  <a:pt x="11765" y="4225"/>
                  <a:pt x="11765" y="4238"/>
                </a:cubicBezTo>
                <a:lnTo>
                  <a:pt x="11765" y="4238"/>
                </a:lnTo>
                <a:cubicBezTo>
                  <a:pt x="11765" y="4251"/>
                  <a:pt x="11755" y="4262"/>
                  <a:pt x="11742" y="4262"/>
                </a:cubicBezTo>
                <a:cubicBezTo>
                  <a:pt x="11729" y="4262"/>
                  <a:pt x="11718" y="4251"/>
                  <a:pt x="11718" y="4238"/>
                </a:cubicBezTo>
                <a:close/>
                <a:moveTo>
                  <a:pt x="11718" y="4097"/>
                </a:moveTo>
                <a:lnTo>
                  <a:pt x="11718" y="4097"/>
                </a:lnTo>
                <a:cubicBezTo>
                  <a:pt x="11718" y="4084"/>
                  <a:pt x="11729" y="4074"/>
                  <a:pt x="11742" y="4074"/>
                </a:cubicBezTo>
                <a:cubicBezTo>
                  <a:pt x="11755" y="4074"/>
                  <a:pt x="11765" y="4084"/>
                  <a:pt x="11765" y="4097"/>
                </a:cubicBezTo>
                <a:lnTo>
                  <a:pt x="11765" y="4097"/>
                </a:lnTo>
                <a:cubicBezTo>
                  <a:pt x="11765" y="4110"/>
                  <a:pt x="11755" y="4121"/>
                  <a:pt x="11742" y="4121"/>
                </a:cubicBezTo>
                <a:cubicBezTo>
                  <a:pt x="11729" y="4121"/>
                  <a:pt x="11718" y="4110"/>
                  <a:pt x="11718" y="4097"/>
                </a:cubicBezTo>
                <a:close/>
                <a:moveTo>
                  <a:pt x="11718" y="3957"/>
                </a:moveTo>
                <a:lnTo>
                  <a:pt x="11718" y="3956"/>
                </a:lnTo>
                <a:cubicBezTo>
                  <a:pt x="11718" y="3943"/>
                  <a:pt x="11729" y="3933"/>
                  <a:pt x="11742" y="3933"/>
                </a:cubicBezTo>
                <a:cubicBezTo>
                  <a:pt x="11755" y="3933"/>
                  <a:pt x="11765" y="3943"/>
                  <a:pt x="11765" y="3956"/>
                </a:cubicBezTo>
                <a:lnTo>
                  <a:pt x="11765" y="3957"/>
                </a:lnTo>
                <a:cubicBezTo>
                  <a:pt x="11765" y="3969"/>
                  <a:pt x="11755" y="3980"/>
                  <a:pt x="11742" y="3980"/>
                </a:cubicBezTo>
                <a:cubicBezTo>
                  <a:pt x="11729" y="3980"/>
                  <a:pt x="11718" y="3969"/>
                  <a:pt x="11718" y="3957"/>
                </a:cubicBezTo>
                <a:close/>
                <a:moveTo>
                  <a:pt x="11718" y="3816"/>
                </a:moveTo>
                <a:lnTo>
                  <a:pt x="11718" y="3816"/>
                </a:lnTo>
                <a:cubicBezTo>
                  <a:pt x="11718" y="3803"/>
                  <a:pt x="11729" y="3792"/>
                  <a:pt x="11742" y="3792"/>
                </a:cubicBezTo>
                <a:cubicBezTo>
                  <a:pt x="11755" y="3792"/>
                  <a:pt x="11765" y="3803"/>
                  <a:pt x="11765" y="3816"/>
                </a:cubicBezTo>
                <a:lnTo>
                  <a:pt x="11765" y="3816"/>
                </a:lnTo>
                <a:cubicBezTo>
                  <a:pt x="11765" y="3829"/>
                  <a:pt x="11755" y="3839"/>
                  <a:pt x="11742" y="3839"/>
                </a:cubicBezTo>
                <a:cubicBezTo>
                  <a:pt x="11729" y="3839"/>
                  <a:pt x="11718" y="3829"/>
                  <a:pt x="11718" y="3816"/>
                </a:cubicBezTo>
                <a:close/>
                <a:moveTo>
                  <a:pt x="11718" y="3675"/>
                </a:moveTo>
                <a:lnTo>
                  <a:pt x="11718" y="3675"/>
                </a:lnTo>
                <a:cubicBezTo>
                  <a:pt x="11718" y="3662"/>
                  <a:pt x="11729" y="3651"/>
                  <a:pt x="11742" y="3651"/>
                </a:cubicBezTo>
                <a:cubicBezTo>
                  <a:pt x="11755" y="3651"/>
                  <a:pt x="11765" y="3662"/>
                  <a:pt x="11765" y="3675"/>
                </a:cubicBezTo>
                <a:lnTo>
                  <a:pt x="11765" y="3675"/>
                </a:lnTo>
                <a:cubicBezTo>
                  <a:pt x="11765" y="3688"/>
                  <a:pt x="11755" y="3698"/>
                  <a:pt x="11742" y="3698"/>
                </a:cubicBezTo>
                <a:cubicBezTo>
                  <a:pt x="11729" y="3698"/>
                  <a:pt x="11718" y="3688"/>
                  <a:pt x="11718" y="3675"/>
                </a:cubicBezTo>
                <a:close/>
                <a:moveTo>
                  <a:pt x="11718" y="3534"/>
                </a:moveTo>
                <a:lnTo>
                  <a:pt x="11718" y="3534"/>
                </a:lnTo>
                <a:cubicBezTo>
                  <a:pt x="11718" y="3521"/>
                  <a:pt x="11729" y="3510"/>
                  <a:pt x="11742" y="3510"/>
                </a:cubicBezTo>
                <a:cubicBezTo>
                  <a:pt x="11755" y="3510"/>
                  <a:pt x="11765" y="3521"/>
                  <a:pt x="11765" y="3534"/>
                </a:cubicBezTo>
                <a:lnTo>
                  <a:pt x="11765" y="3534"/>
                </a:lnTo>
                <a:cubicBezTo>
                  <a:pt x="11765" y="3547"/>
                  <a:pt x="11755" y="3557"/>
                  <a:pt x="11742" y="3557"/>
                </a:cubicBezTo>
                <a:cubicBezTo>
                  <a:pt x="11729" y="3557"/>
                  <a:pt x="11718" y="3547"/>
                  <a:pt x="11718" y="3534"/>
                </a:cubicBezTo>
                <a:close/>
                <a:moveTo>
                  <a:pt x="11718" y="3393"/>
                </a:moveTo>
                <a:lnTo>
                  <a:pt x="11718" y="3393"/>
                </a:lnTo>
                <a:cubicBezTo>
                  <a:pt x="11718" y="3380"/>
                  <a:pt x="11729" y="3370"/>
                  <a:pt x="11742" y="3370"/>
                </a:cubicBezTo>
                <a:cubicBezTo>
                  <a:pt x="11755" y="3370"/>
                  <a:pt x="11765" y="3380"/>
                  <a:pt x="11765" y="3393"/>
                </a:cubicBezTo>
                <a:lnTo>
                  <a:pt x="11765" y="3393"/>
                </a:lnTo>
                <a:cubicBezTo>
                  <a:pt x="11765" y="3406"/>
                  <a:pt x="11755" y="3417"/>
                  <a:pt x="11742" y="3417"/>
                </a:cubicBezTo>
                <a:cubicBezTo>
                  <a:pt x="11729" y="3417"/>
                  <a:pt x="11718" y="3406"/>
                  <a:pt x="11718" y="3393"/>
                </a:cubicBezTo>
                <a:close/>
                <a:moveTo>
                  <a:pt x="11718" y="3252"/>
                </a:moveTo>
                <a:lnTo>
                  <a:pt x="11718" y="3252"/>
                </a:lnTo>
                <a:cubicBezTo>
                  <a:pt x="11718" y="3239"/>
                  <a:pt x="11729" y="3229"/>
                  <a:pt x="11742" y="3229"/>
                </a:cubicBezTo>
                <a:cubicBezTo>
                  <a:pt x="11755" y="3229"/>
                  <a:pt x="11765" y="3239"/>
                  <a:pt x="11765" y="3252"/>
                </a:cubicBezTo>
                <a:lnTo>
                  <a:pt x="11765" y="3252"/>
                </a:lnTo>
                <a:cubicBezTo>
                  <a:pt x="11765" y="3265"/>
                  <a:pt x="11755" y="3276"/>
                  <a:pt x="11742" y="3276"/>
                </a:cubicBezTo>
                <a:cubicBezTo>
                  <a:pt x="11729" y="3276"/>
                  <a:pt x="11718" y="3265"/>
                  <a:pt x="11718" y="3252"/>
                </a:cubicBezTo>
                <a:close/>
                <a:moveTo>
                  <a:pt x="11718" y="3111"/>
                </a:moveTo>
                <a:lnTo>
                  <a:pt x="11718" y="3111"/>
                </a:lnTo>
                <a:cubicBezTo>
                  <a:pt x="11718" y="3098"/>
                  <a:pt x="11729" y="3088"/>
                  <a:pt x="11742" y="3088"/>
                </a:cubicBezTo>
                <a:cubicBezTo>
                  <a:pt x="11755" y="3088"/>
                  <a:pt x="11765" y="3098"/>
                  <a:pt x="11765" y="3111"/>
                </a:cubicBezTo>
                <a:lnTo>
                  <a:pt x="11765" y="3111"/>
                </a:lnTo>
                <a:cubicBezTo>
                  <a:pt x="11765" y="3124"/>
                  <a:pt x="11755" y="3135"/>
                  <a:pt x="11742" y="3135"/>
                </a:cubicBezTo>
                <a:cubicBezTo>
                  <a:pt x="11729" y="3135"/>
                  <a:pt x="11718" y="3124"/>
                  <a:pt x="11718" y="3111"/>
                </a:cubicBezTo>
                <a:close/>
                <a:moveTo>
                  <a:pt x="11718" y="2971"/>
                </a:moveTo>
                <a:lnTo>
                  <a:pt x="11718" y="2971"/>
                </a:lnTo>
                <a:cubicBezTo>
                  <a:pt x="11718" y="2958"/>
                  <a:pt x="11729" y="2947"/>
                  <a:pt x="11742" y="2947"/>
                </a:cubicBezTo>
                <a:cubicBezTo>
                  <a:pt x="11755" y="2947"/>
                  <a:pt x="11765" y="2958"/>
                  <a:pt x="11765" y="2971"/>
                </a:cubicBezTo>
                <a:lnTo>
                  <a:pt x="11765" y="2971"/>
                </a:lnTo>
                <a:cubicBezTo>
                  <a:pt x="11765" y="2984"/>
                  <a:pt x="11755" y="2994"/>
                  <a:pt x="11742" y="2994"/>
                </a:cubicBezTo>
                <a:cubicBezTo>
                  <a:pt x="11729" y="2994"/>
                  <a:pt x="11718" y="2984"/>
                  <a:pt x="11718" y="2971"/>
                </a:cubicBezTo>
                <a:close/>
                <a:moveTo>
                  <a:pt x="11718" y="2830"/>
                </a:moveTo>
                <a:lnTo>
                  <a:pt x="11718" y="2830"/>
                </a:lnTo>
                <a:cubicBezTo>
                  <a:pt x="11718" y="2817"/>
                  <a:pt x="11729" y="2806"/>
                  <a:pt x="11742" y="2806"/>
                </a:cubicBezTo>
                <a:cubicBezTo>
                  <a:pt x="11755" y="2806"/>
                  <a:pt x="11765" y="2817"/>
                  <a:pt x="11765" y="2830"/>
                </a:cubicBezTo>
                <a:lnTo>
                  <a:pt x="11765" y="2830"/>
                </a:lnTo>
                <a:cubicBezTo>
                  <a:pt x="11765" y="2843"/>
                  <a:pt x="11755" y="2853"/>
                  <a:pt x="11742" y="2853"/>
                </a:cubicBezTo>
                <a:cubicBezTo>
                  <a:pt x="11729" y="2853"/>
                  <a:pt x="11718" y="2843"/>
                  <a:pt x="11718" y="2830"/>
                </a:cubicBezTo>
                <a:close/>
                <a:moveTo>
                  <a:pt x="11718" y="2689"/>
                </a:moveTo>
                <a:lnTo>
                  <a:pt x="11718" y="2689"/>
                </a:lnTo>
                <a:cubicBezTo>
                  <a:pt x="11718" y="2676"/>
                  <a:pt x="11729" y="2665"/>
                  <a:pt x="11742" y="2665"/>
                </a:cubicBezTo>
                <a:cubicBezTo>
                  <a:pt x="11755" y="2665"/>
                  <a:pt x="11765" y="2676"/>
                  <a:pt x="11765" y="2689"/>
                </a:cubicBezTo>
                <a:lnTo>
                  <a:pt x="11765" y="2689"/>
                </a:lnTo>
                <a:cubicBezTo>
                  <a:pt x="11765" y="2702"/>
                  <a:pt x="11755" y="2712"/>
                  <a:pt x="11742" y="2712"/>
                </a:cubicBezTo>
                <a:cubicBezTo>
                  <a:pt x="11729" y="2712"/>
                  <a:pt x="11718" y="2702"/>
                  <a:pt x="11718" y="2689"/>
                </a:cubicBezTo>
                <a:close/>
                <a:moveTo>
                  <a:pt x="11718" y="2548"/>
                </a:moveTo>
                <a:lnTo>
                  <a:pt x="11718" y="2548"/>
                </a:lnTo>
                <a:cubicBezTo>
                  <a:pt x="11718" y="2535"/>
                  <a:pt x="11729" y="2525"/>
                  <a:pt x="11742" y="2525"/>
                </a:cubicBezTo>
                <a:cubicBezTo>
                  <a:pt x="11755" y="2525"/>
                  <a:pt x="11765" y="2535"/>
                  <a:pt x="11765" y="2548"/>
                </a:cubicBezTo>
                <a:lnTo>
                  <a:pt x="11765" y="2548"/>
                </a:lnTo>
                <a:cubicBezTo>
                  <a:pt x="11765" y="2561"/>
                  <a:pt x="11755" y="2572"/>
                  <a:pt x="11742" y="2572"/>
                </a:cubicBezTo>
                <a:cubicBezTo>
                  <a:pt x="11729" y="2572"/>
                  <a:pt x="11718" y="2561"/>
                  <a:pt x="11718" y="2548"/>
                </a:cubicBezTo>
                <a:close/>
                <a:moveTo>
                  <a:pt x="11718" y="2407"/>
                </a:moveTo>
                <a:lnTo>
                  <a:pt x="11718" y="2407"/>
                </a:lnTo>
                <a:cubicBezTo>
                  <a:pt x="11718" y="2394"/>
                  <a:pt x="11729" y="2384"/>
                  <a:pt x="11742" y="2384"/>
                </a:cubicBezTo>
                <a:cubicBezTo>
                  <a:pt x="11755" y="2384"/>
                  <a:pt x="11765" y="2394"/>
                  <a:pt x="11765" y="2407"/>
                </a:cubicBezTo>
                <a:lnTo>
                  <a:pt x="11765" y="2407"/>
                </a:lnTo>
                <a:cubicBezTo>
                  <a:pt x="11765" y="2420"/>
                  <a:pt x="11755" y="2431"/>
                  <a:pt x="11742" y="2431"/>
                </a:cubicBezTo>
                <a:cubicBezTo>
                  <a:pt x="11729" y="2431"/>
                  <a:pt x="11718" y="2420"/>
                  <a:pt x="11718" y="2407"/>
                </a:cubicBezTo>
                <a:close/>
                <a:moveTo>
                  <a:pt x="11718" y="2266"/>
                </a:moveTo>
                <a:lnTo>
                  <a:pt x="11718" y="2266"/>
                </a:lnTo>
                <a:cubicBezTo>
                  <a:pt x="11718" y="2253"/>
                  <a:pt x="11729" y="2243"/>
                  <a:pt x="11742" y="2243"/>
                </a:cubicBezTo>
                <a:cubicBezTo>
                  <a:pt x="11755" y="2243"/>
                  <a:pt x="11765" y="2253"/>
                  <a:pt x="11765" y="2266"/>
                </a:cubicBezTo>
                <a:lnTo>
                  <a:pt x="11765" y="2266"/>
                </a:lnTo>
                <a:cubicBezTo>
                  <a:pt x="11765" y="2279"/>
                  <a:pt x="11755" y="2290"/>
                  <a:pt x="11742" y="2290"/>
                </a:cubicBezTo>
                <a:cubicBezTo>
                  <a:pt x="11729" y="2290"/>
                  <a:pt x="11718" y="2279"/>
                  <a:pt x="11718" y="2266"/>
                </a:cubicBezTo>
                <a:close/>
                <a:moveTo>
                  <a:pt x="11718" y="2125"/>
                </a:moveTo>
                <a:lnTo>
                  <a:pt x="11718" y="2125"/>
                </a:lnTo>
                <a:cubicBezTo>
                  <a:pt x="11718" y="2112"/>
                  <a:pt x="11729" y="2102"/>
                  <a:pt x="11742" y="2102"/>
                </a:cubicBezTo>
                <a:cubicBezTo>
                  <a:pt x="11755" y="2102"/>
                  <a:pt x="11765" y="2112"/>
                  <a:pt x="11765" y="2125"/>
                </a:cubicBezTo>
                <a:lnTo>
                  <a:pt x="11765" y="2125"/>
                </a:lnTo>
                <a:cubicBezTo>
                  <a:pt x="11765" y="2138"/>
                  <a:pt x="11755" y="2149"/>
                  <a:pt x="11742" y="2149"/>
                </a:cubicBezTo>
                <a:cubicBezTo>
                  <a:pt x="11729" y="2149"/>
                  <a:pt x="11718" y="2138"/>
                  <a:pt x="11718" y="2125"/>
                </a:cubicBezTo>
                <a:close/>
                <a:moveTo>
                  <a:pt x="11718" y="1985"/>
                </a:moveTo>
                <a:lnTo>
                  <a:pt x="11718" y="1985"/>
                </a:lnTo>
                <a:cubicBezTo>
                  <a:pt x="11718" y="1972"/>
                  <a:pt x="11729" y="1961"/>
                  <a:pt x="11742" y="1961"/>
                </a:cubicBezTo>
                <a:cubicBezTo>
                  <a:pt x="11755" y="1961"/>
                  <a:pt x="11765" y="1972"/>
                  <a:pt x="11765" y="1985"/>
                </a:cubicBezTo>
                <a:lnTo>
                  <a:pt x="11765" y="1985"/>
                </a:lnTo>
                <a:cubicBezTo>
                  <a:pt x="11765" y="1998"/>
                  <a:pt x="11755" y="2008"/>
                  <a:pt x="11742" y="2008"/>
                </a:cubicBezTo>
                <a:cubicBezTo>
                  <a:pt x="11729" y="2008"/>
                  <a:pt x="11718" y="1998"/>
                  <a:pt x="11718" y="1985"/>
                </a:cubicBezTo>
                <a:close/>
                <a:moveTo>
                  <a:pt x="11718" y="1844"/>
                </a:moveTo>
                <a:lnTo>
                  <a:pt x="11718" y="1844"/>
                </a:lnTo>
                <a:cubicBezTo>
                  <a:pt x="11718" y="1831"/>
                  <a:pt x="11729" y="1820"/>
                  <a:pt x="11742" y="1820"/>
                </a:cubicBezTo>
                <a:cubicBezTo>
                  <a:pt x="11755" y="1820"/>
                  <a:pt x="11765" y="1831"/>
                  <a:pt x="11765" y="1844"/>
                </a:cubicBezTo>
                <a:lnTo>
                  <a:pt x="11765" y="1844"/>
                </a:lnTo>
                <a:cubicBezTo>
                  <a:pt x="11765" y="1857"/>
                  <a:pt x="11755" y="1867"/>
                  <a:pt x="11742" y="1867"/>
                </a:cubicBezTo>
                <a:cubicBezTo>
                  <a:pt x="11729" y="1867"/>
                  <a:pt x="11718" y="1857"/>
                  <a:pt x="11718" y="1844"/>
                </a:cubicBezTo>
                <a:close/>
                <a:moveTo>
                  <a:pt x="11718" y="1703"/>
                </a:moveTo>
                <a:lnTo>
                  <a:pt x="11718" y="1703"/>
                </a:lnTo>
                <a:cubicBezTo>
                  <a:pt x="11718" y="1690"/>
                  <a:pt x="11729" y="1679"/>
                  <a:pt x="11742" y="1679"/>
                </a:cubicBezTo>
                <a:cubicBezTo>
                  <a:pt x="11755" y="1679"/>
                  <a:pt x="11765" y="1690"/>
                  <a:pt x="11765" y="1703"/>
                </a:cubicBezTo>
                <a:lnTo>
                  <a:pt x="11765" y="1703"/>
                </a:lnTo>
                <a:cubicBezTo>
                  <a:pt x="11765" y="1716"/>
                  <a:pt x="11755" y="1726"/>
                  <a:pt x="11742" y="1726"/>
                </a:cubicBezTo>
                <a:cubicBezTo>
                  <a:pt x="11729" y="1726"/>
                  <a:pt x="11718" y="1716"/>
                  <a:pt x="11718" y="1703"/>
                </a:cubicBezTo>
                <a:close/>
                <a:moveTo>
                  <a:pt x="11718" y="1562"/>
                </a:moveTo>
                <a:lnTo>
                  <a:pt x="11718" y="1562"/>
                </a:lnTo>
                <a:cubicBezTo>
                  <a:pt x="11718" y="1549"/>
                  <a:pt x="11729" y="1539"/>
                  <a:pt x="11742" y="1539"/>
                </a:cubicBezTo>
                <a:cubicBezTo>
                  <a:pt x="11755" y="1539"/>
                  <a:pt x="11765" y="1549"/>
                  <a:pt x="11765" y="1562"/>
                </a:cubicBezTo>
                <a:lnTo>
                  <a:pt x="11765" y="1562"/>
                </a:lnTo>
                <a:cubicBezTo>
                  <a:pt x="11765" y="1575"/>
                  <a:pt x="11755" y="1586"/>
                  <a:pt x="11742" y="1586"/>
                </a:cubicBezTo>
                <a:cubicBezTo>
                  <a:pt x="11729" y="1586"/>
                  <a:pt x="11718" y="1575"/>
                  <a:pt x="11718" y="1562"/>
                </a:cubicBezTo>
                <a:close/>
                <a:moveTo>
                  <a:pt x="11718" y="1421"/>
                </a:moveTo>
                <a:lnTo>
                  <a:pt x="11718" y="1421"/>
                </a:lnTo>
                <a:cubicBezTo>
                  <a:pt x="11718" y="1408"/>
                  <a:pt x="11729" y="1398"/>
                  <a:pt x="11742" y="1398"/>
                </a:cubicBezTo>
                <a:cubicBezTo>
                  <a:pt x="11755" y="1398"/>
                  <a:pt x="11765" y="1408"/>
                  <a:pt x="11765" y="1421"/>
                </a:cubicBezTo>
                <a:lnTo>
                  <a:pt x="11765" y="1421"/>
                </a:lnTo>
                <a:cubicBezTo>
                  <a:pt x="11765" y="1434"/>
                  <a:pt x="11755" y="1445"/>
                  <a:pt x="11742" y="1445"/>
                </a:cubicBezTo>
                <a:cubicBezTo>
                  <a:pt x="11729" y="1445"/>
                  <a:pt x="11718" y="1434"/>
                  <a:pt x="11718" y="1421"/>
                </a:cubicBezTo>
                <a:close/>
                <a:moveTo>
                  <a:pt x="11718" y="1280"/>
                </a:moveTo>
                <a:lnTo>
                  <a:pt x="11718" y="1280"/>
                </a:lnTo>
                <a:cubicBezTo>
                  <a:pt x="11718" y="1267"/>
                  <a:pt x="11729" y="1257"/>
                  <a:pt x="11742" y="1257"/>
                </a:cubicBezTo>
                <a:cubicBezTo>
                  <a:pt x="11755" y="1257"/>
                  <a:pt x="11765" y="1267"/>
                  <a:pt x="11765" y="1280"/>
                </a:cubicBezTo>
                <a:lnTo>
                  <a:pt x="11765" y="1280"/>
                </a:lnTo>
                <a:cubicBezTo>
                  <a:pt x="11765" y="1293"/>
                  <a:pt x="11755" y="1304"/>
                  <a:pt x="11742" y="1304"/>
                </a:cubicBezTo>
                <a:cubicBezTo>
                  <a:pt x="11729" y="1304"/>
                  <a:pt x="11718" y="1293"/>
                  <a:pt x="11718" y="1280"/>
                </a:cubicBezTo>
                <a:close/>
                <a:moveTo>
                  <a:pt x="11718" y="1140"/>
                </a:moveTo>
                <a:lnTo>
                  <a:pt x="11718" y="1140"/>
                </a:lnTo>
                <a:cubicBezTo>
                  <a:pt x="11718" y="1127"/>
                  <a:pt x="11729" y="1116"/>
                  <a:pt x="11742" y="1116"/>
                </a:cubicBezTo>
                <a:cubicBezTo>
                  <a:pt x="11755" y="1116"/>
                  <a:pt x="11765" y="1127"/>
                  <a:pt x="11765" y="1140"/>
                </a:cubicBezTo>
                <a:lnTo>
                  <a:pt x="11765" y="1140"/>
                </a:lnTo>
                <a:cubicBezTo>
                  <a:pt x="11765" y="1153"/>
                  <a:pt x="11755" y="1163"/>
                  <a:pt x="11742" y="1163"/>
                </a:cubicBezTo>
                <a:cubicBezTo>
                  <a:pt x="11729" y="1163"/>
                  <a:pt x="11718" y="1153"/>
                  <a:pt x="11718" y="1140"/>
                </a:cubicBezTo>
                <a:close/>
                <a:moveTo>
                  <a:pt x="11718" y="999"/>
                </a:moveTo>
                <a:lnTo>
                  <a:pt x="11718" y="999"/>
                </a:lnTo>
                <a:cubicBezTo>
                  <a:pt x="11718" y="986"/>
                  <a:pt x="11729" y="975"/>
                  <a:pt x="11742" y="975"/>
                </a:cubicBezTo>
                <a:cubicBezTo>
                  <a:pt x="11755" y="975"/>
                  <a:pt x="11765" y="986"/>
                  <a:pt x="11765" y="999"/>
                </a:cubicBezTo>
                <a:lnTo>
                  <a:pt x="11765" y="999"/>
                </a:lnTo>
                <a:cubicBezTo>
                  <a:pt x="11765" y="1012"/>
                  <a:pt x="11755" y="1022"/>
                  <a:pt x="11742" y="1022"/>
                </a:cubicBezTo>
                <a:cubicBezTo>
                  <a:pt x="11729" y="1022"/>
                  <a:pt x="11718" y="1012"/>
                  <a:pt x="11718" y="999"/>
                </a:cubicBezTo>
                <a:close/>
                <a:moveTo>
                  <a:pt x="11718" y="858"/>
                </a:moveTo>
                <a:lnTo>
                  <a:pt x="11718" y="858"/>
                </a:lnTo>
                <a:cubicBezTo>
                  <a:pt x="11718" y="845"/>
                  <a:pt x="11729" y="834"/>
                  <a:pt x="11742" y="834"/>
                </a:cubicBezTo>
                <a:cubicBezTo>
                  <a:pt x="11755" y="834"/>
                  <a:pt x="11765" y="845"/>
                  <a:pt x="11765" y="858"/>
                </a:cubicBezTo>
                <a:lnTo>
                  <a:pt x="11765" y="858"/>
                </a:lnTo>
                <a:cubicBezTo>
                  <a:pt x="11765" y="871"/>
                  <a:pt x="11755" y="881"/>
                  <a:pt x="11742" y="881"/>
                </a:cubicBezTo>
                <a:cubicBezTo>
                  <a:pt x="11729" y="881"/>
                  <a:pt x="11718" y="871"/>
                  <a:pt x="11718" y="858"/>
                </a:cubicBezTo>
                <a:close/>
                <a:moveTo>
                  <a:pt x="11718" y="717"/>
                </a:moveTo>
                <a:lnTo>
                  <a:pt x="11718" y="717"/>
                </a:lnTo>
                <a:cubicBezTo>
                  <a:pt x="11718" y="704"/>
                  <a:pt x="11729" y="694"/>
                  <a:pt x="11742" y="694"/>
                </a:cubicBezTo>
                <a:cubicBezTo>
                  <a:pt x="11755" y="694"/>
                  <a:pt x="11765" y="704"/>
                  <a:pt x="11765" y="717"/>
                </a:cubicBezTo>
                <a:lnTo>
                  <a:pt x="11765" y="717"/>
                </a:lnTo>
                <a:cubicBezTo>
                  <a:pt x="11765" y="730"/>
                  <a:pt x="11755" y="740"/>
                  <a:pt x="11742" y="740"/>
                </a:cubicBezTo>
                <a:cubicBezTo>
                  <a:pt x="11729" y="740"/>
                  <a:pt x="11718" y="730"/>
                  <a:pt x="11718" y="717"/>
                </a:cubicBezTo>
                <a:close/>
                <a:moveTo>
                  <a:pt x="11718" y="576"/>
                </a:moveTo>
                <a:lnTo>
                  <a:pt x="11718" y="576"/>
                </a:lnTo>
                <a:cubicBezTo>
                  <a:pt x="11718" y="563"/>
                  <a:pt x="11729" y="553"/>
                  <a:pt x="11742" y="553"/>
                </a:cubicBezTo>
                <a:cubicBezTo>
                  <a:pt x="11755" y="553"/>
                  <a:pt x="11765" y="563"/>
                  <a:pt x="11765" y="576"/>
                </a:cubicBezTo>
                <a:lnTo>
                  <a:pt x="11765" y="576"/>
                </a:lnTo>
                <a:cubicBezTo>
                  <a:pt x="11765" y="589"/>
                  <a:pt x="11755" y="600"/>
                  <a:pt x="11742" y="600"/>
                </a:cubicBezTo>
                <a:cubicBezTo>
                  <a:pt x="11729" y="600"/>
                  <a:pt x="11718" y="589"/>
                  <a:pt x="11718" y="576"/>
                </a:cubicBezTo>
                <a:close/>
                <a:moveTo>
                  <a:pt x="11718" y="435"/>
                </a:moveTo>
                <a:lnTo>
                  <a:pt x="11718" y="435"/>
                </a:lnTo>
                <a:cubicBezTo>
                  <a:pt x="11718" y="422"/>
                  <a:pt x="11729" y="412"/>
                  <a:pt x="11742" y="412"/>
                </a:cubicBezTo>
                <a:cubicBezTo>
                  <a:pt x="11755" y="412"/>
                  <a:pt x="11765" y="422"/>
                  <a:pt x="11765" y="435"/>
                </a:cubicBezTo>
                <a:lnTo>
                  <a:pt x="11765" y="435"/>
                </a:lnTo>
                <a:cubicBezTo>
                  <a:pt x="11765" y="448"/>
                  <a:pt x="11755" y="459"/>
                  <a:pt x="11742" y="459"/>
                </a:cubicBezTo>
                <a:cubicBezTo>
                  <a:pt x="11729" y="459"/>
                  <a:pt x="11718" y="448"/>
                  <a:pt x="11718" y="435"/>
                </a:cubicBezTo>
                <a:close/>
                <a:moveTo>
                  <a:pt x="11718" y="294"/>
                </a:moveTo>
                <a:lnTo>
                  <a:pt x="11718" y="294"/>
                </a:lnTo>
                <a:cubicBezTo>
                  <a:pt x="11718" y="281"/>
                  <a:pt x="11729" y="271"/>
                  <a:pt x="11742" y="271"/>
                </a:cubicBezTo>
                <a:cubicBezTo>
                  <a:pt x="11755" y="271"/>
                  <a:pt x="11765" y="281"/>
                  <a:pt x="11765" y="294"/>
                </a:cubicBezTo>
                <a:lnTo>
                  <a:pt x="11765" y="294"/>
                </a:lnTo>
                <a:cubicBezTo>
                  <a:pt x="11765" y="307"/>
                  <a:pt x="11755" y="318"/>
                  <a:pt x="11742" y="318"/>
                </a:cubicBezTo>
                <a:cubicBezTo>
                  <a:pt x="11729" y="318"/>
                  <a:pt x="11718" y="307"/>
                  <a:pt x="11718" y="294"/>
                </a:cubicBezTo>
                <a:close/>
                <a:moveTo>
                  <a:pt x="11718" y="154"/>
                </a:moveTo>
                <a:lnTo>
                  <a:pt x="11718" y="154"/>
                </a:lnTo>
                <a:cubicBezTo>
                  <a:pt x="11718" y="141"/>
                  <a:pt x="11729" y="130"/>
                  <a:pt x="11742" y="130"/>
                </a:cubicBezTo>
                <a:cubicBezTo>
                  <a:pt x="11755" y="130"/>
                  <a:pt x="11765" y="141"/>
                  <a:pt x="11765" y="154"/>
                </a:cubicBezTo>
                <a:lnTo>
                  <a:pt x="11765" y="154"/>
                </a:lnTo>
                <a:cubicBezTo>
                  <a:pt x="11765" y="167"/>
                  <a:pt x="11755" y="177"/>
                  <a:pt x="11742" y="177"/>
                </a:cubicBezTo>
                <a:cubicBezTo>
                  <a:pt x="11729" y="177"/>
                  <a:pt x="11718" y="167"/>
                  <a:pt x="11718" y="154"/>
                </a:cubicBezTo>
                <a:close/>
                <a:moveTo>
                  <a:pt x="11731" y="47"/>
                </a:moveTo>
                <a:lnTo>
                  <a:pt x="11731" y="47"/>
                </a:lnTo>
                <a:cubicBezTo>
                  <a:pt x="11718" y="47"/>
                  <a:pt x="11707" y="36"/>
                  <a:pt x="11707" y="23"/>
                </a:cubicBezTo>
                <a:cubicBezTo>
                  <a:pt x="11707" y="10"/>
                  <a:pt x="11718" y="0"/>
                  <a:pt x="11731" y="0"/>
                </a:cubicBezTo>
                <a:lnTo>
                  <a:pt x="11731" y="0"/>
                </a:lnTo>
                <a:cubicBezTo>
                  <a:pt x="11744" y="0"/>
                  <a:pt x="11754" y="10"/>
                  <a:pt x="11754" y="23"/>
                </a:cubicBezTo>
                <a:cubicBezTo>
                  <a:pt x="11754" y="36"/>
                  <a:pt x="11744" y="47"/>
                  <a:pt x="11731" y="47"/>
                </a:cubicBezTo>
                <a:close/>
                <a:moveTo>
                  <a:pt x="11590" y="47"/>
                </a:moveTo>
                <a:lnTo>
                  <a:pt x="11590" y="47"/>
                </a:lnTo>
                <a:cubicBezTo>
                  <a:pt x="11577" y="47"/>
                  <a:pt x="11567" y="36"/>
                  <a:pt x="11567" y="23"/>
                </a:cubicBezTo>
                <a:cubicBezTo>
                  <a:pt x="11567" y="10"/>
                  <a:pt x="11577" y="0"/>
                  <a:pt x="11590" y="0"/>
                </a:cubicBezTo>
                <a:lnTo>
                  <a:pt x="11590" y="0"/>
                </a:lnTo>
                <a:cubicBezTo>
                  <a:pt x="11603" y="0"/>
                  <a:pt x="11614" y="10"/>
                  <a:pt x="11614" y="23"/>
                </a:cubicBezTo>
                <a:cubicBezTo>
                  <a:pt x="11614" y="36"/>
                  <a:pt x="11603" y="47"/>
                  <a:pt x="11590" y="47"/>
                </a:cubicBezTo>
                <a:close/>
                <a:moveTo>
                  <a:pt x="11449" y="47"/>
                </a:moveTo>
                <a:lnTo>
                  <a:pt x="11449" y="47"/>
                </a:lnTo>
                <a:cubicBezTo>
                  <a:pt x="11436" y="47"/>
                  <a:pt x="11426" y="36"/>
                  <a:pt x="11426" y="23"/>
                </a:cubicBezTo>
                <a:cubicBezTo>
                  <a:pt x="11426" y="10"/>
                  <a:pt x="11436" y="0"/>
                  <a:pt x="11449" y="0"/>
                </a:cubicBezTo>
                <a:lnTo>
                  <a:pt x="11449" y="0"/>
                </a:lnTo>
                <a:cubicBezTo>
                  <a:pt x="11462" y="0"/>
                  <a:pt x="11473" y="10"/>
                  <a:pt x="11473" y="23"/>
                </a:cubicBezTo>
                <a:cubicBezTo>
                  <a:pt x="11473" y="36"/>
                  <a:pt x="11462" y="47"/>
                  <a:pt x="11449" y="47"/>
                </a:cubicBezTo>
                <a:close/>
                <a:moveTo>
                  <a:pt x="11308" y="47"/>
                </a:moveTo>
                <a:lnTo>
                  <a:pt x="11308" y="47"/>
                </a:lnTo>
                <a:cubicBezTo>
                  <a:pt x="11295" y="47"/>
                  <a:pt x="11285" y="36"/>
                  <a:pt x="11285" y="23"/>
                </a:cubicBezTo>
                <a:cubicBezTo>
                  <a:pt x="11285" y="10"/>
                  <a:pt x="11295" y="0"/>
                  <a:pt x="11308" y="0"/>
                </a:cubicBezTo>
                <a:lnTo>
                  <a:pt x="11308" y="0"/>
                </a:lnTo>
                <a:cubicBezTo>
                  <a:pt x="11321" y="0"/>
                  <a:pt x="11332" y="10"/>
                  <a:pt x="11332" y="23"/>
                </a:cubicBezTo>
                <a:cubicBezTo>
                  <a:pt x="11332" y="36"/>
                  <a:pt x="11321" y="47"/>
                  <a:pt x="11308" y="47"/>
                </a:cubicBezTo>
                <a:close/>
                <a:moveTo>
                  <a:pt x="11168" y="47"/>
                </a:moveTo>
                <a:lnTo>
                  <a:pt x="11167" y="47"/>
                </a:lnTo>
                <a:cubicBezTo>
                  <a:pt x="11155" y="47"/>
                  <a:pt x="11144" y="36"/>
                  <a:pt x="11144" y="23"/>
                </a:cubicBezTo>
                <a:cubicBezTo>
                  <a:pt x="11144" y="10"/>
                  <a:pt x="11155" y="0"/>
                  <a:pt x="11167" y="0"/>
                </a:cubicBezTo>
                <a:lnTo>
                  <a:pt x="11168" y="0"/>
                </a:lnTo>
                <a:cubicBezTo>
                  <a:pt x="11181" y="0"/>
                  <a:pt x="11191" y="10"/>
                  <a:pt x="11191" y="23"/>
                </a:cubicBezTo>
                <a:cubicBezTo>
                  <a:pt x="11191" y="36"/>
                  <a:pt x="11181" y="47"/>
                  <a:pt x="11168" y="47"/>
                </a:cubicBezTo>
                <a:close/>
                <a:moveTo>
                  <a:pt x="11027" y="47"/>
                </a:moveTo>
                <a:lnTo>
                  <a:pt x="11027" y="47"/>
                </a:lnTo>
                <a:cubicBezTo>
                  <a:pt x="11014" y="47"/>
                  <a:pt x="11003" y="36"/>
                  <a:pt x="11003" y="23"/>
                </a:cubicBezTo>
                <a:cubicBezTo>
                  <a:pt x="11003" y="10"/>
                  <a:pt x="11014" y="0"/>
                  <a:pt x="11027" y="0"/>
                </a:cubicBezTo>
                <a:lnTo>
                  <a:pt x="11027" y="0"/>
                </a:lnTo>
                <a:cubicBezTo>
                  <a:pt x="11040" y="0"/>
                  <a:pt x="11050" y="10"/>
                  <a:pt x="11050" y="23"/>
                </a:cubicBezTo>
                <a:cubicBezTo>
                  <a:pt x="11050" y="36"/>
                  <a:pt x="11040" y="47"/>
                  <a:pt x="11027" y="47"/>
                </a:cubicBezTo>
                <a:close/>
                <a:moveTo>
                  <a:pt x="10886" y="47"/>
                </a:moveTo>
                <a:lnTo>
                  <a:pt x="10886" y="47"/>
                </a:lnTo>
                <a:cubicBezTo>
                  <a:pt x="10873" y="47"/>
                  <a:pt x="10862" y="36"/>
                  <a:pt x="10862" y="23"/>
                </a:cubicBezTo>
                <a:cubicBezTo>
                  <a:pt x="10862" y="10"/>
                  <a:pt x="10873" y="0"/>
                  <a:pt x="10886" y="0"/>
                </a:cubicBezTo>
                <a:lnTo>
                  <a:pt x="10886" y="0"/>
                </a:lnTo>
                <a:cubicBezTo>
                  <a:pt x="10899" y="0"/>
                  <a:pt x="10909" y="10"/>
                  <a:pt x="10909" y="23"/>
                </a:cubicBezTo>
                <a:cubicBezTo>
                  <a:pt x="10909" y="36"/>
                  <a:pt x="10899" y="47"/>
                  <a:pt x="10886" y="47"/>
                </a:cubicBezTo>
                <a:close/>
                <a:moveTo>
                  <a:pt x="10745" y="47"/>
                </a:moveTo>
                <a:lnTo>
                  <a:pt x="10745" y="47"/>
                </a:lnTo>
                <a:cubicBezTo>
                  <a:pt x="10732" y="47"/>
                  <a:pt x="10721" y="36"/>
                  <a:pt x="10721" y="23"/>
                </a:cubicBezTo>
                <a:cubicBezTo>
                  <a:pt x="10721" y="10"/>
                  <a:pt x="10732" y="0"/>
                  <a:pt x="10745" y="0"/>
                </a:cubicBezTo>
                <a:lnTo>
                  <a:pt x="10745" y="0"/>
                </a:lnTo>
                <a:cubicBezTo>
                  <a:pt x="10758" y="0"/>
                  <a:pt x="10768" y="10"/>
                  <a:pt x="10768" y="23"/>
                </a:cubicBezTo>
                <a:cubicBezTo>
                  <a:pt x="10768" y="36"/>
                  <a:pt x="10758" y="47"/>
                  <a:pt x="10745" y="47"/>
                </a:cubicBezTo>
                <a:close/>
                <a:moveTo>
                  <a:pt x="10604" y="47"/>
                </a:moveTo>
                <a:lnTo>
                  <a:pt x="10604" y="47"/>
                </a:lnTo>
                <a:cubicBezTo>
                  <a:pt x="10591" y="47"/>
                  <a:pt x="10581" y="36"/>
                  <a:pt x="10581" y="23"/>
                </a:cubicBezTo>
                <a:cubicBezTo>
                  <a:pt x="10581" y="10"/>
                  <a:pt x="10591" y="0"/>
                  <a:pt x="10604" y="0"/>
                </a:cubicBezTo>
                <a:lnTo>
                  <a:pt x="10604" y="0"/>
                </a:lnTo>
                <a:cubicBezTo>
                  <a:pt x="10617" y="0"/>
                  <a:pt x="10628" y="10"/>
                  <a:pt x="10628" y="23"/>
                </a:cubicBezTo>
                <a:cubicBezTo>
                  <a:pt x="10628" y="36"/>
                  <a:pt x="10617" y="47"/>
                  <a:pt x="10604" y="47"/>
                </a:cubicBezTo>
                <a:close/>
                <a:moveTo>
                  <a:pt x="10463" y="47"/>
                </a:moveTo>
                <a:lnTo>
                  <a:pt x="10463" y="47"/>
                </a:lnTo>
                <a:cubicBezTo>
                  <a:pt x="10450" y="47"/>
                  <a:pt x="10440" y="36"/>
                  <a:pt x="10440" y="23"/>
                </a:cubicBezTo>
                <a:cubicBezTo>
                  <a:pt x="10440" y="10"/>
                  <a:pt x="10450" y="0"/>
                  <a:pt x="10463" y="0"/>
                </a:cubicBezTo>
                <a:lnTo>
                  <a:pt x="10463" y="0"/>
                </a:lnTo>
                <a:cubicBezTo>
                  <a:pt x="10476" y="0"/>
                  <a:pt x="10487" y="10"/>
                  <a:pt x="10487" y="23"/>
                </a:cubicBezTo>
                <a:cubicBezTo>
                  <a:pt x="10487" y="36"/>
                  <a:pt x="10476" y="47"/>
                  <a:pt x="10463" y="47"/>
                </a:cubicBezTo>
                <a:close/>
                <a:moveTo>
                  <a:pt x="10322" y="47"/>
                </a:moveTo>
                <a:lnTo>
                  <a:pt x="10322" y="47"/>
                </a:lnTo>
                <a:cubicBezTo>
                  <a:pt x="10309" y="47"/>
                  <a:pt x="10299" y="36"/>
                  <a:pt x="10299" y="23"/>
                </a:cubicBezTo>
                <a:cubicBezTo>
                  <a:pt x="10299" y="10"/>
                  <a:pt x="10309" y="0"/>
                  <a:pt x="10322" y="0"/>
                </a:cubicBezTo>
                <a:lnTo>
                  <a:pt x="10322" y="0"/>
                </a:lnTo>
                <a:cubicBezTo>
                  <a:pt x="10335" y="0"/>
                  <a:pt x="10346" y="10"/>
                  <a:pt x="10346" y="23"/>
                </a:cubicBezTo>
                <a:cubicBezTo>
                  <a:pt x="10346" y="36"/>
                  <a:pt x="10335" y="47"/>
                  <a:pt x="10322" y="47"/>
                </a:cubicBezTo>
                <a:close/>
                <a:moveTo>
                  <a:pt x="10182" y="47"/>
                </a:moveTo>
                <a:lnTo>
                  <a:pt x="10182" y="47"/>
                </a:lnTo>
                <a:cubicBezTo>
                  <a:pt x="10169" y="47"/>
                  <a:pt x="10158" y="36"/>
                  <a:pt x="10158" y="23"/>
                </a:cubicBezTo>
                <a:cubicBezTo>
                  <a:pt x="10158" y="10"/>
                  <a:pt x="10169" y="0"/>
                  <a:pt x="10182" y="0"/>
                </a:cubicBezTo>
                <a:lnTo>
                  <a:pt x="10182" y="0"/>
                </a:lnTo>
                <a:cubicBezTo>
                  <a:pt x="10195" y="0"/>
                  <a:pt x="10205" y="10"/>
                  <a:pt x="10205" y="23"/>
                </a:cubicBezTo>
                <a:cubicBezTo>
                  <a:pt x="10205" y="36"/>
                  <a:pt x="10195" y="47"/>
                  <a:pt x="10182" y="47"/>
                </a:cubicBezTo>
                <a:close/>
                <a:moveTo>
                  <a:pt x="10041" y="47"/>
                </a:moveTo>
                <a:lnTo>
                  <a:pt x="10041" y="47"/>
                </a:lnTo>
                <a:cubicBezTo>
                  <a:pt x="10028" y="47"/>
                  <a:pt x="10017" y="36"/>
                  <a:pt x="10017" y="23"/>
                </a:cubicBezTo>
                <a:cubicBezTo>
                  <a:pt x="10017" y="10"/>
                  <a:pt x="10028" y="0"/>
                  <a:pt x="10041" y="0"/>
                </a:cubicBezTo>
                <a:lnTo>
                  <a:pt x="10041" y="0"/>
                </a:lnTo>
                <a:cubicBezTo>
                  <a:pt x="10054" y="0"/>
                  <a:pt x="10064" y="10"/>
                  <a:pt x="10064" y="23"/>
                </a:cubicBezTo>
                <a:cubicBezTo>
                  <a:pt x="10064" y="36"/>
                  <a:pt x="10054" y="47"/>
                  <a:pt x="10041" y="47"/>
                </a:cubicBezTo>
                <a:close/>
                <a:moveTo>
                  <a:pt x="9900" y="47"/>
                </a:moveTo>
                <a:lnTo>
                  <a:pt x="9900" y="47"/>
                </a:lnTo>
                <a:cubicBezTo>
                  <a:pt x="9887" y="47"/>
                  <a:pt x="9876" y="36"/>
                  <a:pt x="9876" y="23"/>
                </a:cubicBezTo>
                <a:cubicBezTo>
                  <a:pt x="9876" y="10"/>
                  <a:pt x="9887" y="0"/>
                  <a:pt x="9900" y="0"/>
                </a:cubicBezTo>
                <a:lnTo>
                  <a:pt x="9900" y="0"/>
                </a:lnTo>
                <a:cubicBezTo>
                  <a:pt x="9913" y="0"/>
                  <a:pt x="9923" y="10"/>
                  <a:pt x="9923" y="23"/>
                </a:cubicBezTo>
                <a:cubicBezTo>
                  <a:pt x="9923" y="36"/>
                  <a:pt x="9913" y="47"/>
                  <a:pt x="9900" y="47"/>
                </a:cubicBezTo>
                <a:close/>
                <a:moveTo>
                  <a:pt x="9759" y="47"/>
                </a:moveTo>
                <a:lnTo>
                  <a:pt x="9759" y="47"/>
                </a:lnTo>
                <a:cubicBezTo>
                  <a:pt x="9746" y="47"/>
                  <a:pt x="9736" y="36"/>
                  <a:pt x="9736" y="23"/>
                </a:cubicBezTo>
                <a:cubicBezTo>
                  <a:pt x="9736" y="10"/>
                  <a:pt x="9746" y="0"/>
                  <a:pt x="9759" y="0"/>
                </a:cubicBezTo>
                <a:lnTo>
                  <a:pt x="9759" y="0"/>
                </a:lnTo>
                <a:cubicBezTo>
                  <a:pt x="9772" y="0"/>
                  <a:pt x="9783" y="10"/>
                  <a:pt x="9783" y="23"/>
                </a:cubicBezTo>
                <a:cubicBezTo>
                  <a:pt x="9783" y="36"/>
                  <a:pt x="9772" y="47"/>
                  <a:pt x="9759" y="47"/>
                </a:cubicBezTo>
                <a:close/>
                <a:moveTo>
                  <a:pt x="9618" y="47"/>
                </a:moveTo>
                <a:lnTo>
                  <a:pt x="9618" y="47"/>
                </a:lnTo>
                <a:cubicBezTo>
                  <a:pt x="9605" y="47"/>
                  <a:pt x="9595" y="36"/>
                  <a:pt x="9595" y="23"/>
                </a:cubicBezTo>
                <a:cubicBezTo>
                  <a:pt x="9595" y="10"/>
                  <a:pt x="9605" y="0"/>
                  <a:pt x="9618" y="0"/>
                </a:cubicBezTo>
                <a:lnTo>
                  <a:pt x="9618" y="0"/>
                </a:lnTo>
                <a:cubicBezTo>
                  <a:pt x="9631" y="0"/>
                  <a:pt x="9642" y="10"/>
                  <a:pt x="9642" y="23"/>
                </a:cubicBezTo>
                <a:cubicBezTo>
                  <a:pt x="9642" y="36"/>
                  <a:pt x="9631" y="47"/>
                  <a:pt x="9618" y="47"/>
                </a:cubicBezTo>
                <a:close/>
                <a:moveTo>
                  <a:pt x="9477" y="47"/>
                </a:moveTo>
                <a:lnTo>
                  <a:pt x="9477" y="47"/>
                </a:lnTo>
                <a:cubicBezTo>
                  <a:pt x="9464" y="47"/>
                  <a:pt x="9454" y="36"/>
                  <a:pt x="9454" y="23"/>
                </a:cubicBezTo>
                <a:cubicBezTo>
                  <a:pt x="9454" y="10"/>
                  <a:pt x="9464" y="0"/>
                  <a:pt x="9477" y="0"/>
                </a:cubicBezTo>
                <a:lnTo>
                  <a:pt x="9477" y="0"/>
                </a:lnTo>
                <a:cubicBezTo>
                  <a:pt x="9490" y="0"/>
                  <a:pt x="9501" y="10"/>
                  <a:pt x="9501" y="23"/>
                </a:cubicBezTo>
                <a:cubicBezTo>
                  <a:pt x="9501" y="36"/>
                  <a:pt x="9490" y="47"/>
                  <a:pt x="9477" y="47"/>
                </a:cubicBezTo>
                <a:close/>
                <a:moveTo>
                  <a:pt x="9337" y="47"/>
                </a:moveTo>
                <a:lnTo>
                  <a:pt x="9336" y="47"/>
                </a:lnTo>
                <a:cubicBezTo>
                  <a:pt x="9324" y="47"/>
                  <a:pt x="9313" y="36"/>
                  <a:pt x="9313" y="23"/>
                </a:cubicBezTo>
                <a:cubicBezTo>
                  <a:pt x="9313" y="10"/>
                  <a:pt x="9324" y="0"/>
                  <a:pt x="9336" y="0"/>
                </a:cubicBezTo>
                <a:lnTo>
                  <a:pt x="9337" y="0"/>
                </a:lnTo>
                <a:cubicBezTo>
                  <a:pt x="9349" y="0"/>
                  <a:pt x="9360" y="10"/>
                  <a:pt x="9360" y="23"/>
                </a:cubicBezTo>
                <a:cubicBezTo>
                  <a:pt x="9360" y="36"/>
                  <a:pt x="9349" y="47"/>
                  <a:pt x="9337" y="47"/>
                </a:cubicBezTo>
                <a:close/>
                <a:moveTo>
                  <a:pt x="9196" y="47"/>
                </a:moveTo>
                <a:lnTo>
                  <a:pt x="9196" y="47"/>
                </a:lnTo>
                <a:cubicBezTo>
                  <a:pt x="9183" y="47"/>
                  <a:pt x="9172" y="36"/>
                  <a:pt x="9172" y="23"/>
                </a:cubicBezTo>
                <a:cubicBezTo>
                  <a:pt x="9172" y="10"/>
                  <a:pt x="9183" y="0"/>
                  <a:pt x="9196" y="0"/>
                </a:cubicBezTo>
                <a:lnTo>
                  <a:pt x="9196" y="0"/>
                </a:lnTo>
                <a:cubicBezTo>
                  <a:pt x="9209" y="0"/>
                  <a:pt x="9219" y="10"/>
                  <a:pt x="9219" y="23"/>
                </a:cubicBezTo>
                <a:cubicBezTo>
                  <a:pt x="9219" y="36"/>
                  <a:pt x="9209" y="47"/>
                  <a:pt x="9196" y="47"/>
                </a:cubicBezTo>
                <a:close/>
                <a:moveTo>
                  <a:pt x="9055" y="47"/>
                </a:moveTo>
                <a:lnTo>
                  <a:pt x="9055" y="47"/>
                </a:lnTo>
                <a:cubicBezTo>
                  <a:pt x="9042" y="47"/>
                  <a:pt x="9031" y="36"/>
                  <a:pt x="9031" y="23"/>
                </a:cubicBezTo>
                <a:cubicBezTo>
                  <a:pt x="9031" y="10"/>
                  <a:pt x="9042" y="0"/>
                  <a:pt x="9055" y="0"/>
                </a:cubicBezTo>
                <a:lnTo>
                  <a:pt x="9055" y="0"/>
                </a:lnTo>
                <a:cubicBezTo>
                  <a:pt x="9068" y="0"/>
                  <a:pt x="9078" y="10"/>
                  <a:pt x="9078" y="23"/>
                </a:cubicBezTo>
                <a:cubicBezTo>
                  <a:pt x="9078" y="36"/>
                  <a:pt x="9068" y="47"/>
                  <a:pt x="9055" y="47"/>
                </a:cubicBezTo>
                <a:close/>
                <a:moveTo>
                  <a:pt x="8914" y="47"/>
                </a:moveTo>
                <a:lnTo>
                  <a:pt x="8914" y="47"/>
                </a:lnTo>
                <a:cubicBezTo>
                  <a:pt x="8901" y="47"/>
                  <a:pt x="8890" y="36"/>
                  <a:pt x="8890" y="23"/>
                </a:cubicBezTo>
                <a:cubicBezTo>
                  <a:pt x="8890" y="10"/>
                  <a:pt x="8901" y="0"/>
                  <a:pt x="8914" y="0"/>
                </a:cubicBezTo>
                <a:lnTo>
                  <a:pt x="8914" y="0"/>
                </a:lnTo>
                <a:cubicBezTo>
                  <a:pt x="8927" y="0"/>
                  <a:pt x="8937" y="10"/>
                  <a:pt x="8937" y="23"/>
                </a:cubicBezTo>
                <a:cubicBezTo>
                  <a:pt x="8937" y="36"/>
                  <a:pt x="8927" y="47"/>
                  <a:pt x="8914" y="47"/>
                </a:cubicBezTo>
                <a:close/>
                <a:moveTo>
                  <a:pt x="8773" y="47"/>
                </a:moveTo>
                <a:lnTo>
                  <a:pt x="8773" y="47"/>
                </a:lnTo>
                <a:cubicBezTo>
                  <a:pt x="8760" y="47"/>
                  <a:pt x="8750" y="36"/>
                  <a:pt x="8750" y="23"/>
                </a:cubicBezTo>
                <a:cubicBezTo>
                  <a:pt x="8750" y="10"/>
                  <a:pt x="8760" y="0"/>
                  <a:pt x="8773" y="0"/>
                </a:cubicBezTo>
                <a:lnTo>
                  <a:pt x="8773" y="0"/>
                </a:lnTo>
                <a:cubicBezTo>
                  <a:pt x="8786" y="0"/>
                  <a:pt x="8797" y="10"/>
                  <a:pt x="8797" y="23"/>
                </a:cubicBezTo>
                <a:cubicBezTo>
                  <a:pt x="8797" y="36"/>
                  <a:pt x="8786" y="47"/>
                  <a:pt x="8773" y="47"/>
                </a:cubicBezTo>
                <a:close/>
                <a:moveTo>
                  <a:pt x="8632" y="47"/>
                </a:moveTo>
                <a:lnTo>
                  <a:pt x="8632" y="47"/>
                </a:lnTo>
                <a:cubicBezTo>
                  <a:pt x="8619" y="47"/>
                  <a:pt x="8609" y="36"/>
                  <a:pt x="8609" y="23"/>
                </a:cubicBezTo>
                <a:cubicBezTo>
                  <a:pt x="8609" y="10"/>
                  <a:pt x="8619" y="0"/>
                  <a:pt x="8632" y="0"/>
                </a:cubicBezTo>
                <a:lnTo>
                  <a:pt x="8632" y="0"/>
                </a:lnTo>
                <a:cubicBezTo>
                  <a:pt x="8645" y="0"/>
                  <a:pt x="8656" y="10"/>
                  <a:pt x="8656" y="23"/>
                </a:cubicBezTo>
                <a:cubicBezTo>
                  <a:pt x="8656" y="36"/>
                  <a:pt x="8645" y="47"/>
                  <a:pt x="8632" y="47"/>
                </a:cubicBezTo>
                <a:close/>
                <a:moveTo>
                  <a:pt x="8491" y="47"/>
                </a:moveTo>
                <a:lnTo>
                  <a:pt x="8491" y="47"/>
                </a:lnTo>
                <a:cubicBezTo>
                  <a:pt x="8478" y="47"/>
                  <a:pt x="8468" y="36"/>
                  <a:pt x="8468" y="23"/>
                </a:cubicBezTo>
                <a:cubicBezTo>
                  <a:pt x="8468" y="10"/>
                  <a:pt x="8478" y="0"/>
                  <a:pt x="8491" y="0"/>
                </a:cubicBezTo>
                <a:lnTo>
                  <a:pt x="8491" y="0"/>
                </a:lnTo>
                <a:cubicBezTo>
                  <a:pt x="8504" y="0"/>
                  <a:pt x="8515" y="10"/>
                  <a:pt x="8515" y="23"/>
                </a:cubicBezTo>
                <a:cubicBezTo>
                  <a:pt x="8515" y="36"/>
                  <a:pt x="8504" y="47"/>
                  <a:pt x="8491" y="47"/>
                </a:cubicBezTo>
                <a:close/>
                <a:moveTo>
                  <a:pt x="8351" y="47"/>
                </a:moveTo>
                <a:lnTo>
                  <a:pt x="8351" y="47"/>
                </a:lnTo>
                <a:cubicBezTo>
                  <a:pt x="8338" y="47"/>
                  <a:pt x="8327" y="36"/>
                  <a:pt x="8327" y="23"/>
                </a:cubicBezTo>
                <a:cubicBezTo>
                  <a:pt x="8327" y="10"/>
                  <a:pt x="8338" y="0"/>
                  <a:pt x="8351" y="0"/>
                </a:cubicBezTo>
                <a:lnTo>
                  <a:pt x="8351" y="0"/>
                </a:lnTo>
                <a:cubicBezTo>
                  <a:pt x="8364" y="0"/>
                  <a:pt x="8374" y="10"/>
                  <a:pt x="8374" y="23"/>
                </a:cubicBezTo>
                <a:cubicBezTo>
                  <a:pt x="8374" y="36"/>
                  <a:pt x="8364" y="47"/>
                  <a:pt x="8351" y="47"/>
                </a:cubicBezTo>
                <a:close/>
                <a:moveTo>
                  <a:pt x="8210" y="47"/>
                </a:moveTo>
                <a:lnTo>
                  <a:pt x="8210" y="47"/>
                </a:lnTo>
                <a:cubicBezTo>
                  <a:pt x="8197" y="47"/>
                  <a:pt x="8186" y="36"/>
                  <a:pt x="8186" y="23"/>
                </a:cubicBezTo>
                <a:cubicBezTo>
                  <a:pt x="8186" y="10"/>
                  <a:pt x="8197" y="0"/>
                  <a:pt x="8210" y="0"/>
                </a:cubicBezTo>
                <a:lnTo>
                  <a:pt x="8210" y="0"/>
                </a:lnTo>
                <a:cubicBezTo>
                  <a:pt x="8223" y="0"/>
                  <a:pt x="8233" y="10"/>
                  <a:pt x="8233" y="23"/>
                </a:cubicBezTo>
                <a:cubicBezTo>
                  <a:pt x="8233" y="36"/>
                  <a:pt x="8223" y="47"/>
                  <a:pt x="8210" y="47"/>
                </a:cubicBezTo>
                <a:close/>
                <a:moveTo>
                  <a:pt x="8069" y="47"/>
                </a:moveTo>
                <a:lnTo>
                  <a:pt x="8069" y="47"/>
                </a:lnTo>
                <a:cubicBezTo>
                  <a:pt x="8056" y="47"/>
                  <a:pt x="8045" y="36"/>
                  <a:pt x="8045" y="23"/>
                </a:cubicBezTo>
                <a:cubicBezTo>
                  <a:pt x="8045" y="10"/>
                  <a:pt x="8056" y="0"/>
                  <a:pt x="8069" y="0"/>
                </a:cubicBezTo>
                <a:lnTo>
                  <a:pt x="8069" y="0"/>
                </a:lnTo>
                <a:cubicBezTo>
                  <a:pt x="8082" y="0"/>
                  <a:pt x="8092" y="10"/>
                  <a:pt x="8092" y="23"/>
                </a:cubicBezTo>
                <a:cubicBezTo>
                  <a:pt x="8092" y="36"/>
                  <a:pt x="8082" y="47"/>
                  <a:pt x="8069" y="47"/>
                </a:cubicBezTo>
                <a:close/>
                <a:moveTo>
                  <a:pt x="7928" y="47"/>
                </a:moveTo>
                <a:lnTo>
                  <a:pt x="7928" y="47"/>
                </a:lnTo>
                <a:cubicBezTo>
                  <a:pt x="7915" y="47"/>
                  <a:pt x="7905" y="36"/>
                  <a:pt x="7905" y="23"/>
                </a:cubicBezTo>
                <a:cubicBezTo>
                  <a:pt x="7905" y="10"/>
                  <a:pt x="7915" y="0"/>
                  <a:pt x="7928" y="0"/>
                </a:cubicBezTo>
                <a:lnTo>
                  <a:pt x="7928" y="0"/>
                </a:lnTo>
                <a:cubicBezTo>
                  <a:pt x="7941" y="0"/>
                  <a:pt x="7952" y="10"/>
                  <a:pt x="7952" y="23"/>
                </a:cubicBezTo>
                <a:cubicBezTo>
                  <a:pt x="7952" y="36"/>
                  <a:pt x="7941" y="47"/>
                  <a:pt x="7928" y="47"/>
                </a:cubicBezTo>
                <a:close/>
                <a:moveTo>
                  <a:pt x="7787" y="47"/>
                </a:moveTo>
                <a:lnTo>
                  <a:pt x="7787" y="47"/>
                </a:lnTo>
                <a:cubicBezTo>
                  <a:pt x="7774" y="47"/>
                  <a:pt x="7764" y="36"/>
                  <a:pt x="7764" y="23"/>
                </a:cubicBezTo>
                <a:cubicBezTo>
                  <a:pt x="7764" y="10"/>
                  <a:pt x="7774" y="0"/>
                  <a:pt x="7787" y="0"/>
                </a:cubicBezTo>
                <a:lnTo>
                  <a:pt x="7787" y="0"/>
                </a:lnTo>
                <a:cubicBezTo>
                  <a:pt x="7800" y="0"/>
                  <a:pt x="7811" y="10"/>
                  <a:pt x="7811" y="23"/>
                </a:cubicBezTo>
                <a:cubicBezTo>
                  <a:pt x="7811" y="36"/>
                  <a:pt x="7800" y="47"/>
                  <a:pt x="7787" y="47"/>
                </a:cubicBezTo>
                <a:close/>
                <a:moveTo>
                  <a:pt x="7646" y="47"/>
                </a:moveTo>
                <a:lnTo>
                  <a:pt x="7646" y="47"/>
                </a:lnTo>
                <a:cubicBezTo>
                  <a:pt x="7633" y="47"/>
                  <a:pt x="7623" y="36"/>
                  <a:pt x="7623" y="23"/>
                </a:cubicBezTo>
                <a:cubicBezTo>
                  <a:pt x="7623" y="10"/>
                  <a:pt x="7633" y="0"/>
                  <a:pt x="7646" y="0"/>
                </a:cubicBezTo>
                <a:lnTo>
                  <a:pt x="7646" y="0"/>
                </a:lnTo>
                <a:cubicBezTo>
                  <a:pt x="7659" y="0"/>
                  <a:pt x="7670" y="10"/>
                  <a:pt x="7670" y="23"/>
                </a:cubicBezTo>
                <a:cubicBezTo>
                  <a:pt x="7670" y="36"/>
                  <a:pt x="7659" y="47"/>
                  <a:pt x="7646" y="47"/>
                </a:cubicBezTo>
                <a:close/>
                <a:moveTo>
                  <a:pt x="7506" y="47"/>
                </a:moveTo>
                <a:lnTo>
                  <a:pt x="7505" y="47"/>
                </a:lnTo>
                <a:cubicBezTo>
                  <a:pt x="7493" y="47"/>
                  <a:pt x="7482" y="36"/>
                  <a:pt x="7482" y="23"/>
                </a:cubicBezTo>
                <a:cubicBezTo>
                  <a:pt x="7482" y="10"/>
                  <a:pt x="7493" y="0"/>
                  <a:pt x="7505" y="0"/>
                </a:cubicBezTo>
                <a:lnTo>
                  <a:pt x="7506" y="0"/>
                </a:lnTo>
                <a:cubicBezTo>
                  <a:pt x="7518" y="0"/>
                  <a:pt x="7529" y="10"/>
                  <a:pt x="7529" y="23"/>
                </a:cubicBezTo>
                <a:cubicBezTo>
                  <a:pt x="7529" y="36"/>
                  <a:pt x="7518" y="47"/>
                  <a:pt x="7506" y="47"/>
                </a:cubicBezTo>
                <a:close/>
                <a:moveTo>
                  <a:pt x="7365" y="47"/>
                </a:moveTo>
                <a:lnTo>
                  <a:pt x="7365" y="47"/>
                </a:lnTo>
                <a:cubicBezTo>
                  <a:pt x="7352" y="47"/>
                  <a:pt x="7341" y="36"/>
                  <a:pt x="7341" y="23"/>
                </a:cubicBezTo>
                <a:cubicBezTo>
                  <a:pt x="7341" y="10"/>
                  <a:pt x="7352" y="0"/>
                  <a:pt x="7365" y="0"/>
                </a:cubicBezTo>
                <a:lnTo>
                  <a:pt x="7365" y="0"/>
                </a:lnTo>
                <a:cubicBezTo>
                  <a:pt x="7378" y="0"/>
                  <a:pt x="7388" y="10"/>
                  <a:pt x="7388" y="23"/>
                </a:cubicBezTo>
                <a:cubicBezTo>
                  <a:pt x="7388" y="36"/>
                  <a:pt x="7378" y="47"/>
                  <a:pt x="7365" y="47"/>
                </a:cubicBezTo>
                <a:close/>
                <a:moveTo>
                  <a:pt x="7224" y="47"/>
                </a:moveTo>
                <a:lnTo>
                  <a:pt x="7224" y="47"/>
                </a:lnTo>
                <a:cubicBezTo>
                  <a:pt x="7211" y="47"/>
                  <a:pt x="7200" y="36"/>
                  <a:pt x="7200" y="23"/>
                </a:cubicBezTo>
                <a:cubicBezTo>
                  <a:pt x="7200" y="10"/>
                  <a:pt x="7211" y="0"/>
                  <a:pt x="7224" y="0"/>
                </a:cubicBezTo>
                <a:lnTo>
                  <a:pt x="7224" y="0"/>
                </a:lnTo>
                <a:cubicBezTo>
                  <a:pt x="7237" y="0"/>
                  <a:pt x="7247" y="10"/>
                  <a:pt x="7247" y="23"/>
                </a:cubicBezTo>
                <a:cubicBezTo>
                  <a:pt x="7247" y="36"/>
                  <a:pt x="7237" y="47"/>
                  <a:pt x="7224" y="47"/>
                </a:cubicBezTo>
                <a:close/>
                <a:moveTo>
                  <a:pt x="7083" y="47"/>
                </a:moveTo>
                <a:lnTo>
                  <a:pt x="7083" y="47"/>
                </a:lnTo>
                <a:cubicBezTo>
                  <a:pt x="7070" y="47"/>
                  <a:pt x="7059" y="36"/>
                  <a:pt x="7059" y="23"/>
                </a:cubicBezTo>
                <a:cubicBezTo>
                  <a:pt x="7059" y="10"/>
                  <a:pt x="7070" y="0"/>
                  <a:pt x="7083" y="0"/>
                </a:cubicBezTo>
                <a:lnTo>
                  <a:pt x="7083" y="0"/>
                </a:lnTo>
                <a:cubicBezTo>
                  <a:pt x="7096" y="0"/>
                  <a:pt x="7106" y="10"/>
                  <a:pt x="7106" y="23"/>
                </a:cubicBezTo>
                <a:cubicBezTo>
                  <a:pt x="7106" y="36"/>
                  <a:pt x="7096" y="47"/>
                  <a:pt x="7083" y="47"/>
                </a:cubicBezTo>
                <a:close/>
                <a:moveTo>
                  <a:pt x="6942" y="47"/>
                </a:moveTo>
                <a:lnTo>
                  <a:pt x="6942" y="47"/>
                </a:lnTo>
                <a:cubicBezTo>
                  <a:pt x="6929" y="47"/>
                  <a:pt x="6919" y="36"/>
                  <a:pt x="6919" y="23"/>
                </a:cubicBezTo>
                <a:cubicBezTo>
                  <a:pt x="6919" y="10"/>
                  <a:pt x="6929" y="0"/>
                  <a:pt x="6942" y="0"/>
                </a:cubicBezTo>
                <a:lnTo>
                  <a:pt x="6942" y="0"/>
                </a:lnTo>
                <a:cubicBezTo>
                  <a:pt x="6955" y="0"/>
                  <a:pt x="6966" y="10"/>
                  <a:pt x="6966" y="23"/>
                </a:cubicBezTo>
                <a:cubicBezTo>
                  <a:pt x="6966" y="36"/>
                  <a:pt x="6955" y="47"/>
                  <a:pt x="6942" y="47"/>
                </a:cubicBezTo>
                <a:close/>
                <a:moveTo>
                  <a:pt x="6801" y="47"/>
                </a:moveTo>
                <a:lnTo>
                  <a:pt x="6801" y="47"/>
                </a:lnTo>
                <a:cubicBezTo>
                  <a:pt x="6788" y="47"/>
                  <a:pt x="6778" y="36"/>
                  <a:pt x="6778" y="23"/>
                </a:cubicBezTo>
                <a:cubicBezTo>
                  <a:pt x="6778" y="10"/>
                  <a:pt x="6788" y="0"/>
                  <a:pt x="6801" y="0"/>
                </a:cubicBezTo>
                <a:lnTo>
                  <a:pt x="6801" y="0"/>
                </a:lnTo>
                <a:cubicBezTo>
                  <a:pt x="6814" y="0"/>
                  <a:pt x="6825" y="10"/>
                  <a:pt x="6825" y="23"/>
                </a:cubicBezTo>
                <a:cubicBezTo>
                  <a:pt x="6825" y="36"/>
                  <a:pt x="6814" y="47"/>
                  <a:pt x="6801" y="47"/>
                </a:cubicBezTo>
                <a:close/>
                <a:moveTo>
                  <a:pt x="6660" y="47"/>
                </a:moveTo>
                <a:lnTo>
                  <a:pt x="6660" y="47"/>
                </a:lnTo>
                <a:cubicBezTo>
                  <a:pt x="6647" y="47"/>
                  <a:pt x="6637" y="36"/>
                  <a:pt x="6637" y="23"/>
                </a:cubicBezTo>
                <a:cubicBezTo>
                  <a:pt x="6637" y="10"/>
                  <a:pt x="6647" y="0"/>
                  <a:pt x="6660" y="0"/>
                </a:cubicBezTo>
                <a:lnTo>
                  <a:pt x="6660" y="0"/>
                </a:lnTo>
                <a:cubicBezTo>
                  <a:pt x="6673" y="0"/>
                  <a:pt x="6684" y="10"/>
                  <a:pt x="6684" y="23"/>
                </a:cubicBezTo>
                <a:cubicBezTo>
                  <a:pt x="6684" y="36"/>
                  <a:pt x="6673" y="47"/>
                  <a:pt x="6660" y="47"/>
                </a:cubicBezTo>
                <a:close/>
                <a:moveTo>
                  <a:pt x="6520" y="47"/>
                </a:moveTo>
                <a:lnTo>
                  <a:pt x="6520" y="47"/>
                </a:lnTo>
                <a:cubicBezTo>
                  <a:pt x="6507" y="47"/>
                  <a:pt x="6496" y="36"/>
                  <a:pt x="6496" y="23"/>
                </a:cubicBezTo>
                <a:cubicBezTo>
                  <a:pt x="6496" y="10"/>
                  <a:pt x="6507" y="0"/>
                  <a:pt x="6520" y="0"/>
                </a:cubicBezTo>
                <a:lnTo>
                  <a:pt x="6520" y="0"/>
                </a:lnTo>
                <a:cubicBezTo>
                  <a:pt x="6533" y="0"/>
                  <a:pt x="6543" y="10"/>
                  <a:pt x="6543" y="23"/>
                </a:cubicBezTo>
                <a:cubicBezTo>
                  <a:pt x="6543" y="36"/>
                  <a:pt x="6533" y="47"/>
                  <a:pt x="6520" y="47"/>
                </a:cubicBezTo>
                <a:close/>
                <a:moveTo>
                  <a:pt x="6379" y="47"/>
                </a:moveTo>
                <a:lnTo>
                  <a:pt x="6379" y="47"/>
                </a:lnTo>
                <a:cubicBezTo>
                  <a:pt x="6366" y="47"/>
                  <a:pt x="6355" y="36"/>
                  <a:pt x="6355" y="23"/>
                </a:cubicBezTo>
                <a:cubicBezTo>
                  <a:pt x="6355" y="10"/>
                  <a:pt x="6366" y="0"/>
                  <a:pt x="6379" y="0"/>
                </a:cubicBezTo>
                <a:lnTo>
                  <a:pt x="6379" y="0"/>
                </a:lnTo>
                <a:cubicBezTo>
                  <a:pt x="6392" y="0"/>
                  <a:pt x="6402" y="10"/>
                  <a:pt x="6402" y="23"/>
                </a:cubicBezTo>
                <a:cubicBezTo>
                  <a:pt x="6402" y="36"/>
                  <a:pt x="6392" y="47"/>
                  <a:pt x="6379" y="47"/>
                </a:cubicBezTo>
                <a:close/>
                <a:moveTo>
                  <a:pt x="6238" y="47"/>
                </a:moveTo>
                <a:lnTo>
                  <a:pt x="6238" y="47"/>
                </a:lnTo>
                <a:cubicBezTo>
                  <a:pt x="6225" y="47"/>
                  <a:pt x="6214" y="36"/>
                  <a:pt x="6214" y="23"/>
                </a:cubicBezTo>
                <a:cubicBezTo>
                  <a:pt x="6214" y="10"/>
                  <a:pt x="6225" y="0"/>
                  <a:pt x="6238" y="0"/>
                </a:cubicBezTo>
                <a:lnTo>
                  <a:pt x="6238" y="0"/>
                </a:lnTo>
                <a:cubicBezTo>
                  <a:pt x="6251" y="0"/>
                  <a:pt x="6261" y="10"/>
                  <a:pt x="6261" y="23"/>
                </a:cubicBezTo>
                <a:cubicBezTo>
                  <a:pt x="6261" y="36"/>
                  <a:pt x="6251" y="47"/>
                  <a:pt x="6238" y="47"/>
                </a:cubicBezTo>
                <a:close/>
                <a:moveTo>
                  <a:pt x="6097" y="47"/>
                </a:moveTo>
                <a:lnTo>
                  <a:pt x="6097" y="47"/>
                </a:lnTo>
                <a:cubicBezTo>
                  <a:pt x="6084" y="47"/>
                  <a:pt x="6074" y="36"/>
                  <a:pt x="6074" y="23"/>
                </a:cubicBezTo>
                <a:cubicBezTo>
                  <a:pt x="6074" y="10"/>
                  <a:pt x="6084" y="0"/>
                  <a:pt x="6097" y="0"/>
                </a:cubicBezTo>
                <a:lnTo>
                  <a:pt x="6097" y="0"/>
                </a:lnTo>
                <a:cubicBezTo>
                  <a:pt x="6110" y="0"/>
                  <a:pt x="6121" y="10"/>
                  <a:pt x="6121" y="23"/>
                </a:cubicBezTo>
                <a:cubicBezTo>
                  <a:pt x="6121" y="36"/>
                  <a:pt x="6110" y="47"/>
                  <a:pt x="6097" y="47"/>
                </a:cubicBezTo>
                <a:close/>
                <a:moveTo>
                  <a:pt x="5956" y="47"/>
                </a:moveTo>
                <a:lnTo>
                  <a:pt x="5956" y="47"/>
                </a:lnTo>
                <a:cubicBezTo>
                  <a:pt x="5943" y="47"/>
                  <a:pt x="5933" y="36"/>
                  <a:pt x="5933" y="23"/>
                </a:cubicBezTo>
                <a:cubicBezTo>
                  <a:pt x="5933" y="10"/>
                  <a:pt x="5943" y="0"/>
                  <a:pt x="5956" y="0"/>
                </a:cubicBezTo>
                <a:lnTo>
                  <a:pt x="5956" y="0"/>
                </a:lnTo>
                <a:cubicBezTo>
                  <a:pt x="5969" y="0"/>
                  <a:pt x="5980" y="10"/>
                  <a:pt x="5980" y="23"/>
                </a:cubicBezTo>
                <a:cubicBezTo>
                  <a:pt x="5980" y="36"/>
                  <a:pt x="5969" y="47"/>
                  <a:pt x="5956" y="47"/>
                </a:cubicBezTo>
                <a:close/>
                <a:moveTo>
                  <a:pt x="5815" y="47"/>
                </a:moveTo>
                <a:lnTo>
                  <a:pt x="5815" y="47"/>
                </a:lnTo>
                <a:cubicBezTo>
                  <a:pt x="5802" y="47"/>
                  <a:pt x="5792" y="36"/>
                  <a:pt x="5792" y="23"/>
                </a:cubicBezTo>
                <a:cubicBezTo>
                  <a:pt x="5792" y="10"/>
                  <a:pt x="5802" y="0"/>
                  <a:pt x="5815" y="0"/>
                </a:cubicBezTo>
                <a:lnTo>
                  <a:pt x="5815" y="0"/>
                </a:lnTo>
                <a:cubicBezTo>
                  <a:pt x="5828" y="0"/>
                  <a:pt x="5839" y="10"/>
                  <a:pt x="5839" y="23"/>
                </a:cubicBezTo>
                <a:cubicBezTo>
                  <a:pt x="5839" y="36"/>
                  <a:pt x="5828" y="47"/>
                  <a:pt x="5815" y="47"/>
                </a:cubicBezTo>
                <a:close/>
                <a:moveTo>
                  <a:pt x="5675" y="47"/>
                </a:moveTo>
                <a:lnTo>
                  <a:pt x="5674" y="47"/>
                </a:lnTo>
                <a:cubicBezTo>
                  <a:pt x="5662" y="47"/>
                  <a:pt x="5651" y="36"/>
                  <a:pt x="5651" y="23"/>
                </a:cubicBezTo>
                <a:cubicBezTo>
                  <a:pt x="5651" y="10"/>
                  <a:pt x="5662" y="0"/>
                  <a:pt x="5674" y="0"/>
                </a:cubicBezTo>
                <a:lnTo>
                  <a:pt x="5675" y="0"/>
                </a:lnTo>
                <a:cubicBezTo>
                  <a:pt x="5687" y="0"/>
                  <a:pt x="5698" y="10"/>
                  <a:pt x="5698" y="23"/>
                </a:cubicBezTo>
                <a:cubicBezTo>
                  <a:pt x="5698" y="36"/>
                  <a:pt x="5687" y="47"/>
                  <a:pt x="5675" y="47"/>
                </a:cubicBezTo>
                <a:close/>
                <a:moveTo>
                  <a:pt x="5534" y="47"/>
                </a:moveTo>
                <a:lnTo>
                  <a:pt x="5534" y="47"/>
                </a:lnTo>
                <a:cubicBezTo>
                  <a:pt x="5521" y="47"/>
                  <a:pt x="5510" y="36"/>
                  <a:pt x="5510" y="23"/>
                </a:cubicBezTo>
                <a:cubicBezTo>
                  <a:pt x="5510" y="10"/>
                  <a:pt x="5521" y="0"/>
                  <a:pt x="5534" y="0"/>
                </a:cubicBezTo>
                <a:lnTo>
                  <a:pt x="5534" y="0"/>
                </a:lnTo>
                <a:cubicBezTo>
                  <a:pt x="5547" y="0"/>
                  <a:pt x="5557" y="10"/>
                  <a:pt x="5557" y="23"/>
                </a:cubicBezTo>
                <a:cubicBezTo>
                  <a:pt x="5557" y="36"/>
                  <a:pt x="5547" y="47"/>
                  <a:pt x="5534" y="47"/>
                </a:cubicBezTo>
                <a:close/>
                <a:moveTo>
                  <a:pt x="5393" y="47"/>
                </a:moveTo>
                <a:lnTo>
                  <a:pt x="5393" y="47"/>
                </a:lnTo>
                <a:cubicBezTo>
                  <a:pt x="5380" y="47"/>
                  <a:pt x="5369" y="36"/>
                  <a:pt x="5369" y="23"/>
                </a:cubicBezTo>
                <a:cubicBezTo>
                  <a:pt x="5369" y="10"/>
                  <a:pt x="5380" y="0"/>
                  <a:pt x="5393" y="0"/>
                </a:cubicBezTo>
                <a:lnTo>
                  <a:pt x="5393" y="0"/>
                </a:lnTo>
                <a:cubicBezTo>
                  <a:pt x="5406" y="0"/>
                  <a:pt x="5416" y="10"/>
                  <a:pt x="5416" y="23"/>
                </a:cubicBezTo>
                <a:cubicBezTo>
                  <a:pt x="5416" y="36"/>
                  <a:pt x="5406" y="47"/>
                  <a:pt x="5393" y="47"/>
                </a:cubicBezTo>
                <a:close/>
                <a:moveTo>
                  <a:pt x="5252" y="47"/>
                </a:moveTo>
                <a:lnTo>
                  <a:pt x="5252" y="47"/>
                </a:lnTo>
                <a:cubicBezTo>
                  <a:pt x="5239" y="47"/>
                  <a:pt x="5228" y="36"/>
                  <a:pt x="5228" y="23"/>
                </a:cubicBezTo>
                <a:cubicBezTo>
                  <a:pt x="5228" y="10"/>
                  <a:pt x="5239" y="0"/>
                  <a:pt x="5252" y="0"/>
                </a:cubicBezTo>
                <a:lnTo>
                  <a:pt x="5252" y="0"/>
                </a:lnTo>
                <a:cubicBezTo>
                  <a:pt x="5265" y="0"/>
                  <a:pt x="5275" y="10"/>
                  <a:pt x="5275" y="23"/>
                </a:cubicBezTo>
                <a:cubicBezTo>
                  <a:pt x="5275" y="36"/>
                  <a:pt x="5265" y="47"/>
                  <a:pt x="5252" y="47"/>
                </a:cubicBezTo>
                <a:close/>
                <a:moveTo>
                  <a:pt x="5111" y="47"/>
                </a:moveTo>
                <a:lnTo>
                  <a:pt x="5111" y="47"/>
                </a:lnTo>
                <a:cubicBezTo>
                  <a:pt x="5098" y="47"/>
                  <a:pt x="5088" y="36"/>
                  <a:pt x="5088" y="23"/>
                </a:cubicBezTo>
                <a:cubicBezTo>
                  <a:pt x="5088" y="10"/>
                  <a:pt x="5098" y="0"/>
                  <a:pt x="5111" y="0"/>
                </a:cubicBezTo>
                <a:lnTo>
                  <a:pt x="5111" y="0"/>
                </a:lnTo>
                <a:cubicBezTo>
                  <a:pt x="5124" y="0"/>
                  <a:pt x="5135" y="10"/>
                  <a:pt x="5135" y="23"/>
                </a:cubicBezTo>
                <a:cubicBezTo>
                  <a:pt x="5135" y="36"/>
                  <a:pt x="5124" y="47"/>
                  <a:pt x="5111" y="47"/>
                </a:cubicBezTo>
                <a:close/>
                <a:moveTo>
                  <a:pt x="4970" y="47"/>
                </a:moveTo>
                <a:lnTo>
                  <a:pt x="4970" y="47"/>
                </a:lnTo>
                <a:cubicBezTo>
                  <a:pt x="4957" y="47"/>
                  <a:pt x="4947" y="36"/>
                  <a:pt x="4947" y="23"/>
                </a:cubicBezTo>
                <a:cubicBezTo>
                  <a:pt x="4947" y="10"/>
                  <a:pt x="4957" y="0"/>
                  <a:pt x="4970" y="0"/>
                </a:cubicBezTo>
                <a:lnTo>
                  <a:pt x="4970" y="0"/>
                </a:lnTo>
                <a:cubicBezTo>
                  <a:pt x="4983" y="0"/>
                  <a:pt x="4994" y="10"/>
                  <a:pt x="4994" y="23"/>
                </a:cubicBezTo>
                <a:cubicBezTo>
                  <a:pt x="4994" y="36"/>
                  <a:pt x="4983" y="47"/>
                  <a:pt x="4970" y="47"/>
                </a:cubicBezTo>
                <a:close/>
                <a:moveTo>
                  <a:pt x="4829" y="47"/>
                </a:moveTo>
                <a:lnTo>
                  <a:pt x="4829" y="47"/>
                </a:lnTo>
                <a:cubicBezTo>
                  <a:pt x="4816" y="47"/>
                  <a:pt x="4806" y="36"/>
                  <a:pt x="4806" y="23"/>
                </a:cubicBezTo>
                <a:cubicBezTo>
                  <a:pt x="4806" y="10"/>
                  <a:pt x="4816" y="0"/>
                  <a:pt x="4829" y="0"/>
                </a:cubicBezTo>
                <a:lnTo>
                  <a:pt x="4829" y="0"/>
                </a:lnTo>
                <a:cubicBezTo>
                  <a:pt x="4842" y="0"/>
                  <a:pt x="4853" y="10"/>
                  <a:pt x="4853" y="23"/>
                </a:cubicBezTo>
                <a:cubicBezTo>
                  <a:pt x="4853" y="36"/>
                  <a:pt x="4842" y="47"/>
                  <a:pt x="4829" y="47"/>
                </a:cubicBezTo>
                <a:close/>
                <a:moveTo>
                  <a:pt x="4689" y="47"/>
                </a:moveTo>
                <a:lnTo>
                  <a:pt x="4689" y="47"/>
                </a:lnTo>
                <a:cubicBezTo>
                  <a:pt x="4676" y="47"/>
                  <a:pt x="4665" y="36"/>
                  <a:pt x="4665" y="23"/>
                </a:cubicBezTo>
                <a:cubicBezTo>
                  <a:pt x="4665" y="10"/>
                  <a:pt x="4676" y="0"/>
                  <a:pt x="4689" y="0"/>
                </a:cubicBezTo>
                <a:lnTo>
                  <a:pt x="4689" y="0"/>
                </a:lnTo>
                <a:cubicBezTo>
                  <a:pt x="4702" y="0"/>
                  <a:pt x="4712" y="10"/>
                  <a:pt x="4712" y="23"/>
                </a:cubicBezTo>
                <a:cubicBezTo>
                  <a:pt x="4712" y="36"/>
                  <a:pt x="4702" y="47"/>
                  <a:pt x="4689" y="47"/>
                </a:cubicBezTo>
                <a:close/>
                <a:moveTo>
                  <a:pt x="4548" y="47"/>
                </a:moveTo>
                <a:lnTo>
                  <a:pt x="4548" y="47"/>
                </a:lnTo>
                <a:cubicBezTo>
                  <a:pt x="4535" y="47"/>
                  <a:pt x="4524" y="36"/>
                  <a:pt x="4524" y="23"/>
                </a:cubicBezTo>
                <a:cubicBezTo>
                  <a:pt x="4524" y="10"/>
                  <a:pt x="4535" y="0"/>
                  <a:pt x="4548" y="0"/>
                </a:cubicBezTo>
                <a:lnTo>
                  <a:pt x="4548" y="0"/>
                </a:lnTo>
                <a:cubicBezTo>
                  <a:pt x="4561" y="0"/>
                  <a:pt x="4571" y="10"/>
                  <a:pt x="4571" y="23"/>
                </a:cubicBezTo>
                <a:cubicBezTo>
                  <a:pt x="4571" y="36"/>
                  <a:pt x="4561" y="47"/>
                  <a:pt x="4548" y="47"/>
                </a:cubicBezTo>
                <a:close/>
                <a:moveTo>
                  <a:pt x="4407" y="47"/>
                </a:moveTo>
                <a:lnTo>
                  <a:pt x="4407" y="47"/>
                </a:lnTo>
                <a:cubicBezTo>
                  <a:pt x="4394" y="47"/>
                  <a:pt x="4383" y="36"/>
                  <a:pt x="4383" y="23"/>
                </a:cubicBezTo>
                <a:cubicBezTo>
                  <a:pt x="4383" y="10"/>
                  <a:pt x="4394" y="0"/>
                  <a:pt x="4407" y="0"/>
                </a:cubicBezTo>
                <a:lnTo>
                  <a:pt x="4407" y="0"/>
                </a:lnTo>
                <a:cubicBezTo>
                  <a:pt x="4420" y="0"/>
                  <a:pt x="4430" y="10"/>
                  <a:pt x="4430" y="23"/>
                </a:cubicBezTo>
                <a:cubicBezTo>
                  <a:pt x="4430" y="36"/>
                  <a:pt x="4420" y="47"/>
                  <a:pt x="4407" y="47"/>
                </a:cubicBezTo>
                <a:close/>
                <a:moveTo>
                  <a:pt x="4266" y="47"/>
                </a:moveTo>
                <a:lnTo>
                  <a:pt x="4266" y="47"/>
                </a:lnTo>
                <a:cubicBezTo>
                  <a:pt x="4253" y="47"/>
                  <a:pt x="4243" y="36"/>
                  <a:pt x="4243" y="23"/>
                </a:cubicBezTo>
                <a:cubicBezTo>
                  <a:pt x="4243" y="10"/>
                  <a:pt x="4253" y="0"/>
                  <a:pt x="4266" y="0"/>
                </a:cubicBezTo>
                <a:lnTo>
                  <a:pt x="4266" y="0"/>
                </a:lnTo>
                <a:cubicBezTo>
                  <a:pt x="4279" y="0"/>
                  <a:pt x="4290" y="10"/>
                  <a:pt x="4290" y="23"/>
                </a:cubicBezTo>
                <a:cubicBezTo>
                  <a:pt x="4290" y="36"/>
                  <a:pt x="4279" y="47"/>
                  <a:pt x="4266" y="47"/>
                </a:cubicBezTo>
                <a:close/>
                <a:moveTo>
                  <a:pt x="4125" y="47"/>
                </a:moveTo>
                <a:lnTo>
                  <a:pt x="4125" y="47"/>
                </a:lnTo>
                <a:cubicBezTo>
                  <a:pt x="4112" y="47"/>
                  <a:pt x="4102" y="36"/>
                  <a:pt x="4102" y="23"/>
                </a:cubicBezTo>
                <a:cubicBezTo>
                  <a:pt x="4102" y="10"/>
                  <a:pt x="4112" y="0"/>
                  <a:pt x="4125" y="0"/>
                </a:cubicBezTo>
                <a:lnTo>
                  <a:pt x="4125" y="0"/>
                </a:lnTo>
                <a:cubicBezTo>
                  <a:pt x="4138" y="0"/>
                  <a:pt x="4149" y="10"/>
                  <a:pt x="4149" y="23"/>
                </a:cubicBezTo>
                <a:cubicBezTo>
                  <a:pt x="4149" y="36"/>
                  <a:pt x="4138" y="47"/>
                  <a:pt x="4125" y="47"/>
                </a:cubicBezTo>
                <a:close/>
                <a:moveTo>
                  <a:pt x="3984" y="47"/>
                </a:moveTo>
                <a:lnTo>
                  <a:pt x="3984" y="47"/>
                </a:lnTo>
                <a:cubicBezTo>
                  <a:pt x="3971" y="47"/>
                  <a:pt x="3961" y="36"/>
                  <a:pt x="3961" y="23"/>
                </a:cubicBezTo>
                <a:cubicBezTo>
                  <a:pt x="3961" y="10"/>
                  <a:pt x="3971" y="0"/>
                  <a:pt x="3984" y="0"/>
                </a:cubicBezTo>
                <a:lnTo>
                  <a:pt x="3984" y="0"/>
                </a:lnTo>
                <a:cubicBezTo>
                  <a:pt x="3997" y="0"/>
                  <a:pt x="4008" y="10"/>
                  <a:pt x="4008" y="23"/>
                </a:cubicBezTo>
                <a:cubicBezTo>
                  <a:pt x="4008" y="36"/>
                  <a:pt x="3997" y="47"/>
                  <a:pt x="3984" y="47"/>
                </a:cubicBezTo>
                <a:close/>
                <a:moveTo>
                  <a:pt x="3844" y="47"/>
                </a:moveTo>
                <a:lnTo>
                  <a:pt x="3843" y="47"/>
                </a:lnTo>
                <a:cubicBezTo>
                  <a:pt x="3830" y="47"/>
                  <a:pt x="3820" y="36"/>
                  <a:pt x="3820" y="23"/>
                </a:cubicBezTo>
                <a:cubicBezTo>
                  <a:pt x="3820" y="10"/>
                  <a:pt x="3830" y="0"/>
                  <a:pt x="3843" y="0"/>
                </a:cubicBezTo>
                <a:lnTo>
                  <a:pt x="3844" y="0"/>
                </a:lnTo>
                <a:cubicBezTo>
                  <a:pt x="3856" y="0"/>
                  <a:pt x="3867" y="10"/>
                  <a:pt x="3867" y="23"/>
                </a:cubicBezTo>
                <a:cubicBezTo>
                  <a:pt x="3867" y="36"/>
                  <a:pt x="3856" y="47"/>
                  <a:pt x="3844" y="47"/>
                </a:cubicBezTo>
                <a:close/>
                <a:moveTo>
                  <a:pt x="3703" y="47"/>
                </a:moveTo>
                <a:lnTo>
                  <a:pt x="3703" y="47"/>
                </a:lnTo>
                <a:cubicBezTo>
                  <a:pt x="3690" y="47"/>
                  <a:pt x="3679" y="36"/>
                  <a:pt x="3679" y="23"/>
                </a:cubicBezTo>
                <a:cubicBezTo>
                  <a:pt x="3679" y="10"/>
                  <a:pt x="3690" y="0"/>
                  <a:pt x="3703" y="0"/>
                </a:cubicBezTo>
                <a:lnTo>
                  <a:pt x="3703" y="0"/>
                </a:lnTo>
                <a:cubicBezTo>
                  <a:pt x="3716" y="0"/>
                  <a:pt x="3726" y="10"/>
                  <a:pt x="3726" y="23"/>
                </a:cubicBezTo>
                <a:cubicBezTo>
                  <a:pt x="3726" y="36"/>
                  <a:pt x="3716" y="47"/>
                  <a:pt x="3703" y="47"/>
                </a:cubicBezTo>
                <a:close/>
                <a:moveTo>
                  <a:pt x="3562" y="47"/>
                </a:moveTo>
                <a:lnTo>
                  <a:pt x="3562" y="47"/>
                </a:lnTo>
                <a:cubicBezTo>
                  <a:pt x="3549" y="47"/>
                  <a:pt x="3538" y="36"/>
                  <a:pt x="3538" y="23"/>
                </a:cubicBezTo>
                <a:cubicBezTo>
                  <a:pt x="3538" y="10"/>
                  <a:pt x="3549" y="0"/>
                  <a:pt x="3562" y="0"/>
                </a:cubicBezTo>
                <a:lnTo>
                  <a:pt x="3562" y="0"/>
                </a:lnTo>
                <a:cubicBezTo>
                  <a:pt x="3575" y="0"/>
                  <a:pt x="3585" y="10"/>
                  <a:pt x="3585" y="23"/>
                </a:cubicBezTo>
                <a:cubicBezTo>
                  <a:pt x="3585" y="36"/>
                  <a:pt x="3575" y="47"/>
                  <a:pt x="3562" y="47"/>
                </a:cubicBezTo>
                <a:close/>
                <a:moveTo>
                  <a:pt x="3421" y="47"/>
                </a:moveTo>
                <a:lnTo>
                  <a:pt x="3421" y="47"/>
                </a:lnTo>
                <a:cubicBezTo>
                  <a:pt x="3408" y="47"/>
                  <a:pt x="3397" y="36"/>
                  <a:pt x="3397" y="23"/>
                </a:cubicBezTo>
                <a:cubicBezTo>
                  <a:pt x="3397" y="10"/>
                  <a:pt x="3408" y="0"/>
                  <a:pt x="3421" y="0"/>
                </a:cubicBezTo>
                <a:lnTo>
                  <a:pt x="3421" y="0"/>
                </a:lnTo>
                <a:cubicBezTo>
                  <a:pt x="3434" y="0"/>
                  <a:pt x="3444" y="10"/>
                  <a:pt x="3444" y="23"/>
                </a:cubicBezTo>
                <a:cubicBezTo>
                  <a:pt x="3444" y="36"/>
                  <a:pt x="3434" y="47"/>
                  <a:pt x="3421" y="47"/>
                </a:cubicBezTo>
                <a:close/>
                <a:moveTo>
                  <a:pt x="3280" y="47"/>
                </a:moveTo>
                <a:lnTo>
                  <a:pt x="3280" y="47"/>
                </a:lnTo>
                <a:cubicBezTo>
                  <a:pt x="3267" y="47"/>
                  <a:pt x="3257" y="36"/>
                  <a:pt x="3257" y="23"/>
                </a:cubicBezTo>
                <a:cubicBezTo>
                  <a:pt x="3257" y="10"/>
                  <a:pt x="3267" y="0"/>
                  <a:pt x="3280" y="0"/>
                </a:cubicBezTo>
                <a:lnTo>
                  <a:pt x="3280" y="0"/>
                </a:lnTo>
                <a:cubicBezTo>
                  <a:pt x="3293" y="0"/>
                  <a:pt x="3304" y="10"/>
                  <a:pt x="3304" y="23"/>
                </a:cubicBezTo>
                <a:cubicBezTo>
                  <a:pt x="3304" y="36"/>
                  <a:pt x="3293" y="47"/>
                  <a:pt x="3280" y="47"/>
                </a:cubicBezTo>
                <a:close/>
                <a:moveTo>
                  <a:pt x="3139" y="47"/>
                </a:moveTo>
                <a:lnTo>
                  <a:pt x="3139" y="47"/>
                </a:lnTo>
                <a:cubicBezTo>
                  <a:pt x="3126" y="47"/>
                  <a:pt x="3116" y="36"/>
                  <a:pt x="3116" y="23"/>
                </a:cubicBezTo>
                <a:cubicBezTo>
                  <a:pt x="3116" y="10"/>
                  <a:pt x="3126" y="0"/>
                  <a:pt x="3139" y="0"/>
                </a:cubicBezTo>
                <a:lnTo>
                  <a:pt x="3139" y="0"/>
                </a:lnTo>
                <a:cubicBezTo>
                  <a:pt x="3152" y="0"/>
                  <a:pt x="3163" y="10"/>
                  <a:pt x="3163" y="23"/>
                </a:cubicBezTo>
                <a:cubicBezTo>
                  <a:pt x="3163" y="36"/>
                  <a:pt x="3152" y="47"/>
                  <a:pt x="3139" y="47"/>
                </a:cubicBezTo>
                <a:close/>
                <a:moveTo>
                  <a:pt x="2998" y="47"/>
                </a:moveTo>
                <a:lnTo>
                  <a:pt x="2998" y="47"/>
                </a:lnTo>
                <a:cubicBezTo>
                  <a:pt x="2985" y="47"/>
                  <a:pt x="2975" y="36"/>
                  <a:pt x="2975" y="23"/>
                </a:cubicBezTo>
                <a:cubicBezTo>
                  <a:pt x="2975" y="10"/>
                  <a:pt x="2985" y="0"/>
                  <a:pt x="2998" y="0"/>
                </a:cubicBezTo>
                <a:lnTo>
                  <a:pt x="2998" y="0"/>
                </a:lnTo>
                <a:cubicBezTo>
                  <a:pt x="3011" y="0"/>
                  <a:pt x="3022" y="10"/>
                  <a:pt x="3022" y="23"/>
                </a:cubicBezTo>
                <a:cubicBezTo>
                  <a:pt x="3022" y="36"/>
                  <a:pt x="3011" y="47"/>
                  <a:pt x="2998" y="47"/>
                </a:cubicBezTo>
                <a:close/>
                <a:moveTo>
                  <a:pt x="2858" y="47"/>
                </a:moveTo>
                <a:lnTo>
                  <a:pt x="2858" y="47"/>
                </a:lnTo>
                <a:cubicBezTo>
                  <a:pt x="2845" y="47"/>
                  <a:pt x="2834" y="36"/>
                  <a:pt x="2834" y="23"/>
                </a:cubicBezTo>
                <a:cubicBezTo>
                  <a:pt x="2834" y="10"/>
                  <a:pt x="2845" y="0"/>
                  <a:pt x="2858" y="0"/>
                </a:cubicBezTo>
                <a:lnTo>
                  <a:pt x="2858" y="0"/>
                </a:lnTo>
                <a:cubicBezTo>
                  <a:pt x="2871" y="0"/>
                  <a:pt x="2881" y="10"/>
                  <a:pt x="2881" y="23"/>
                </a:cubicBezTo>
                <a:cubicBezTo>
                  <a:pt x="2881" y="36"/>
                  <a:pt x="2871" y="47"/>
                  <a:pt x="2858" y="47"/>
                </a:cubicBezTo>
                <a:close/>
                <a:moveTo>
                  <a:pt x="2717" y="47"/>
                </a:moveTo>
                <a:lnTo>
                  <a:pt x="2717" y="47"/>
                </a:lnTo>
                <a:cubicBezTo>
                  <a:pt x="2704" y="47"/>
                  <a:pt x="2693" y="36"/>
                  <a:pt x="2693" y="23"/>
                </a:cubicBezTo>
                <a:cubicBezTo>
                  <a:pt x="2693" y="10"/>
                  <a:pt x="2704" y="0"/>
                  <a:pt x="2717" y="0"/>
                </a:cubicBezTo>
                <a:lnTo>
                  <a:pt x="2717" y="0"/>
                </a:lnTo>
                <a:cubicBezTo>
                  <a:pt x="2730" y="0"/>
                  <a:pt x="2740" y="10"/>
                  <a:pt x="2740" y="23"/>
                </a:cubicBezTo>
                <a:cubicBezTo>
                  <a:pt x="2740" y="36"/>
                  <a:pt x="2730" y="47"/>
                  <a:pt x="2717" y="47"/>
                </a:cubicBezTo>
                <a:close/>
                <a:moveTo>
                  <a:pt x="2576" y="47"/>
                </a:moveTo>
                <a:lnTo>
                  <a:pt x="2576" y="47"/>
                </a:lnTo>
                <a:cubicBezTo>
                  <a:pt x="2563" y="47"/>
                  <a:pt x="2552" y="36"/>
                  <a:pt x="2552" y="23"/>
                </a:cubicBezTo>
                <a:cubicBezTo>
                  <a:pt x="2552" y="10"/>
                  <a:pt x="2563" y="0"/>
                  <a:pt x="2576" y="0"/>
                </a:cubicBezTo>
                <a:lnTo>
                  <a:pt x="2576" y="0"/>
                </a:lnTo>
                <a:cubicBezTo>
                  <a:pt x="2589" y="0"/>
                  <a:pt x="2599" y="10"/>
                  <a:pt x="2599" y="23"/>
                </a:cubicBezTo>
                <a:cubicBezTo>
                  <a:pt x="2599" y="36"/>
                  <a:pt x="2589" y="47"/>
                  <a:pt x="2576" y="47"/>
                </a:cubicBezTo>
                <a:close/>
                <a:moveTo>
                  <a:pt x="2435" y="47"/>
                </a:moveTo>
                <a:lnTo>
                  <a:pt x="2435" y="47"/>
                </a:lnTo>
                <a:cubicBezTo>
                  <a:pt x="2422" y="47"/>
                  <a:pt x="2412" y="36"/>
                  <a:pt x="2412" y="23"/>
                </a:cubicBezTo>
                <a:cubicBezTo>
                  <a:pt x="2412" y="10"/>
                  <a:pt x="2422" y="0"/>
                  <a:pt x="2435" y="0"/>
                </a:cubicBezTo>
                <a:lnTo>
                  <a:pt x="2435" y="0"/>
                </a:lnTo>
                <a:cubicBezTo>
                  <a:pt x="2448" y="0"/>
                  <a:pt x="2458" y="10"/>
                  <a:pt x="2458" y="23"/>
                </a:cubicBezTo>
                <a:cubicBezTo>
                  <a:pt x="2458" y="36"/>
                  <a:pt x="2448" y="47"/>
                  <a:pt x="2435" y="47"/>
                </a:cubicBezTo>
                <a:close/>
                <a:moveTo>
                  <a:pt x="2294" y="47"/>
                </a:moveTo>
                <a:lnTo>
                  <a:pt x="2294" y="47"/>
                </a:lnTo>
                <a:cubicBezTo>
                  <a:pt x="2281" y="47"/>
                  <a:pt x="2271" y="36"/>
                  <a:pt x="2271" y="23"/>
                </a:cubicBezTo>
                <a:cubicBezTo>
                  <a:pt x="2271" y="10"/>
                  <a:pt x="2281" y="0"/>
                  <a:pt x="2294" y="0"/>
                </a:cubicBezTo>
                <a:lnTo>
                  <a:pt x="2294" y="0"/>
                </a:lnTo>
                <a:cubicBezTo>
                  <a:pt x="2307" y="0"/>
                  <a:pt x="2318" y="10"/>
                  <a:pt x="2318" y="23"/>
                </a:cubicBezTo>
                <a:cubicBezTo>
                  <a:pt x="2318" y="36"/>
                  <a:pt x="2307" y="47"/>
                  <a:pt x="2294" y="47"/>
                </a:cubicBezTo>
                <a:close/>
                <a:moveTo>
                  <a:pt x="2153" y="47"/>
                </a:moveTo>
                <a:lnTo>
                  <a:pt x="2153" y="47"/>
                </a:lnTo>
                <a:cubicBezTo>
                  <a:pt x="2140" y="47"/>
                  <a:pt x="2130" y="36"/>
                  <a:pt x="2130" y="23"/>
                </a:cubicBezTo>
                <a:cubicBezTo>
                  <a:pt x="2130" y="10"/>
                  <a:pt x="2140" y="0"/>
                  <a:pt x="2153" y="0"/>
                </a:cubicBezTo>
                <a:lnTo>
                  <a:pt x="2153" y="0"/>
                </a:lnTo>
                <a:cubicBezTo>
                  <a:pt x="2166" y="0"/>
                  <a:pt x="2177" y="10"/>
                  <a:pt x="2177" y="23"/>
                </a:cubicBezTo>
                <a:cubicBezTo>
                  <a:pt x="2177" y="36"/>
                  <a:pt x="2166" y="47"/>
                  <a:pt x="2153" y="47"/>
                </a:cubicBezTo>
                <a:close/>
                <a:moveTo>
                  <a:pt x="2012" y="47"/>
                </a:moveTo>
                <a:lnTo>
                  <a:pt x="2012" y="47"/>
                </a:lnTo>
                <a:cubicBezTo>
                  <a:pt x="1999" y="47"/>
                  <a:pt x="1989" y="36"/>
                  <a:pt x="1989" y="23"/>
                </a:cubicBezTo>
                <a:cubicBezTo>
                  <a:pt x="1989" y="10"/>
                  <a:pt x="1999" y="0"/>
                  <a:pt x="2012" y="0"/>
                </a:cubicBezTo>
                <a:lnTo>
                  <a:pt x="2012" y="0"/>
                </a:lnTo>
                <a:cubicBezTo>
                  <a:pt x="2025" y="0"/>
                  <a:pt x="2036" y="10"/>
                  <a:pt x="2036" y="23"/>
                </a:cubicBezTo>
                <a:cubicBezTo>
                  <a:pt x="2036" y="36"/>
                  <a:pt x="2025" y="47"/>
                  <a:pt x="2012" y="47"/>
                </a:cubicBezTo>
                <a:close/>
                <a:moveTo>
                  <a:pt x="1872" y="47"/>
                </a:moveTo>
                <a:lnTo>
                  <a:pt x="1872" y="47"/>
                </a:lnTo>
                <a:cubicBezTo>
                  <a:pt x="1859" y="47"/>
                  <a:pt x="1848" y="36"/>
                  <a:pt x="1848" y="23"/>
                </a:cubicBezTo>
                <a:cubicBezTo>
                  <a:pt x="1848" y="10"/>
                  <a:pt x="1859" y="0"/>
                  <a:pt x="1872" y="0"/>
                </a:cubicBezTo>
                <a:lnTo>
                  <a:pt x="1872" y="0"/>
                </a:lnTo>
                <a:cubicBezTo>
                  <a:pt x="1885" y="0"/>
                  <a:pt x="1895" y="10"/>
                  <a:pt x="1895" y="23"/>
                </a:cubicBezTo>
                <a:cubicBezTo>
                  <a:pt x="1895" y="36"/>
                  <a:pt x="1885" y="47"/>
                  <a:pt x="1872" y="47"/>
                </a:cubicBezTo>
                <a:close/>
                <a:moveTo>
                  <a:pt x="1731" y="47"/>
                </a:moveTo>
                <a:lnTo>
                  <a:pt x="1731" y="47"/>
                </a:lnTo>
                <a:cubicBezTo>
                  <a:pt x="1718" y="47"/>
                  <a:pt x="1707" y="36"/>
                  <a:pt x="1707" y="23"/>
                </a:cubicBezTo>
                <a:cubicBezTo>
                  <a:pt x="1707" y="10"/>
                  <a:pt x="1718" y="0"/>
                  <a:pt x="1731" y="0"/>
                </a:cubicBezTo>
                <a:lnTo>
                  <a:pt x="1731" y="0"/>
                </a:lnTo>
                <a:cubicBezTo>
                  <a:pt x="1744" y="0"/>
                  <a:pt x="1754" y="10"/>
                  <a:pt x="1754" y="23"/>
                </a:cubicBezTo>
                <a:cubicBezTo>
                  <a:pt x="1754" y="36"/>
                  <a:pt x="1744" y="47"/>
                  <a:pt x="1731" y="47"/>
                </a:cubicBezTo>
                <a:close/>
                <a:moveTo>
                  <a:pt x="1590" y="47"/>
                </a:moveTo>
                <a:lnTo>
                  <a:pt x="1590" y="47"/>
                </a:lnTo>
                <a:cubicBezTo>
                  <a:pt x="1577" y="47"/>
                  <a:pt x="1566" y="36"/>
                  <a:pt x="1566" y="23"/>
                </a:cubicBezTo>
                <a:cubicBezTo>
                  <a:pt x="1566" y="10"/>
                  <a:pt x="1577" y="0"/>
                  <a:pt x="1590" y="0"/>
                </a:cubicBezTo>
                <a:lnTo>
                  <a:pt x="1590" y="0"/>
                </a:lnTo>
                <a:cubicBezTo>
                  <a:pt x="1603" y="0"/>
                  <a:pt x="1613" y="10"/>
                  <a:pt x="1613" y="23"/>
                </a:cubicBezTo>
                <a:cubicBezTo>
                  <a:pt x="1613" y="36"/>
                  <a:pt x="1603" y="47"/>
                  <a:pt x="1590" y="47"/>
                </a:cubicBezTo>
                <a:close/>
                <a:moveTo>
                  <a:pt x="1449" y="47"/>
                </a:moveTo>
                <a:lnTo>
                  <a:pt x="1449" y="47"/>
                </a:lnTo>
                <a:cubicBezTo>
                  <a:pt x="1436" y="47"/>
                  <a:pt x="1426" y="36"/>
                  <a:pt x="1426" y="23"/>
                </a:cubicBezTo>
                <a:cubicBezTo>
                  <a:pt x="1426" y="10"/>
                  <a:pt x="1436" y="0"/>
                  <a:pt x="1449" y="0"/>
                </a:cubicBezTo>
                <a:lnTo>
                  <a:pt x="1449" y="0"/>
                </a:lnTo>
                <a:cubicBezTo>
                  <a:pt x="1462" y="0"/>
                  <a:pt x="1473" y="10"/>
                  <a:pt x="1473" y="23"/>
                </a:cubicBezTo>
                <a:cubicBezTo>
                  <a:pt x="1473" y="36"/>
                  <a:pt x="1462" y="47"/>
                  <a:pt x="1449" y="47"/>
                </a:cubicBezTo>
                <a:close/>
                <a:moveTo>
                  <a:pt x="1308" y="47"/>
                </a:moveTo>
                <a:lnTo>
                  <a:pt x="1308" y="47"/>
                </a:lnTo>
                <a:cubicBezTo>
                  <a:pt x="1295" y="47"/>
                  <a:pt x="1285" y="36"/>
                  <a:pt x="1285" y="23"/>
                </a:cubicBezTo>
                <a:cubicBezTo>
                  <a:pt x="1285" y="10"/>
                  <a:pt x="1295" y="0"/>
                  <a:pt x="1308" y="0"/>
                </a:cubicBezTo>
                <a:lnTo>
                  <a:pt x="1308" y="0"/>
                </a:lnTo>
                <a:cubicBezTo>
                  <a:pt x="1321" y="0"/>
                  <a:pt x="1332" y="10"/>
                  <a:pt x="1332" y="23"/>
                </a:cubicBezTo>
                <a:cubicBezTo>
                  <a:pt x="1332" y="36"/>
                  <a:pt x="1321" y="47"/>
                  <a:pt x="1308" y="47"/>
                </a:cubicBezTo>
                <a:close/>
                <a:moveTo>
                  <a:pt x="1167" y="47"/>
                </a:moveTo>
                <a:lnTo>
                  <a:pt x="1167" y="47"/>
                </a:lnTo>
                <a:cubicBezTo>
                  <a:pt x="1154" y="47"/>
                  <a:pt x="1144" y="36"/>
                  <a:pt x="1144" y="23"/>
                </a:cubicBezTo>
                <a:cubicBezTo>
                  <a:pt x="1144" y="10"/>
                  <a:pt x="1154" y="0"/>
                  <a:pt x="1167" y="0"/>
                </a:cubicBezTo>
                <a:lnTo>
                  <a:pt x="1167" y="0"/>
                </a:lnTo>
                <a:cubicBezTo>
                  <a:pt x="1180" y="0"/>
                  <a:pt x="1191" y="10"/>
                  <a:pt x="1191" y="23"/>
                </a:cubicBezTo>
                <a:cubicBezTo>
                  <a:pt x="1191" y="36"/>
                  <a:pt x="1180" y="47"/>
                  <a:pt x="1167" y="47"/>
                </a:cubicBezTo>
                <a:close/>
                <a:moveTo>
                  <a:pt x="1027" y="47"/>
                </a:moveTo>
                <a:lnTo>
                  <a:pt x="1027" y="47"/>
                </a:lnTo>
                <a:cubicBezTo>
                  <a:pt x="1014" y="47"/>
                  <a:pt x="1003" y="36"/>
                  <a:pt x="1003" y="23"/>
                </a:cubicBezTo>
                <a:cubicBezTo>
                  <a:pt x="1003" y="10"/>
                  <a:pt x="1014" y="0"/>
                  <a:pt x="1027" y="0"/>
                </a:cubicBezTo>
                <a:lnTo>
                  <a:pt x="1027" y="0"/>
                </a:lnTo>
                <a:cubicBezTo>
                  <a:pt x="1040" y="0"/>
                  <a:pt x="1050" y="10"/>
                  <a:pt x="1050" y="23"/>
                </a:cubicBezTo>
                <a:cubicBezTo>
                  <a:pt x="1050" y="36"/>
                  <a:pt x="1040" y="47"/>
                  <a:pt x="1027" y="47"/>
                </a:cubicBezTo>
                <a:close/>
                <a:moveTo>
                  <a:pt x="886" y="47"/>
                </a:moveTo>
                <a:lnTo>
                  <a:pt x="886" y="47"/>
                </a:lnTo>
                <a:cubicBezTo>
                  <a:pt x="873" y="47"/>
                  <a:pt x="862" y="36"/>
                  <a:pt x="862" y="23"/>
                </a:cubicBezTo>
                <a:cubicBezTo>
                  <a:pt x="862" y="10"/>
                  <a:pt x="873" y="0"/>
                  <a:pt x="886" y="0"/>
                </a:cubicBezTo>
                <a:lnTo>
                  <a:pt x="886" y="0"/>
                </a:lnTo>
                <a:cubicBezTo>
                  <a:pt x="899" y="0"/>
                  <a:pt x="909" y="10"/>
                  <a:pt x="909" y="23"/>
                </a:cubicBezTo>
                <a:cubicBezTo>
                  <a:pt x="909" y="36"/>
                  <a:pt x="899" y="47"/>
                  <a:pt x="886" y="47"/>
                </a:cubicBezTo>
                <a:close/>
                <a:moveTo>
                  <a:pt x="745" y="47"/>
                </a:moveTo>
                <a:lnTo>
                  <a:pt x="745" y="47"/>
                </a:lnTo>
                <a:cubicBezTo>
                  <a:pt x="732" y="47"/>
                  <a:pt x="721" y="36"/>
                  <a:pt x="721" y="23"/>
                </a:cubicBezTo>
                <a:cubicBezTo>
                  <a:pt x="721" y="10"/>
                  <a:pt x="732" y="0"/>
                  <a:pt x="745" y="0"/>
                </a:cubicBezTo>
                <a:lnTo>
                  <a:pt x="745" y="0"/>
                </a:lnTo>
                <a:cubicBezTo>
                  <a:pt x="758" y="0"/>
                  <a:pt x="768" y="10"/>
                  <a:pt x="768" y="23"/>
                </a:cubicBezTo>
                <a:cubicBezTo>
                  <a:pt x="768" y="36"/>
                  <a:pt x="758" y="47"/>
                  <a:pt x="745" y="47"/>
                </a:cubicBezTo>
                <a:close/>
                <a:moveTo>
                  <a:pt x="604" y="47"/>
                </a:moveTo>
                <a:lnTo>
                  <a:pt x="604" y="47"/>
                </a:lnTo>
                <a:cubicBezTo>
                  <a:pt x="591" y="47"/>
                  <a:pt x="581" y="36"/>
                  <a:pt x="581" y="23"/>
                </a:cubicBezTo>
                <a:cubicBezTo>
                  <a:pt x="581" y="10"/>
                  <a:pt x="591" y="0"/>
                  <a:pt x="604" y="0"/>
                </a:cubicBezTo>
                <a:lnTo>
                  <a:pt x="604" y="0"/>
                </a:lnTo>
                <a:cubicBezTo>
                  <a:pt x="617" y="0"/>
                  <a:pt x="627" y="10"/>
                  <a:pt x="627" y="23"/>
                </a:cubicBezTo>
                <a:cubicBezTo>
                  <a:pt x="627" y="36"/>
                  <a:pt x="617" y="47"/>
                  <a:pt x="604" y="47"/>
                </a:cubicBezTo>
                <a:close/>
                <a:moveTo>
                  <a:pt x="463" y="47"/>
                </a:moveTo>
                <a:lnTo>
                  <a:pt x="463" y="47"/>
                </a:lnTo>
                <a:cubicBezTo>
                  <a:pt x="450" y="47"/>
                  <a:pt x="440" y="36"/>
                  <a:pt x="440" y="23"/>
                </a:cubicBezTo>
                <a:cubicBezTo>
                  <a:pt x="440" y="10"/>
                  <a:pt x="450" y="0"/>
                  <a:pt x="463" y="0"/>
                </a:cubicBezTo>
                <a:lnTo>
                  <a:pt x="463" y="0"/>
                </a:lnTo>
                <a:cubicBezTo>
                  <a:pt x="476" y="0"/>
                  <a:pt x="487" y="10"/>
                  <a:pt x="487" y="23"/>
                </a:cubicBezTo>
                <a:cubicBezTo>
                  <a:pt x="487" y="36"/>
                  <a:pt x="476" y="47"/>
                  <a:pt x="463" y="47"/>
                </a:cubicBezTo>
                <a:close/>
                <a:moveTo>
                  <a:pt x="322" y="47"/>
                </a:moveTo>
                <a:lnTo>
                  <a:pt x="322" y="47"/>
                </a:lnTo>
                <a:cubicBezTo>
                  <a:pt x="309" y="47"/>
                  <a:pt x="299" y="36"/>
                  <a:pt x="299" y="23"/>
                </a:cubicBezTo>
                <a:cubicBezTo>
                  <a:pt x="299" y="10"/>
                  <a:pt x="309" y="0"/>
                  <a:pt x="322" y="0"/>
                </a:cubicBezTo>
                <a:lnTo>
                  <a:pt x="322" y="0"/>
                </a:lnTo>
                <a:cubicBezTo>
                  <a:pt x="335" y="0"/>
                  <a:pt x="346" y="10"/>
                  <a:pt x="346" y="23"/>
                </a:cubicBezTo>
                <a:cubicBezTo>
                  <a:pt x="346" y="36"/>
                  <a:pt x="335" y="47"/>
                  <a:pt x="322" y="47"/>
                </a:cubicBezTo>
                <a:close/>
                <a:moveTo>
                  <a:pt x="181" y="47"/>
                </a:moveTo>
                <a:lnTo>
                  <a:pt x="181" y="47"/>
                </a:lnTo>
                <a:cubicBezTo>
                  <a:pt x="168" y="47"/>
                  <a:pt x="158" y="36"/>
                  <a:pt x="158" y="23"/>
                </a:cubicBezTo>
                <a:cubicBezTo>
                  <a:pt x="158" y="10"/>
                  <a:pt x="168" y="0"/>
                  <a:pt x="181" y="0"/>
                </a:cubicBezTo>
                <a:lnTo>
                  <a:pt x="181" y="0"/>
                </a:lnTo>
                <a:cubicBezTo>
                  <a:pt x="194" y="0"/>
                  <a:pt x="205" y="10"/>
                  <a:pt x="205" y="23"/>
                </a:cubicBezTo>
                <a:cubicBezTo>
                  <a:pt x="205" y="36"/>
                  <a:pt x="194" y="47"/>
                  <a:pt x="181" y="47"/>
                </a:cubicBezTo>
                <a:close/>
                <a:moveTo>
                  <a:pt x="41" y="47"/>
                </a:moveTo>
                <a:lnTo>
                  <a:pt x="41" y="47"/>
                </a:lnTo>
                <a:cubicBezTo>
                  <a:pt x="28" y="47"/>
                  <a:pt x="17" y="36"/>
                  <a:pt x="17" y="23"/>
                </a:cubicBezTo>
                <a:cubicBezTo>
                  <a:pt x="17" y="10"/>
                  <a:pt x="28" y="0"/>
                  <a:pt x="41" y="0"/>
                </a:cubicBezTo>
                <a:lnTo>
                  <a:pt x="41" y="0"/>
                </a:lnTo>
                <a:cubicBezTo>
                  <a:pt x="54" y="0"/>
                  <a:pt x="64" y="10"/>
                  <a:pt x="64" y="23"/>
                </a:cubicBezTo>
                <a:cubicBezTo>
                  <a:pt x="64" y="36"/>
                  <a:pt x="54" y="47"/>
                  <a:pt x="41" y="47"/>
                </a:cubicBezTo>
                <a:close/>
              </a:path>
            </a:pathLst>
          </a:custGeom>
          <a:solidFill>
            <a:srgbClr val="0078D7"/>
          </a:solidFill>
          <a:ln w="0" cap="flat">
            <a:solidFill>
              <a:srgbClr val="0078D7"/>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41" name="Freeform 141">
            <a:extLst>
              <a:ext uri="{FF2B5EF4-FFF2-40B4-BE49-F238E27FC236}">
                <a16:creationId xmlns:a16="http://schemas.microsoft.com/office/drawing/2014/main" id="{E0886E2C-3BD3-4A1D-BF1E-0CDFA4DE56EB}"/>
              </a:ext>
            </a:extLst>
          </p:cNvPr>
          <p:cNvSpPr>
            <a:spLocks/>
          </p:cNvSpPr>
          <p:nvPr/>
        </p:nvSpPr>
        <p:spPr bwMode="auto">
          <a:xfrm>
            <a:off x="4071938" y="5724526"/>
            <a:ext cx="114300" cy="115888"/>
          </a:xfrm>
          <a:custGeom>
            <a:avLst/>
            <a:gdLst>
              <a:gd name="T0" fmla="*/ 72 w 72"/>
              <a:gd name="T1" fmla="*/ 73 h 73"/>
              <a:gd name="T2" fmla="*/ 0 w 72"/>
              <a:gd name="T3" fmla="*/ 36 h 73"/>
              <a:gd name="T4" fmla="*/ 72 w 72"/>
              <a:gd name="T5" fmla="*/ 0 h 73"/>
              <a:gd name="T6" fmla="*/ 72 w 72"/>
              <a:gd name="T7" fmla="*/ 73 h 73"/>
            </a:gdLst>
            <a:ahLst/>
            <a:cxnLst>
              <a:cxn ang="0">
                <a:pos x="T0" y="T1"/>
              </a:cxn>
              <a:cxn ang="0">
                <a:pos x="T2" y="T3"/>
              </a:cxn>
              <a:cxn ang="0">
                <a:pos x="T4" y="T5"/>
              </a:cxn>
              <a:cxn ang="0">
                <a:pos x="T6" y="T7"/>
              </a:cxn>
            </a:cxnLst>
            <a:rect l="0" t="0" r="r" b="b"/>
            <a:pathLst>
              <a:path w="72" h="73">
                <a:moveTo>
                  <a:pt x="72" y="73"/>
                </a:moveTo>
                <a:lnTo>
                  <a:pt x="0" y="36"/>
                </a:lnTo>
                <a:lnTo>
                  <a:pt x="72" y="0"/>
                </a:lnTo>
                <a:lnTo>
                  <a:pt x="72" y="73"/>
                </a:lnTo>
                <a:close/>
              </a:path>
            </a:pathLst>
          </a:custGeom>
          <a:solidFill>
            <a:srgbClr val="703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44" name="Freeform 144">
            <a:extLst>
              <a:ext uri="{FF2B5EF4-FFF2-40B4-BE49-F238E27FC236}">
                <a16:creationId xmlns:a16="http://schemas.microsoft.com/office/drawing/2014/main" id="{337745FD-9D37-428F-9937-60BDD7B2178C}"/>
              </a:ext>
            </a:extLst>
          </p:cNvPr>
          <p:cNvSpPr>
            <a:spLocks/>
          </p:cNvSpPr>
          <p:nvPr/>
        </p:nvSpPr>
        <p:spPr bwMode="auto">
          <a:xfrm>
            <a:off x="2790826" y="2614613"/>
            <a:ext cx="233363" cy="254000"/>
          </a:xfrm>
          <a:custGeom>
            <a:avLst/>
            <a:gdLst>
              <a:gd name="T0" fmla="*/ 312 w 823"/>
              <a:gd name="T1" fmla="*/ 57 h 899"/>
              <a:gd name="T2" fmla="*/ 56 w 823"/>
              <a:gd name="T3" fmla="*/ 539 h 899"/>
              <a:gd name="T4" fmla="*/ 511 w 823"/>
              <a:gd name="T5" fmla="*/ 852 h 899"/>
              <a:gd name="T6" fmla="*/ 766 w 823"/>
              <a:gd name="T7" fmla="*/ 369 h 899"/>
              <a:gd name="T8" fmla="*/ 312 w 823"/>
              <a:gd name="T9" fmla="*/ 57 h 899"/>
            </a:gdLst>
            <a:ahLst/>
            <a:cxnLst>
              <a:cxn ang="0">
                <a:pos x="T0" y="T1"/>
              </a:cxn>
              <a:cxn ang="0">
                <a:pos x="T2" y="T3"/>
              </a:cxn>
              <a:cxn ang="0">
                <a:pos x="T4" y="T5"/>
              </a:cxn>
              <a:cxn ang="0">
                <a:pos x="T6" y="T7"/>
              </a:cxn>
              <a:cxn ang="0">
                <a:pos x="T8" y="T9"/>
              </a:cxn>
            </a:cxnLst>
            <a:rect l="0" t="0" r="r" b="b"/>
            <a:pathLst>
              <a:path w="823" h="899">
                <a:moveTo>
                  <a:pt x="312" y="57"/>
                </a:moveTo>
                <a:cubicBezTo>
                  <a:pt x="113" y="104"/>
                  <a:pt x="0" y="322"/>
                  <a:pt x="56" y="539"/>
                </a:cubicBezTo>
                <a:cubicBezTo>
                  <a:pt x="113" y="757"/>
                  <a:pt x="312" y="899"/>
                  <a:pt x="511" y="852"/>
                </a:cubicBezTo>
                <a:cubicBezTo>
                  <a:pt x="709" y="804"/>
                  <a:pt x="823" y="587"/>
                  <a:pt x="766" y="369"/>
                </a:cubicBezTo>
                <a:cubicBezTo>
                  <a:pt x="719" y="142"/>
                  <a:pt x="511" y="0"/>
                  <a:pt x="312" y="57"/>
                </a:cubicBezTo>
              </a:path>
            </a:pathLst>
          </a:custGeom>
          <a:solidFill>
            <a:srgbClr val="0078D7"/>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45" name="Freeform 145">
            <a:extLst>
              <a:ext uri="{FF2B5EF4-FFF2-40B4-BE49-F238E27FC236}">
                <a16:creationId xmlns:a16="http://schemas.microsoft.com/office/drawing/2014/main" id="{B453C8EB-98B4-4253-9E58-03D2F21D30CB}"/>
              </a:ext>
            </a:extLst>
          </p:cNvPr>
          <p:cNvSpPr>
            <a:spLocks/>
          </p:cNvSpPr>
          <p:nvPr/>
        </p:nvSpPr>
        <p:spPr bwMode="auto">
          <a:xfrm>
            <a:off x="2695576" y="2859088"/>
            <a:ext cx="382588" cy="166688"/>
          </a:xfrm>
          <a:custGeom>
            <a:avLst/>
            <a:gdLst>
              <a:gd name="T0" fmla="*/ 1070 w 1344"/>
              <a:gd name="T1" fmla="*/ 48 h 587"/>
              <a:gd name="T2" fmla="*/ 937 w 1344"/>
              <a:gd name="T3" fmla="*/ 142 h 587"/>
              <a:gd name="T4" fmla="*/ 663 w 1344"/>
              <a:gd name="T5" fmla="*/ 142 h 587"/>
              <a:gd name="T6" fmla="*/ 351 w 1344"/>
              <a:gd name="T7" fmla="*/ 0 h 587"/>
              <a:gd name="T8" fmla="*/ 0 w 1344"/>
              <a:gd name="T9" fmla="*/ 587 h 587"/>
              <a:gd name="T10" fmla="*/ 1344 w 1344"/>
              <a:gd name="T11" fmla="*/ 587 h 587"/>
              <a:gd name="T12" fmla="*/ 1250 w 1344"/>
              <a:gd name="T13" fmla="*/ 227 h 587"/>
              <a:gd name="T14" fmla="*/ 1070 w 1344"/>
              <a:gd name="T15" fmla="*/ 48 h 5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44" h="587">
                <a:moveTo>
                  <a:pt x="1070" y="48"/>
                </a:moveTo>
                <a:cubicBezTo>
                  <a:pt x="1032" y="48"/>
                  <a:pt x="994" y="114"/>
                  <a:pt x="937" y="142"/>
                </a:cubicBezTo>
                <a:cubicBezTo>
                  <a:pt x="881" y="171"/>
                  <a:pt x="824" y="218"/>
                  <a:pt x="663" y="142"/>
                </a:cubicBezTo>
                <a:cubicBezTo>
                  <a:pt x="502" y="66"/>
                  <a:pt x="483" y="0"/>
                  <a:pt x="351" y="0"/>
                </a:cubicBezTo>
                <a:cubicBezTo>
                  <a:pt x="218" y="0"/>
                  <a:pt x="0" y="237"/>
                  <a:pt x="0" y="587"/>
                </a:cubicBezTo>
                <a:lnTo>
                  <a:pt x="1344" y="587"/>
                </a:lnTo>
                <a:cubicBezTo>
                  <a:pt x="1344" y="587"/>
                  <a:pt x="1326" y="350"/>
                  <a:pt x="1250" y="227"/>
                </a:cubicBezTo>
                <a:cubicBezTo>
                  <a:pt x="1155" y="48"/>
                  <a:pt x="1108" y="48"/>
                  <a:pt x="1070" y="48"/>
                </a:cubicBezTo>
                <a:close/>
              </a:path>
            </a:pathLst>
          </a:custGeom>
          <a:solidFill>
            <a:srgbClr val="0078D7"/>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46" name="Freeform 146">
            <a:extLst>
              <a:ext uri="{FF2B5EF4-FFF2-40B4-BE49-F238E27FC236}">
                <a16:creationId xmlns:a16="http://schemas.microsoft.com/office/drawing/2014/main" id="{D148076D-2CC6-4DA0-88F7-0F1514A5776A}"/>
              </a:ext>
            </a:extLst>
          </p:cNvPr>
          <p:cNvSpPr>
            <a:spLocks noEditPoints="1"/>
          </p:cNvSpPr>
          <p:nvPr/>
        </p:nvSpPr>
        <p:spPr bwMode="auto">
          <a:xfrm>
            <a:off x="2917826" y="2752726"/>
            <a:ext cx="131763" cy="252413"/>
          </a:xfrm>
          <a:custGeom>
            <a:avLst/>
            <a:gdLst>
              <a:gd name="T0" fmla="*/ 411 w 467"/>
              <a:gd name="T1" fmla="*/ 0 h 888"/>
              <a:gd name="T2" fmla="*/ 56 w 467"/>
              <a:gd name="T3" fmla="*/ 0 h 888"/>
              <a:gd name="T4" fmla="*/ 0 w 467"/>
              <a:gd name="T5" fmla="*/ 56 h 888"/>
              <a:gd name="T6" fmla="*/ 0 w 467"/>
              <a:gd name="T7" fmla="*/ 299 h 888"/>
              <a:gd name="T8" fmla="*/ 65 w 467"/>
              <a:gd name="T9" fmla="*/ 355 h 888"/>
              <a:gd name="T10" fmla="*/ 130 w 467"/>
              <a:gd name="T11" fmla="*/ 355 h 888"/>
              <a:gd name="T12" fmla="*/ 130 w 467"/>
              <a:gd name="T13" fmla="*/ 794 h 888"/>
              <a:gd name="T14" fmla="*/ 214 w 467"/>
              <a:gd name="T15" fmla="*/ 888 h 888"/>
              <a:gd name="T16" fmla="*/ 298 w 467"/>
              <a:gd name="T17" fmla="*/ 804 h 888"/>
              <a:gd name="T18" fmla="*/ 317 w 467"/>
              <a:gd name="T19" fmla="*/ 804 h 888"/>
              <a:gd name="T20" fmla="*/ 317 w 467"/>
              <a:gd name="T21" fmla="*/ 748 h 888"/>
              <a:gd name="T22" fmla="*/ 345 w 467"/>
              <a:gd name="T23" fmla="*/ 720 h 888"/>
              <a:gd name="T24" fmla="*/ 345 w 467"/>
              <a:gd name="T25" fmla="*/ 692 h 888"/>
              <a:gd name="T26" fmla="*/ 298 w 467"/>
              <a:gd name="T27" fmla="*/ 654 h 888"/>
              <a:gd name="T28" fmla="*/ 298 w 467"/>
              <a:gd name="T29" fmla="*/ 626 h 888"/>
              <a:gd name="T30" fmla="*/ 317 w 467"/>
              <a:gd name="T31" fmla="*/ 608 h 888"/>
              <a:gd name="T32" fmla="*/ 345 w 467"/>
              <a:gd name="T33" fmla="*/ 561 h 888"/>
              <a:gd name="T34" fmla="*/ 317 w 467"/>
              <a:gd name="T35" fmla="*/ 514 h 888"/>
              <a:gd name="T36" fmla="*/ 298 w 467"/>
              <a:gd name="T37" fmla="*/ 477 h 888"/>
              <a:gd name="T38" fmla="*/ 298 w 467"/>
              <a:gd name="T39" fmla="*/ 458 h 888"/>
              <a:gd name="T40" fmla="*/ 364 w 467"/>
              <a:gd name="T41" fmla="*/ 365 h 888"/>
              <a:gd name="T42" fmla="*/ 411 w 467"/>
              <a:gd name="T43" fmla="*/ 365 h 888"/>
              <a:gd name="T44" fmla="*/ 467 w 467"/>
              <a:gd name="T45" fmla="*/ 309 h 888"/>
              <a:gd name="T46" fmla="*/ 467 w 467"/>
              <a:gd name="T47" fmla="*/ 56 h 888"/>
              <a:gd name="T48" fmla="*/ 411 w 467"/>
              <a:gd name="T49" fmla="*/ 0 h 888"/>
              <a:gd name="T50" fmla="*/ 205 w 467"/>
              <a:gd name="T51" fmla="*/ 813 h 888"/>
              <a:gd name="T52" fmla="*/ 186 w 467"/>
              <a:gd name="T53" fmla="*/ 841 h 888"/>
              <a:gd name="T54" fmla="*/ 168 w 467"/>
              <a:gd name="T55" fmla="*/ 813 h 888"/>
              <a:gd name="T56" fmla="*/ 168 w 467"/>
              <a:gd name="T57" fmla="*/ 402 h 888"/>
              <a:gd name="T58" fmla="*/ 186 w 467"/>
              <a:gd name="T59" fmla="*/ 374 h 888"/>
              <a:gd name="T60" fmla="*/ 205 w 467"/>
              <a:gd name="T61" fmla="*/ 402 h 888"/>
              <a:gd name="T62" fmla="*/ 205 w 467"/>
              <a:gd name="T63" fmla="*/ 813 h 888"/>
              <a:gd name="T64" fmla="*/ 233 w 467"/>
              <a:gd name="T65" fmla="*/ 150 h 888"/>
              <a:gd name="T66" fmla="*/ 177 w 467"/>
              <a:gd name="T67" fmla="*/ 94 h 888"/>
              <a:gd name="T68" fmla="*/ 233 w 467"/>
              <a:gd name="T69" fmla="*/ 38 h 888"/>
              <a:gd name="T70" fmla="*/ 289 w 467"/>
              <a:gd name="T71" fmla="*/ 94 h 888"/>
              <a:gd name="T72" fmla="*/ 233 w 467"/>
              <a:gd name="T73" fmla="*/ 150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7" h="888">
                <a:moveTo>
                  <a:pt x="411" y="0"/>
                </a:moveTo>
                <a:lnTo>
                  <a:pt x="56" y="0"/>
                </a:lnTo>
                <a:cubicBezTo>
                  <a:pt x="28" y="0"/>
                  <a:pt x="0" y="28"/>
                  <a:pt x="0" y="56"/>
                </a:cubicBezTo>
                <a:lnTo>
                  <a:pt x="0" y="299"/>
                </a:lnTo>
                <a:cubicBezTo>
                  <a:pt x="0" y="327"/>
                  <a:pt x="28" y="355"/>
                  <a:pt x="65" y="355"/>
                </a:cubicBezTo>
                <a:lnTo>
                  <a:pt x="130" y="355"/>
                </a:lnTo>
                <a:lnTo>
                  <a:pt x="130" y="794"/>
                </a:lnTo>
                <a:cubicBezTo>
                  <a:pt x="130" y="850"/>
                  <a:pt x="168" y="888"/>
                  <a:pt x="214" y="888"/>
                </a:cubicBezTo>
                <a:cubicBezTo>
                  <a:pt x="261" y="888"/>
                  <a:pt x="298" y="850"/>
                  <a:pt x="298" y="804"/>
                </a:cubicBezTo>
                <a:cubicBezTo>
                  <a:pt x="308" y="804"/>
                  <a:pt x="317" y="804"/>
                  <a:pt x="317" y="804"/>
                </a:cubicBezTo>
                <a:cubicBezTo>
                  <a:pt x="317" y="804"/>
                  <a:pt x="317" y="757"/>
                  <a:pt x="317" y="748"/>
                </a:cubicBezTo>
                <a:cubicBezTo>
                  <a:pt x="317" y="729"/>
                  <a:pt x="345" y="720"/>
                  <a:pt x="345" y="720"/>
                </a:cubicBezTo>
                <a:cubicBezTo>
                  <a:pt x="345" y="720"/>
                  <a:pt x="345" y="692"/>
                  <a:pt x="345" y="692"/>
                </a:cubicBezTo>
                <a:cubicBezTo>
                  <a:pt x="317" y="682"/>
                  <a:pt x="298" y="664"/>
                  <a:pt x="298" y="654"/>
                </a:cubicBezTo>
                <a:lnTo>
                  <a:pt x="298" y="626"/>
                </a:lnTo>
                <a:cubicBezTo>
                  <a:pt x="308" y="617"/>
                  <a:pt x="317" y="608"/>
                  <a:pt x="317" y="608"/>
                </a:cubicBezTo>
                <a:cubicBezTo>
                  <a:pt x="326" y="598"/>
                  <a:pt x="345" y="561"/>
                  <a:pt x="345" y="561"/>
                </a:cubicBezTo>
                <a:cubicBezTo>
                  <a:pt x="345" y="561"/>
                  <a:pt x="317" y="523"/>
                  <a:pt x="317" y="514"/>
                </a:cubicBezTo>
                <a:cubicBezTo>
                  <a:pt x="308" y="505"/>
                  <a:pt x="308" y="486"/>
                  <a:pt x="298" y="477"/>
                </a:cubicBezTo>
                <a:lnTo>
                  <a:pt x="298" y="458"/>
                </a:lnTo>
                <a:cubicBezTo>
                  <a:pt x="308" y="411"/>
                  <a:pt x="364" y="365"/>
                  <a:pt x="364" y="365"/>
                </a:cubicBezTo>
                <a:lnTo>
                  <a:pt x="411" y="365"/>
                </a:lnTo>
                <a:cubicBezTo>
                  <a:pt x="439" y="365"/>
                  <a:pt x="467" y="337"/>
                  <a:pt x="467" y="309"/>
                </a:cubicBezTo>
                <a:lnTo>
                  <a:pt x="467" y="56"/>
                </a:lnTo>
                <a:cubicBezTo>
                  <a:pt x="467" y="28"/>
                  <a:pt x="448" y="0"/>
                  <a:pt x="411" y="0"/>
                </a:cubicBezTo>
                <a:close/>
                <a:moveTo>
                  <a:pt x="205" y="813"/>
                </a:moveTo>
                <a:cubicBezTo>
                  <a:pt x="205" y="832"/>
                  <a:pt x="205" y="841"/>
                  <a:pt x="186" y="841"/>
                </a:cubicBezTo>
                <a:cubicBezTo>
                  <a:pt x="168" y="841"/>
                  <a:pt x="168" y="822"/>
                  <a:pt x="168" y="813"/>
                </a:cubicBezTo>
                <a:lnTo>
                  <a:pt x="168" y="402"/>
                </a:lnTo>
                <a:cubicBezTo>
                  <a:pt x="168" y="383"/>
                  <a:pt x="177" y="374"/>
                  <a:pt x="186" y="374"/>
                </a:cubicBezTo>
                <a:cubicBezTo>
                  <a:pt x="205" y="374"/>
                  <a:pt x="205" y="393"/>
                  <a:pt x="205" y="402"/>
                </a:cubicBezTo>
                <a:lnTo>
                  <a:pt x="205" y="813"/>
                </a:lnTo>
                <a:close/>
                <a:moveTo>
                  <a:pt x="233" y="150"/>
                </a:moveTo>
                <a:cubicBezTo>
                  <a:pt x="205" y="150"/>
                  <a:pt x="177" y="122"/>
                  <a:pt x="177" y="94"/>
                </a:cubicBezTo>
                <a:cubicBezTo>
                  <a:pt x="177" y="66"/>
                  <a:pt x="205" y="38"/>
                  <a:pt x="233" y="38"/>
                </a:cubicBezTo>
                <a:cubicBezTo>
                  <a:pt x="261" y="38"/>
                  <a:pt x="289" y="66"/>
                  <a:pt x="289" y="94"/>
                </a:cubicBezTo>
                <a:cubicBezTo>
                  <a:pt x="289" y="122"/>
                  <a:pt x="270" y="150"/>
                  <a:pt x="233" y="150"/>
                </a:cubicBezTo>
                <a:close/>
              </a:path>
            </a:pathLst>
          </a:custGeom>
          <a:solidFill>
            <a:srgbClr val="0078D7"/>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47" name="Freeform 147">
            <a:extLst>
              <a:ext uri="{FF2B5EF4-FFF2-40B4-BE49-F238E27FC236}">
                <a16:creationId xmlns:a16="http://schemas.microsoft.com/office/drawing/2014/main" id="{9AB17270-7B08-48CD-B3BC-DF5A595BEA12}"/>
              </a:ext>
            </a:extLst>
          </p:cNvPr>
          <p:cNvSpPr>
            <a:spLocks noEditPoints="1"/>
          </p:cNvSpPr>
          <p:nvPr/>
        </p:nvSpPr>
        <p:spPr bwMode="auto">
          <a:xfrm>
            <a:off x="2917826" y="2752726"/>
            <a:ext cx="131763" cy="252413"/>
          </a:xfrm>
          <a:custGeom>
            <a:avLst/>
            <a:gdLst>
              <a:gd name="T0" fmla="*/ 411 w 467"/>
              <a:gd name="T1" fmla="*/ 0 h 888"/>
              <a:gd name="T2" fmla="*/ 56 w 467"/>
              <a:gd name="T3" fmla="*/ 0 h 888"/>
              <a:gd name="T4" fmla="*/ 0 w 467"/>
              <a:gd name="T5" fmla="*/ 56 h 888"/>
              <a:gd name="T6" fmla="*/ 0 w 467"/>
              <a:gd name="T7" fmla="*/ 299 h 888"/>
              <a:gd name="T8" fmla="*/ 65 w 467"/>
              <a:gd name="T9" fmla="*/ 355 h 888"/>
              <a:gd name="T10" fmla="*/ 130 w 467"/>
              <a:gd name="T11" fmla="*/ 355 h 888"/>
              <a:gd name="T12" fmla="*/ 130 w 467"/>
              <a:gd name="T13" fmla="*/ 794 h 888"/>
              <a:gd name="T14" fmla="*/ 214 w 467"/>
              <a:gd name="T15" fmla="*/ 888 h 888"/>
              <a:gd name="T16" fmla="*/ 298 w 467"/>
              <a:gd name="T17" fmla="*/ 804 h 888"/>
              <a:gd name="T18" fmla="*/ 317 w 467"/>
              <a:gd name="T19" fmla="*/ 804 h 888"/>
              <a:gd name="T20" fmla="*/ 317 w 467"/>
              <a:gd name="T21" fmla="*/ 748 h 888"/>
              <a:gd name="T22" fmla="*/ 345 w 467"/>
              <a:gd name="T23" fmla="*/ 720 h 888"/>
              <a:gd name="T24" fmla="*/ 345 w 467"/>
              <a:gd name="T25" fmla="*/ 692 h 888"/>
              <a:gd name="T26" fmla="*/ 298 w 467"/>
              <a:gd name="T27" fmla="*/ 654 h 888"/>
              <a:gd name="T28" fmla="*/ 298 w 467"/>
              <a:gd name="T29" fmla="*/ 626 h 888"/>
              <a:gd name="T30" fmla="*/ 317 w 467"/>
              <a:gd name="T31" fmla="*/ 608 h 888"/>
              <a:gd name="T32" fmla="*/ 345 w 467"/>
              <a:gd name="T33" fmla="*/ 561 h 888"/>
              <a:gd name="T34" fmla="*/ 317 w 467"/>
              <a:gd name="T35" fmla="*/ 514 h 888"/>
              <a:gd name="T36" fmla="*/ 298 w 467"/>
              <a:gd name="T37" fmla="*/ 477 h 888"/>
              <a:gd name="T38" fmla="*/ 298 w 467"/>
              <a:gd name="T39" fmla="*/ 458 h 888"/>
              <a:gd name="T40" fmla="*/ 364 w 467"/>
              <a:gd name="T41" fmla="*/ 365 h 888"/>
              <a:gd name="T42" fmla="*/ 411 w 467"/>
              <a:gd name="T43" fmla="*/ 365 h 888"/>
              <a:gd name="T44" fmla="*/ 467 w 467"/>
              <a:gd name="T45" fmla="*/ 309 h 888"/>
              <a:gd name="T46" fmla="*/ 467 w 467"/>
              <a:gd name="T47" fmla="*/ 56 h 888"/>
              <a:gd name="T48" fmla="*/ 411 w 467"/>
              <a:gd name="T49" fmla="*/ 0 h 888"/>
              <a:gd name="T50" fmla="*/ 205 w 467"/>
              <a:gd name="T51" fmla="*/ 813 h 888"/>
              <a:gd name="T52" fmla="*/ 186 w 467"/>
              <a:gd name="T53" fmla="*/ 841 h 888"/>
              <a:gd name="T54" fmla="*/ 168 w 467"/>
              <a:gd name="T55" fmla="*/ 813 h 888"/>
              <a:gd name="T56" fmla="*/ 168 w 467"/>
              <a:gd name="T57" fmla="*/ 402 h 888"/>
              <a:gd name="T58" fmla="*/ 186 w 467"/>
              <a:gd name="T59" fmla="*/ 374 h 888"/>
              <a:gd name="T60" fmla="*/ 205 w 467"/>
              <a:gd name="T61" fmla="*/ 402 h 888"/>
              <a:gd name="T62" fmla="*/ 205 w 467"/>
              <a:gd name="T63" fmla="*/ 813 h 888"/>
              <a:gd name="T64" fmla="*/ 233 w 467"/>
              <a:gd name="T65" fmla="*/ 150 h 888"/>
              <a:gd name="T66" fmla="*/ 177 w 467"/>
              <a:gd name="T67" fmla="*/ 94 h 888"/>
              <a:gd name="T68" fmla="*/ 233 w 467"/>
              <a:gd name="T69" fmla="*/ 38 h 888"/>
              <a:gd name="T70" fmla="*/ 289 w 467"/>
              <a:gd name="T71" fmla="*/ 94 h 888"/>
              <a:gd name="T72" fmla="*/ 233 w 467"/>
              <a:gd name="T73" fmla="*/ 150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7" h="888">
                <a:moveTo>
                  <a:pt x="411" y="0"/>
                </a:moveTo>
                <a:lnTo>
                  <a:pt x="56" y="0"/>
                </a:lnTo>
                <a:cubicBezTo>
                  <a:pt x="28" y="0"/>
                  <a:pt x="0" y="28"/>
                  <a:pt x="0" y="56"/>
                </a:cubicBezTo>
                <a:lnTo>
                  <a:pt x="0" y="299"/>
                </a:lnTo>
                <a:cubicBezTo>
                  <a:pt x="0" y="327"/>
                  <a:pt x="28" y="355"/>
                  <a:pt x="65" y="355"/>
                </a:cubicBezTo>
                <a:lnTo>
                  <a:pt x="130" y="355"/>
                </a:lnTo>
                <a:lnTo>
                  <a:pt x="130" y="794"/>
                </a:lnTo>
                <a:cubicBezTo>
                  <a:pt x="130" y="850"/>
                  <a:pt x="168" y="888"/>
                  <a:pt x="214" y="888"/>
                </a:cubicBezTo>
                <a:cubicBezTo>
                  <a:pt x="261" y="888"/>
                  <a:pt x="298" y="850"/>
                  <a:pt x="298" y="804"/>
                </a:cubicBezTo>
                <a:cubicBezTo>
                  <a:pt x="308" y="804"/>
                  <a:pt x="317" y="804"/>
                  <a:pt x="317" y="804"/>
                </a:cubicBezTo>
                <a:cubicBezTo>
                  <a:pt x="317" y="804"/>
                  <a:pt x="317" y="757"/>
                  <a:pt x="317" y="748"/>
                </a:cubicBezTo>
                <a:cubicBezTo>
                  <a:pt x="317" y="729"/>
                  <a:pt x="345" y="720"/>
                  <a:pt x="345" y="720"/>
                </a:cubicBezTo>
                <a:cubicBezTo>
                  <a:pt x="345" y="720"/>
                  <a:pt x="345" y="692"/>
                  <a:pt x="345" y="692"/>
                </a:cubicBezTo>
                <a:cubicBezTo>
                  <a:pt x="317" y="682"/>
                  <a:pt x="298" y="664"/>
                  <a:pt x="298" y="654"/>
                </a:cubicBezTo>
                <a:lnTo>
                  <a:pt x="298" y="626"/>
                </a:lnTo>
                <a:cubicBezTo>
                  <a:pt x="308" y="617"/>
                  <a:pt x="317" y="608"/>
                  <a:pt x="317" y="608"/>
                </a:cubicBezTo>
                <a:cubicBezTo>
                  <a:pt x="326" y="598"/>
                  <a:pt x="345" y="561"/>
                  <a:pt x="345" y="561"/>
                </a:cubicBezTo>
                <a:cubicBezTo>
                  <a:pt x="345" y="561"/>
                  <a:pt x="317" y="523"/>
                  <a:pt x="317" y="514"/>
                </a:cubicBezTo>
                <a:cubicBezTo>
                  <a:pt x="308" y="505"/>
                  <a:pt x="308" y="486"/>
                  <a:pt x="298" y="477"/>
                </a:cubicBezTo>
                <a:lnTo>
                  <a:pt x="298" y="458"/>
                </a:lnTo>
                <a:cubicBezTo>
                  <a:pt x="308" y="411"/>
                  <a:pt x="364" y="365"/>
                  <a:pt x="364" y="365"/>
                </a:cubicBezTo>
                <a:lnTo>
                  <a:pt x="411" y="365"/>
                </a:lnTo>
                <a:cubicBezTo>
                  <a:pt x="439" y="365"/>
                  <a:pt x="467" y="337"/>
                  <a:pt x="467" y="309"/>
                </a:cubicBezTo>
                <a:lnTo>
                  <a:pt x="467" y="56"/>
                </a:lnTo>
                <a:cubicBezTo>
                  <a:pt x="467" y="28"/>
                  <a:pt x="448" y="0"/>
                  <a:pt x="411" y="0"/>
                </a:cubicBezTo>
                <a:close/>
                <a:moveTo>
                  <a:pt x="205" y="813"/>
                </a:moveTo>
                <a:cubicBezTo>
                  <a:pt x="205" y="832"/>
                  <a:pt x="205" y="841"/>
                  <a:pt x="186" y="841"/>
                </a:cubicBezTo>
                <a:cubicBezTo>
                  <a:pt x="168" y="841"/>
                  <a:pt x="168" y="822"/>
                  <a:pt x="168" y="813"/>
                </a:cubicBezTo>
                <a:lnTo>
                  <a:pt x="168" y="402"/>
                </a:lnTo>
                <a:cubicBezTo>
                  <a:pt x="168" y="383"/>
                  <a:pt x="177" y="374"/>
                  <a:pt x="186" y="374"/>
                </a:cubicBezTo>
                <a:cubicBezTo>
                  <a:pt x="205" y="374"/>
                  <a:pt x="205" y="393"/>
                  <a:pt x="205" y="402"/>
                </a:cubicBezTo>
                <a:lnTo>
                  <a:pt x="205" y="813"/>
                </a:lnTo>
                <a:close/>
                <a:moveTo>
                  <a:pt x="233" y="150"/>
                </a:moveTo>
                <a:cubicBezTo>
                  <a:pt x="205" y="150"/>
                  <a:pt x="177" y="122"/>
                  <a:pt x="177" y="94"/>
                </a:cubicBezTo>
                <a:cubicBezTo>
                  <a:pt x="177" y="66"/>
                  <a:pt x="205" y="38"/>
                  <a:pt x="233" y="38"/>
                </a:cubicBezTo>
                <a:cubicBezTo>
                  <a:pt x="261" y="38"/>
                  <a:pt x="289" y="66"/>
                  <a:pt x="289" y="94"/>
                </a:cubicBezTo>
                <a:cubicBezTo>
                  <a:pt x="289" y="122"/>
                  <a:pt x="270" y="150"/>
                  <a:pt x="233" y="150"/>
                </a:cubicBezTo>
                <a:close/>
              </a:path>
            </a:pathLst>
          </a:custGeom>
          <a:noFill/>
          <a:ln w="635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248" name="Freeform 148">
            <a:extLst>
              <a:ext uri="{FF2B5EF4-FFF2-40B4-BE49-F238E27FC236}">
                <a16:creationId xmlns:a16="http://schemas.microsoft.com/office/drawing/2014/main" id="{5E0B2989-02CF-4828-8498-C7AF644E6BD0}"/>
              </a:ext>
            </a:extLst>
          </p:cNvPr>
          <p:cNvSpPr>
            <a:spLocks/>
          </p:cNvSpPr>
          <p:nvPr/>
        </p:nvSpPr>
        <p:spPr bwMode="auto">
          <a:xfrm>
            <a:off x="2963863" y="2859088"/>
            <a:ext cx="11113" cy="131763"/>
          </a:xfrm>
          <a:custGeom>
            <a:avLst/>
            <a:gdLst>
              <a:gd name="T0" fmla="*/ 19 w 38"/>
              <a:gd name="T1" fmla="*/ 464 h 464"/>
              <a:gd name="T2" fmla="*/ 0 w 38"/>
              <a:gd name="T3" fmla="*/ 445 h 464"/>
              <a:gd name="T4" fmla="*/ 0 w 38"/>
              <a:gd name="T5" fmla="*/ 19 h 464"/>
              <a:gd name="T6" fmla="*/ 19 w 38"/>
              <a:gd name="T7" fmla="*/ 0 h 464"/>
              <a:gd name="T8" fmla="*/ 38 w 38"/>
              <a:gd name="T9" fmla="*/ 19 h 464"/>
              <a:gd name="T10" fmla="*/ 38 w 38"/>
              <a:gd name="T11" fmla="*/ 455 h 464"/>
              <a:gd name="T12" fmla="*/ 19 w 38"/>
              <a:gd name="T13" fmla="*/ 464 h 464"/>
            </a:gdLst>
            <a:ahLst/>
            <a:cxnLst>
              <a:cxn ang="0">
                <a:pos x="T0" y="T1"/>
              </a:cxn>
              <a:cxn ang="0">
                <a:pos x="T2" y="T3"/>
              </a:cxn>
              <a:cxn ang="0">
                <a:pos x="T4" y="T5"/>
              </a:cxn>
              <a:cxn ang="0">
                <a:pos x="T6" y="T7"/>
              </a:cxn>
              <a:cxn ang="0">
                <a:pos x="T8" y="T9"/>
              </a:cxn>
              <a:cxn ang="0">
                <a:pos x="T10" y="T11"/>
              </a:cxn>
              <a:cxn ang="0">
                <a:pos x="T12" y="T13"/>
              </a:cxn>
            </a:cxnLst>
            <a:rect l="0" t="0" r="r" b="b"/>
            <a:pathLst>
              <a:path w="38" h="464">
                <a:moveTo>
                  <a:pt x="19" y="464"/>
                </a:moveTo>
                <a:cubicBezTo>
                  <a:pt x="10" y="464"/>
                  <a:pt x="0" y="455"/>
                  <a:pt x="0" y="445"/>
                </a:cubicBezTo>
                <a:lnTo>
                  <a:pt x="0" y="19"/>
                </a:lnTo>
                <a:cubicBezTo>
                  <a:pt x="0" y="10"/>
                  <a:pt x="10" y="0"/>
                  <a:pt x="19" y="0"/>
                </a:cubicBezTo>
                <a:cubicBezTo>
                  <a:pt x="29" y="0"/>
                  <a:pt x="38" y="10"/>
                  <a:pt x="38" y="19"/>
                </a:cubicBezTo>
                <a:lnTo>
                  <a:pt x="38" y="455"/>
                </a:lnTo>
                <a:cubicBezTo>
                  <a:pt x="38" y="464"/>
                  <a:pt x="29" y="464"/>
                  <a:pt x="19" y="464"/>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49" name="Oval 149">
            <a:extLst>
              <a:ext uri="{FF2B5EF4-FFF2-40B4-BE49-F238E27FC236}">
                <a16:creationId xmlns:a16="http://schemas.microsoft.com/office/drawing/2014/main" id="{0BD7499C-E17D-4041-BD81-D4221FD577F1}"/>
              </a:ext>
            </a:extLst>
          </p:cNvPr>
          <p:cNvSpPr>
            <a:spLocks noChangeArrowheads="1"/>
          </p:cNvSpPr>
          <p:nvPr/>
        </p:nvSpPr>
        <p:spPr bwMode="auto">
          <a:xfrm>
            <a:off x="2968626" y="2762251"/>
            <a:ext cx="31750" cy="33338"/>
          </a:xfrm>
          <a:prstGeom prst="ellipse">
            <a:avLst/>
          </a:pr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50" name="Freeform 150">
            <a:extLst>
              <a:ext uri="{FF2B5EF4-FFF2-40B4-BE49-F238E27FC236}">
                <a16:creationId xmlns:a16="http://schemas.microsoft.com/office/drawing/2014/main" id="{80DD29A4-93A7-43F2-AE94-26CD1C8427D4}"/>
              </a:ext>
            </a:extLst>
          </p:cNvPr>
          <p:cNvSpPr>
            <a:spLocks/>
          </p:cNvSpPr>
          <p:nvPr/>
        </p:nvSpPr>
        <p:spPr bwMode="auto">
          <a:xfrm>
            <a:off x="3086101" y="2979738"/>
            <a:ext cx="234950" cy="255588"/>
          </a:xfrm>
          <a:custGeom>
            <a:avLst/>
            <a:gdLst>
              <a:gd name="T0" fmla="*/ 313 w 824"/>
              <a:gd name="T1" fmla="*/ 57 h 899"/>
              <a:gd name="T2" fmla="*/ 57 w 824"/>
              <a:gd name="T3" fmla="*/ 540 h 899"/>
              <a:gd name="T4" fmla="*/ 512 w 824"/>
              <a:gd name="T5" fmla="*/ 852 h 899"/>
              <a:gd name="T6" fmla="*/ 767 w 824"/>
              <a:gd name="T7" fmla="*/ 369 h 899"/>
              <a:gd name="T8" fmla="*/ 313 w 824"/>
              <a:gd name="T9" fmla="*/ 57 h 899"/>
            </a:gdLst>
            <a:ahLst/>
            <a:cxnLst>
              <a:cxn ang="0">
                <a:pos x="T0" y="T1"/>
              </a:cxn>
              <a:cxn ang="0">
                <a:pos x="T2" y="T3"/>
              </a:cxn>
              <a:cxn ang="0">
                <a:pos x="T4" y="T5"/>
              </a:cxn>
              <a:cxn ang="0">
                <a:pos x="T6" y="T7"/>
              </a:cxn>
              <a:cxn ang="0">
                <a:pos x="T8" y="T9"/>
              </a:cxn>
            </a:cxnLst>
            <a:rect l="0" t="0" r="r" b="b"/>
            <a:pathLst>
              <a:path w="824" h="899">
                <a:moveTo>
                  <a:pt x="313" y="57"/>
                </a:moveTo>
                <a:cubicBezTo>
                  <a:pt x="114" y="104"/>
                  <a:pt x="0" y="322"/>
                  <a:pt x="57" y="540"/>
                </a:cubicBezTo>
                <a:cubicBezTo>
                  <a:pt x="114" y="757"/>
                  <a:pt x="313" y="899"/>
                  <a:pt x="512" y="852"/>
                </a:cubicBezTo>
                <a:cubicBezTo>
                  <a:pt x="710" y="805"/>
                  <a:pt x="824" y="587"/>
                  <a:pt x="767" y="369"/>
                </a:cubicBezTo>
                <a:cubicBezTo>
                  <a:pt x="720" y="142"/>
                  <a:pt x="512" y="0"/>
                  <a:pt x="313" y="57"/>
                </a:cubicBezTo>
              </a:path>
            </a:pathLst>
          </a:custGeom>
          <a:solidFill>
            <a:srgbClr val="0078D7"/>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51" name="Freeform 151">
            <a:extLst>
              <a:ext uri="{FF2B5EF4-FFF2-40B4-BE49-F238E27FC236}">
                <a16:creationId xmlns:a16="http://schemas.microsoft.com/office/drawing/2014/main" id="{E4567C13-7494-4299-A74F-B055CBE86452}"/>
              </a:ext>
            </a:extLst>
          </p:cNvPr>
          <p:cNvSpPr>
            <a:spLocks/>
          </p:cNvSpPr>
          <p:nvPr/>
        </p:nvSpPr>
        <p:spPr bwMode="auto">
          <a:xfrm>
            <a:off x="2992438" y="3225801"/>
            <a:ext cx="381000" cy="166688"/>
          </a:xfrm>
          <a:custGeom>
            <a:avLst/>
            <a:gdLst>
              <a:gd name="T0" fmla="*/ 1070 w 1344"/>
              <a:gd name="T1" fmla="*/ 48 h 587"/>
              <a:gd name="T2" fmla="*/ 937 w 1344"/>
              <a:gd name="T3" fmla="*/ 142 h 587"/>
              <a:gd name="T4" fmla="*/ 663 w 1344"/>
              <a:gd name="T5" fmla="*/ 142 h 587"/>
              <a:gd name="T6" fmla="*/ 351 w 1344"/>
              <a:gd name="T7" fmla="*/ 0 h 587"/>
              <a:gd name="T8" fmla="*/ 0 w 1344"/>
              <a:gd name="T9" fmla="*/ 587 h 587"/>
              <a:gd name="T10" fmla="*/ 1344 w 1344"/>
              <a:gd name="T11" fmla="*/ 587 h 587"/>
              <a:gd name="T12" fmla="*/ 1250 w 1344"/>
              <a:gd name="T13" fmla="*/ 228 h 587"/>
              <a:gd name="T14" fmla="*/ 1070 w 1344"/>
              <a:gd name="T15" fmla="*/ 48 h 5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44" h="587">
                <a:moveTo>
                  <a:pt x="1070" y="48"/>
                </a:moveTo>
                <a:cubicBezTo>
                  <a:pt x="1032" y="48"/>
                  <a:pt x="994" y="114"/>
                  <a:pt x="937" y="142"/>
                </a:cubicBezTo>
                <a:cubicBezTo>
                  <a:pt x="881" y="171"/>
                  <a:pt x="824" y="218"/>
                  <a:pt x="663" y="142"/>
                </a:cubicBezTo>
                <a:cubicBezTo>
                  <a:pt x="502" y="67"/>
                  <a:pt x="483" y="0"/>
                  <a:pt x="351" y="0"/>
                </a:cubicBezTo>
                <a:cubicBezTo>
                  <a:pt x="218" y="0"/>
                  <a:pt x="0" y="237"/>
                  <a:pt x="0" y="587"/>
                </a:cubicBezTo>
                <a:lnTo>
                  <a:pt x="1344" y="587"/>
                </a:lnTo>
                <a:cubicBezTo>
                  <a:pt x="1344" y="587"/>
                  <a:pt x="1326" y="351"/>
                  <a:pt x="1250" y="228"/>
                </a:cubicBezTo>
                <a:cubicBezTo>
                  <a:pt x="1155" y="48"/>
                  <a:pt x="1108" y="48"/>
                  <a:pt x="1070" y="48"/>
                </a:cubicBezTo>
                <a:close/>
              </a:path>
            </a:pathLst>
          </a:custGeom>
          <a:solidFill>
            <a:srgbClr val="0078D7"/>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52" name="Freeform 152">
            <a:extLst>
              <a:ext uri="{FF2B5EF4-FFF2-40B4-BE49-F238E27FC236}">
                <a16:creationId xmlns:a16="http://schemas.microsoft.com/office/drawing/2014/main" id="{6C438CB9-497F-4CEE-938E-C95966936524}"/>
              </a:ext>
            </a:extLst>
          </p:cNvPr>
          <p:cNvSpPr>
            <a:spLocks noEditPoints="1"/>
          </p:cNvSpPr>
          <p:nvPr/>
        </p:nvSpPr>
        <p:spPr bwMode="auto">
          <a:xfrm>
            <a:off x="3213101" y="3119438"/>
            <a:ext cx="133350" cy="252413"/>
          </a:xfrm>
          <a:custGeom>
            <a:avLst/>
            <a:gdLst>
              <a:gd name="T0" fmla="*/ 412 w 468"/>
              <a:gd name="T1" fmla="*/ 0 h 887"/>
              <a:gd name="T2" fmla="*/ 57 w 468"/>
              <a:gd name="T3" fmla="*/ 0 h 887"/>
              <a:gd name="T4" fmla="*/ 0 w 468"/>
              <a:gd name="T5" fmla="*/ 56 h 887"/>
              <a:gd name="T6" fmla="*/ 0 w 468"/>
              <a:gd name="T7" fmla="*/ 298 h 887"/>
              <a:gd name="T8" fmla="*/ 66 w 468"/>
              <a:gd name="T9" fmla="*/ 355 h 887"/>
              <a:gd name="T10" fmla="*/ 131 w 468"/>
              <a:gd name="T11" fmla="*/ 355 h 887"/>
              <a:gd name="T12" fmla="*/ 131 w 468"/>
              <a:gd name="T13" fmla="*/ 794 h 887"/>
              <a:gd name="T14" fmla="*/ 215 w 468"/>
              <a:gd name="T15" fmla="*/ 887 h 887"/>
              <a:gd name="T16" fmla="*/ 299 w 468"/>
              <a:gd name="T17" fmla="*/ 803 h 887"/>
              <a:gd name="T18" fmla="*/ 318 w 468"/>
              <a:gd name="T19" fmla="*/ 803 h 887"/>
              <a:gd name="T20" fmla="*/ 318 w 468"/>
              <a:gd name="T21" fmla="*/ 747 h 887"/>
              <a:gd name="T22" fmla="*/ 346 w 468"/>
              <a:gd name="T23" fmla="*/ 719 h 887"/>
              <a:gd name="T24" fmla="*/ 346 w 468"/>
              <a:gd name="T25" fmla="*/ 691 h 887"/>
              <a:gd name="T26" fmla="*/ 299 w 468"/>
              <a:gd name="T27" fmla="*/ 653 h 887"/>
              <a:gd name="T28" fmla="*/ 299 w 468"/>
              <a:gd name="T29" fmla="*/ 625 h 887"/>
              <a:gd name="T30" fmla="*/ 318 w 468"/>
              <a:gd name="T31" fmla="*/ 607 h 887"/>
              <a:gd name="T32" fmla="*/ 346 w 468"/>
              <a:gd name="T33" fmla="*/ 560 h 887"/>
              <a:gd name="T34" fmla="*/ 318 w 468"/>
              <a:gd name="T35" fmla="*/ 513 h 887"/>
              <a:gd name="T36" fmla="*/ 299 w 468"/>
              <a:gd name="T37" fmla="*/ 476 h 887"/>
              <a:gd name="T38" fmla="*/ 299 w 468"/>
              <a:gd name="T39" fmla="*/ 457 h 887"/>
              <a:gd name="T40" fmla="*/ 365 w 468"/>
              <a:gd name="T41" fmla="*/ 364 h 887"/>
              <a:gd name="T42" fmla="*/ 412 w 468"/>
              <a:gd name="T43" fmla="*/ 364 h 887"/>
              <a:gd name="T44" fmla="*/ 468 w 468"/>
              <a:gd name="T45" fmla="*/ 308 h 887"/>
              <a:gd name="T46" fmla="*/ 468 w 468"/>
              <a:gd name="T47" fmla="*/ 56 h 887"/>
              <a:gd name="T48" fmla="*/ 412 w 468"/>
              <a:gd name="T49" fmla="*/ 0 h 887"/>
              <a:gd name="T50" fmla="*/ 206 w 468"/>
              <a:gd name="T51" fmla="*/ 812 h 887"/>
              <a:gd name="T52" fmla="*/ 187 w 468"/>
              <a:gd name="T53" fmla="*/ 840 h 887"/>
              <a:gd name="T54" fmla="*/ 169 w 468"/>
              <a:gd name="T55" fmla="*/ 812 h 887"/>
              <a:gd name="T56" fmla="*/ 169 w 468"/>
              <a:gd name="T57" fmla="*/ 401 h 887"/>
              <a:gd name="T58" fmla="*/ 187 w 468"/>
              <a:gd name="T59" fmla="*/ 373 h 887"/>
              <a:gd name="T60" fmla="*/ 206 w 468"/>
              <a:gd name="T61" fmla="*/ 401 h 887"/>
              <a:gd name="T62" fmla="*/ 206 w 468"/>
              <a:gd name="T63" fmla="*/ 812 h 887"/>
              <a:gd name="T64" fmla="*/ 234 w 468"/>
              <a:gd name="T65" fmla="*/ 149 h 887"/>
              <a:gd name="T66" fmla="*/ 178 w 468"/>
              <a:gd name="T67" fmla="*/ 93 h 887"/>
              <a:gd name="T68" fmla="*/ 234 w 468"/>
              <a:gd name="T69" fmla="*/ 37 h 887"/>
              <a:gd name="T70" fmla="*/ 290 w 468"/>
              <a:gd name="T71" fmla="*/ 93 h 887"/>
              <a:gd name="T72" fmla="*/ 234 w 468"/>
              <a:gd name="T73" fmla="*/ 149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8" h="887">
                <a:moveTo>
                  <a:pt x="412" y="0"/>
                </a:moveTo>
                <a:lnTo>
                  <a:pt x="57" y="0"/>
                </a:lnTo>
                <a:cubicBezTo>
                  <a:pt x="29" y="0"/>
                  <a:pt x="0" y="28"/>
                  <a:pt x="0" y="56"/>
                </a:cubicBezTo>
                <a:lnTo>
                  <a:pt x="0" y="298"/>
                </a:lnTo>
                <a:cubicBezTo>
                  <a:pt x="0" y="327"/>
                  <a:pt x="29" y="355"/>
                  <a:pt x="66" y="355"/>
                </a:cubicBezTo>
                <a:lnTo>
                  <a:pt x="131" y="355"/>
                </a:lnTo>
                <a:lnTo>
                  <a:pt x="131" y="794"/>
                </a:lnTo>
                <a:cubicBezTo>
                  <a:pt x="131" y="850"/>
                  <a:pt x="169" y="887"/>
                  <a:pt x="215" y="887"/>
                </a:cubicBezTo>
                <a:cubicBezTo>
                  <a:pt x="262" y="887"/>
                  <a:pt x="299" y="850"/>
                  <a:pt x="299" y="803"/>
                </a:cubicBezTo>
                <a:cubicBezTo>
                  <a:pt x="309" y="803"/>
                  <a:pt x="318" y="803"/>
                  <a:pt x="318" y="803"/>
                </a:cubicBezTo>
                <a:cubicBezTo>
                  <a:pt x="318" y="803"/>
                  <a:pt x="318" y="756"/>
                  <a:pt x="318" y="747"/>
                </a:cubicBezTo>
                <a:cubicBezTo>
                  <a:pt x="318" y="728"/>
                  <a:pt x="346" y="719"/>
                  <a:pt x="346" y="719"/>
                </a:cubicBezTo>
                <a:cubicBezTo>
                  <a:pt x="346" y="719"/>
                  <a:pt x="346" y="691"/>
                  <a:pt x="346" y="691"/>
                </a:cubicBezTo>
                <a:cubicBezTo>
                  <a:pt x="318" y="681"/>
                  <a:pt x="299" y="663"/>
                  <a:pt x="299" y="653"/>
                </a:cubicBezTo>
                <a:lnTo>
                  <a:pt x="299" y="625"/>
                </a:lnTo>
                <a:cubicBezTo>
                  <a:pt x="309" y="616"/>
                  <a:pt x="318" y="607"/>
                  <a:pt x="318" y="607"/>
                </a:cubicBezTo>
                <a:cubicBezTo>
                  <a:pt x="327" y="597"/>
                  <a:pt x="346" y="560"/>
                  <a:pt x="346" y="560"/>
                </a:cubicBezTo>
                <a:cubicBezTo>
                  <a:pt x="346" y="560"/>
                  <a:pt x="318" y="523"/>
                  <a:pt x="318" y="513"/>
                </a:cubicBezTo>
                <a:cubicBezTo>
                  <a:pt x="309" y="504"/>
                  <a:pt x="309" y="485"/>
                  <a:pt x="299" y="476"/>
                </a:cubicBezTo>
                <a:lnTo>
                  <a:pt x="299" y="457"/>
                </a:lnTo>
                <a:cubicBezTo>
                  <a:pt x="309" y="411"/>
                  <a:pt x="365" y="364"/>
                  <a:pt x="365" y="364"/>
                </a:cubicBezTo>
                <a:lnTo>
                  <a:pt x="412" y="364"/>
                </a:lnTo>
                <a:cubicBezTo>
                  <a:pt x="440" y="364"/>
                  <a:pt x="468" y="336"/>
                  <a:pt x="468" y="308"/>
                </a:cubicBezTo>
                <a:lnTo>
                  <a:pt x="468" y="56"/>
                </a:lnTo>
                <a:cubicBezTo>
                  <a:pt x="468" y="28"/>
                  <a:pt x="449" y="0"/>
                  <a:pt x="412" y="0"/>
                </a:cubicBezTo>
                <a:close/>
                <a:moveTo>
                  <a:pt x="206" y="812"/>
                </a:moveTo>
                <a:cubicBezTo>
                  <a:pt x="206" y="831"/>
                  <a:pt x="206" y="840"/>
                  <a:pt x="187" y="840"/>
                </a:cubicBezTo>
                <a:cubicBezTo>
                  <a:pt x="169" y="840"/>
                  <a:pt x="169" y="822"/>
                  <a:pt x="169" y="812"/>
                </a:cubicBezTo>
                <a:lnTo>
                  <a:pt x="169" y="401"/>
                </a:lnTo>
                <a:cubicBezTo>
                  <a:pt x="169" y="383"/>
                  <a:pt x="178" y="373"/>
                  <a:pt x="187" y="373"/>
                </a:cubicBezTo>
                <a:cubicBezTo>
                  <a:pt x="206" y="373"/>
                  <a:pt x="206" y="392"/>
                  <a:pt x="206" y="401"/>
                </a:cubicBezTo>
                <a:lnTo>
                  <a:pt x="206" y="812"/>
                </a:lnTo>
                <a:close/>
                <a:moveTo>
                  <a:pt x="234" y="149"/>
                </a:moveTo>
                <a:cubicBezTo>
                  <a:pt x="206" y="149"/>
                  <a:pt x="178" y="121"/>
                  <a:pt x="178" y="93"/>
                </a:cubicBezTo>
                <a:cubicBezTo>
                  <a:pt x="178" y="65"/>
                  <a:pt x="206" y="37"/>
                  <a:pt x="234" y="37"/>
                </a:cubicBezTo>
                <a:cubicBezTo>
                  <a:pt x="262" y="37"/>
                  <a:pt x="290" y="65"/>
                  <a:pt x="290" y="93"/>
                </a:cubicBezTo>
                <a:cubicBezTo>
                  <a:pt x="290" y="121"/>
                  <a:pt x="271" y="149"/>
                  <a:pt x="234" y="149"/>
                </a:cubicBezTo>
                <a:close/>
              </a:path>
            </a:pathLst>
          </a:custGeom>
          <a:solidFill>
            <a:srgbClr val="0078D7"/>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53" name="Freeform 153">
            <a:extLst>
              <a:ext uri="{FF2B5EF4-FFF2-40B4-BE49-F238E27FC236}">
                <a16:creationId xmlns:a16="http://schemas.microsoft.com/office/drawing/2014/main" id="{84266092-DEB1-4ABB-9899-A3393E357494}"/>
              </a:ext>
            </a:extLst>
          </p:cNvPr>
          <p:cNvSpPr>
            <a:spLocks noEditPoints="1"/>
          </p:cNvSpPr>
          <p:nvPr/>
        </p:nvSpPr>
        <p:spPr bwMode="auto">
          <a:xfrm>
            <a:off x="3213101" y="3119438"/>
            <a:ext cx="133350" cy="252413"/>
          </a:xfrm>
          <a:custGeom>
            <a:avLst/>
            <a:gdLst>
              <a:gd name="T0" fmla="*/ 412 w 468"/>
              <a:gd name="T1" fmla="*/ 0 h 887"/>
              <a:gd name="T2" fmla="*/ 57 w 468"/>
              <a:gd name="T3" fmla="*/ 0 h 887"/>
              <a:gd name="T4" fmla="*/ 0 w 468"/>
              <a:gd name="T5" fmla="*/ 56 h 887"/>
              <a:gd name="T6" fmla="*/ 0 w 468"/>
              <a:gd name="T7" fmla="*/ 298 h 887"/>
              <a:gd name="T8" fmla="*/ 66 w 468"/>
              <a:gd name="T9" fmla="*/ 355 h 887"/>
              <a:gd name="T10" fmla="*/ 131 w 468"/>
              <a:gd name="T11" fmla="*/ 355 h 887"/>
              <a:gd name="T12" fmla="*/ 131 w 468"/>
              <a:gd name="T13" fmla="*/ 794 h 887"/>
              <a:gd name="T14" fmla="*/ 215 w 468"/>
              <a:gd name="T15" fmla="*/ 887 h 887"/>
              <a:gd name="T16" fmla="*/ 299 w 468"/>
              <a:gd name="T17" fmla="*/ 803 h 887"/>
              <a:gd name="T18" fmla="*/ 318 w 468"/>
              <a:gd name="T19" fmla="*/ 803 h 887"/>
              <a:gd name="T20" fmla="*/ 318 w 468"/>
              <a:gd name="T21" fmla="*/ 747 h 887"/>
              <a:gd name="T22" fmla="*/ 346 w 468"/>
              <a:gd name="T23" fmla="*/ 719 h 887"/>
              <a:gd name="T24" fmla="*/ 346 w 468"/>
              <a:gd name="T25" fmla="*/ 691 h 887"/>
              <a:gd name="T26" fmla="*/ 299 w 468"/>
              <a:gd name="T27" fmla="*/ 653 h 887"/>
              <a:gd name="T28" fmla="*/ 299 w 468"/>
              <a:gd name="T29" fmla="*/ 625 h 887"/>
              <a:gd name="T30" fmla="*/ 318 w 468"/>
              <a:gd name="T31" fmla="*/ 607 h 887"/>
              <a:gd name="T32" fmla="*/ 346 w 468"/>
              <a:gd name="T33" fmla="*/ 560 h 887"/>
              <a:gd name="T34" fmla="*/ 318 w 468"/>
              <a:gd name="T35" fmla="*/ 513 h 887"/>
              <a:gd name="T36" fmla="*/ 299 w 468"/>
              <a:gd name="T37" fmla="*/ 476 h 887"/>
              <a:gd name="T38" fmla="*/ 299 w 468"/>
              <a:gd name="T39" fmla="*/ 457 h 887"/>
              <a:gd name="T40" fmla="*/ 365 w 468"/>
              <a:gd name="T41" fmla="*/ 364 h 887"/>
              <a:gd name="T42" fmla="*/ 412 w 468"/>
              <a:gd name="T43" fmla="*/ 364 h 887"/>
              <a:gd name="T44" fmla="*/ 468 w 468"/>
              <a:gd name="T45" fmla="*/ 308 h 887"/>
              <a:gd name="T46" fmla="*/ 468 w 468"/>
              <a:gd name="T47" fmla="*/ 56 h 887"/>
              <a:gd name="T48" fmla="*/ 412 w 468"/>
              <a:gd name="T49" fmla="*/ 0 h 887"/>
              <a:gd name="T50" fmla="*/ 206 w 468"/>
              <a:gd name="T51" fmla="*/ 812 h 887"/>
              <a:gd name="T52" fmla="*/ 187 w 468"/>
              <a:gd name="T53" fmla="*/ 840 h 887"/>
              <a:gd name="T54" fmla="*/ 169 w 468"/>
              <a:gd name="T55" fmla="*/ 812 h 887"/>
              <a:gd name="T56" fmla="*/ 169 w 468"/>
              <a:gd name="T57" fmla="*/ 401 h 887"/>
              <a:gd name="T58" fmla="*/ 187 w 468"/>
              <a:gd name="T59" fmla="*/ 373 h 887"/>
              <a:gd name="T60" fmla="*/ 206 w 468"/>
              <a:gd name="T61" fmla="*/ 401 h 887"/>
              <a:gd name="T62" fmla="*/ 206 w 468"/>
              <a:gd name="T63" fmla="*/ 812 h 887"/>
              <a:gd name="T64" fmla="*/ 234 w 468"/>
              <a:gd name="T65" fmla="*/ 149 h 887"/>
              <a:gd name="T66" fmla="*/ 178 w 468"/>
              <a:gd name="T67" fmla="*/ 93 h 887"/>
              <a:gd name="T68" fmla="*/ 234 w 468"/>
              <a:gd name="T69" fmla="*/ 37 h 887"/>
              <a:gd name="T70" fmla="*/ 290 w 468"/>
              <a:gd name="T71" fmla="*/ 93 h 887"/>
              <a:gd name="T72" fmla="*/ 234 w 468"/>
              <a:gd name="T73" fmla="*/ 149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8" h="887">
                <a:moveTo>
                  <a:pt x="412" y="0"/>
                </a:moveTo>
                <a:lnTo>
                  <a:pt x="57" y="0"/>
                </a:lnTo>
                <a:cubicBezTo>
                  <a:pt x="29" y="0"/>
                  <a:pt x="0" y="28"/>
                  <a:pt x="0" y="56"/>
                </a:cubicBezTo>
                <a:lnTo>
                  <a:pt x="0" y="298"/>
                </a:lnTo>
                <a:cubicBezTo>
                  <a:pt x="0" y="327"/>
                  <a:pt x="29" y="355"/>
                  <a:pt x="66" y="355"/>
                </a:cubicBezTo>
                <a:lnTo>
                  <a:pt x="131" y="355"/>
                </a:lnTo>
                <a:lnTo>
                  <a:pt x="131" y="794"/>
                </a:lnTo>
                <a:cubicBezTo>
                  <a:pt x="131" y="850"/>
                  <a:pt x="169" y="887"/>
                  <a:pt x="215" y="887"/>
                </a:cubicBezTo>
                <a:cubicBezTo>
                  <a:pt x="262" y="887"/>
                  <a:pt x="299" y="850"/>
                  <a:pt x="299" y="803"/>
                </a:cubicBezTo>
                <a:cubicBezTo>
                  <a:pt x="309" y="803"/>
                  <a:pt x="318" y="803"/>
                  <a:pt x="318" y="803"/>
                </a:cubicBezTo>
                <a:cubicBezTo>
                  <a:pt x="318" y="803"/>
                  <a:pt x="318" y="756"/>
                  <a:pt x="318" y="747"/>
                </a:cubicBezTo>
                <a:cubicBezTo>
                  <a:pt x="318" y="728"/>
                  <a:pt x="346" y="719"/>
                  <a:pt x="346" y="719"/>
                </a:cubicBezTo>
                <a:cubicBezTo>
                  <a:pt x="346" y="719"/>
                  <a:pt x="346" y="691"/>
                  <a:pt x="346" y="691"/>
                </a:cubicBezTo>
                <a:cubicBezTo>
                  <a:pt x="318" y="681"/>
                  <a:pt x="299" y="663"/>
                  <a:pt x="299" y="653"/>
                </a:cubicBezTo>
                <a:lnTo>
                  <a:pt x="299" y="625"/>
                </a:lnTo>
                <a:cubicBezTo>
                  <a:pt x="309" y="616"/>
                  <a:pt x="318" y="607"/>
                  <a:pt x="318" y="607"/>
                </a:cubicBezTo>
                <a:cubicBezTo>
                  <a:pt x="327" y="597"/>
                  <a:pt x="346" y="560"/>
                  <a:pt x="346" y="560"/>
                </a:cubicBezTo>
                <a:cubicBezTo>
                  <a:pt x="346" y="560"/>
                  <a:pt x="318" y="523"/>
                  <a:pt x="318" y="513"/>
                </a:cubicBezTo>
                <a:cubicBezTo>
                  <a:pt x="309" y="504"/>
                  <a:pt x="309" y="485"/>
                  <a:pt x="299" y="476"/>
                </a:cubicBezTo>
                <a:lnTo>
                  <a:pt x="299" y="457"/>
                </a:lnTo>
                <a:cubicBezTo>
                  <a:pt x="309" y="411"/>
                  <a:pt x="365" y="364"/>
                  <a:pt x="365" y="364"/>
                </a:cubicBezTo>
                <a:lnTo>
                  <a:pt x="412" y="364"/>
                </a:lnTo>
                <a:cubicBezTo>
                  <a:pt x="440" y="364"/>
                  <a:pt x="468" y="336"/>
                  <a:pt x="468" y="308"/>
                </a:cubicBezTo>
                <a:lnTo>
                  <a:pt x="468" y="56"/>
                </a:lnTo>
                <a:cubicBezTo>
                  <a:pt x="468" y="28"/>
                  <a:pt x="449" y="0"/>
                  <a:pt x="412" y="0"/>
                </a:cubicBezTo>
                <a:close/>
                <a:moveTo>
                  <a:pt x="206" y="812"/>
                </a:moveTo>
                <a:cubicBezTo>
                  <a:pt x="206" y="831"/>
                  <a:pt x="206" y="840"/>
                  <a:pt x="187" y="840"/>
                </a:cubicBezTo>
                <a:cubicBezTo>
                  <a:pt x="169" y="840"/>
                  <a:pt x="169" y="822"/>
                  <a:pt x="169" y="812"/>
                </a:cubicBezTo>
                <a:lnTo>
                  <a:pt x="169" y="401"/>
                </a:lnTo>
                <a:cubicBezTo>
                  <a:pt x="169" y="383"/>
                  <a:pt x="178" y="373"/>
                  <a:pt x="187" y="373"/>
                </a:cubicBezTo>
                <a:cubicBezTo>
                  <a:pt x="206" y="373"/>
                  <a:pt x="206" y="392"/>
                  <a:pt x="206" y="401"/>
                </a:cubicBezTo>
                <a:lnTo>
                  <a:pt x="206" y="812"/>
                </a:lnTo>
                <a:close/>
                <a:moveTo>
                  <a:pt x="234" y="149"/>
                </a:moveTo>
                <a:cubicBezTo>
                  <a:pt x="206" y="149"/>
                  <a:pt x="178" y="121"/>
                  <a:pt x="178" y="93"/>
                </a:cubicBezTo>
                <a:cubicBezTo>
                  <a:pt x="178" y="65"/>
                  <a:pt x="206" y="37"/>
                  <a:pt x="234" y="37"/>
                </a:cubicBezTo>
                <a:cubicBezTo>
                  <a:pt x="262" y="37"/>
                  <a:pt x="290" y="65"/>
                  <a:pt x="290" y="93"/>
                </a:cubicBezTo>
                <a:cubicBezTo>
                  <a:pt x="290" y="121"/>
                  <a:pt x="271" y="149"/>
                  <a:pt x="234" y="149"/>
                </a:cubicBezTo>
                <a:close/>
              </a:path>
            </a:pathLst>
          </a:custGeom>
          <a:noFill/>
          <a:ln w="635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256" name="Freeform 154">
            <a:extLst>
              <a:ext uri="{FF2B5EF4-FFF2-40B4-BE49-F238E27FC236}">
                <a16:creationId xmlns:a16="http://schemas.microsoft.com/office/drawing/2014/main" id="{C6F9A1EC-EF50-4B4A-A1D7-2F69538308A1}"/>
              </a:ext>
            </a:extLst>
          </p:cNvPr>
          <p:cNvSpPr>
            <a:spLocks/>
          </p:cNvSpPr>
          <p:nvPr/>
        </p:nvSpPr>
        <p:spPr bwMode="auto">
          <a:xfrm>
            <a:off x="3260726" y="3225801"/>
            <a:ext cx="11113" cy="131763"/>
          </a:xfrm>
          <a:custGeom>
            <a:avLst/>
            <a:gdLst>
              <a:gd name="T0" fmla="*/ 19 w 38"/>
              <a:gd name="T1" fmla="*/ 463 h 463"/>
              <a:gd name="T2" fmla="*/ 0 w 38"/>
              <a:gd name="T3" fmla="*/ 444 h 463"/>
              <a:gd name="T4" fmla="*/ 0 w 38"/>
              <a:gd name="T5" fmla="*/ 19 h 463"/>
              <a:gd name="T6" fmla="*/ 19 w 38"/>
              <a:gd name="T7" fmla="*/ 0 h 463"/>
              <a:gd name="T8" fmla="*/ 38 w 38"/>
              <a:gd name="T9" fmla="*/ 19 h 463"/>
              <a:gd name="T10" fmla="*/ 38 w 38"/>
              <a:gd name="T11" fmla="*/ 454 h 463"/>
              <a:gd name="T12" fmla="*/ 19 w 38"/>
              <a:gd name="T13" fmla="*/ 463 h 463"/>
            </a:gdLst>
            <a:ahLst/>
            <a:cxnLst>
              <a:cxn ang="0">
                <a:pos x="T0" y="T1"/>
              </a:cxn>
              <a:cxn ang="0">
                <a:pos x="T2" y="T3"/>
              </a:cxn>
              <a:cxn ang="0">
                <a:pos x="T4" y="T5"/>
              </a:cxn>
              <a:cxn ang="0">
                <a:pos x="T6" y="T7"/>
              </a:cxn>
              <a:cxn ang="0">
                <a:pos x="T8" y="T9"/>
              </a:cxn>
              <a:cxn ang="0">
                <a:pos x="T10" y="T11"/>
              </a:cxn>
              <a:cxn ang="0">
                <a:pos x="T12" y="T13"/>
              </a:cxn>
            </a:cxnLst>
            <a:rect l="0" t="0" r="r" b="b"/>
            <a:pathLst>
              <a:path w="38" h="463">
                <a:moveTo>
                  <a:pt x="19" y="463"/>
                </a:moveTo>
                <a:cubicBezTo>
                  <a:pt x="10" y="463"/>
                  <a:pt x="0" y="454"/>
                  <a:pt x="0" y="444"/>
                </a:cubicBezTo>
                <a:lnTo>
                  <a:pt x="0" y="19"/>
                </a:lnTo>
                <a:cubicBezTo>
                  <a:pt x="0" y="9"/>
                  <a:pt x="10" y="0"/>
                  <a:pt x="19" y="0"/>
                </a:cubicBezTo>
                <a:cubicBezTo>
                  <a:pt x="29" y="0"/>
                  <a:pt x="38" y="9"/>
                  <a:pt x="38" y="19"/>
                </a:cubicBezTo>
                <a:lnTo>
                  <a:pt x="38" y="454"/>
                </a:lnTo>
                <a:cubicBezTo>
                  <a:pt x="38" y="463"/>
                  <a:pt x="29" y="463"/>
                  <a:pt x="19" y="463"/>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57" name="Oval 155">
            <a:extLst>
              <a:ext uri="{FF2B5EF4-FFF2-40B4-BE49-F238E27FC236}">
                <a16:creationId xmlns:a16="http://schemas.microsoft.com/office/drawing/2014/main" id="{05007573-37EC-471E-A18A-D90ACDBC21AC}"/>
              </a:ext>
            </a:extLst>
          </p:cNvPr>
          <p:cNvSpPr>
            <a:spLocks noChangeArrowheads="1"/>
          </p:cNvSpPr>
          <p:nvPr/>
        </p:nvSpPr>
        <p:spPr bwMode="auto">
          <a:xfrm>
            <a:off x="3263901" y="3128963"/>
            <a:ext cx="33338" cy="31750"/>
          </a:xfrm>
          <a:prstGeom prst="ellipse">
            <a:avLst/>
          </a:pr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2" name="Group 1">
            <a:extLst>
              <a:ext uri="{FF2B5EF4-FFF2-40B4-BE49-F238E27FC236}">
                <a16:creationId xmlns:a16="http://schemas.microsoft.com/office/drawing/2014/main" id="{570D259A-74F0-4F5F-ABA7-363448235C61}"/>
              </a:ext>
            </a:extLst>
          </p:cNvPr>
          <p:cNvGrpSpPr/>
          <p:nvPr/>
        </p:nvGrpSpPr>
        <p:grpSpPr>
          <a:xfrm>
            <a:off x="3322638" y="3346451"/>
            <a:ext cx="381000" cy="412750"/>
            <a:chOff x="3322638" y="3298826"/>
            <a:chExt cx="381000" cy="412750"/>
          </a:xfrm>
        </p:grpSpPr>
        <p:sp>
          <p:nvSpPr>
            <p:cNvPr id="7258" name="Freeform 156">
              <a:extLst>
                <a:ext uri="{FF2B5EF4-FFF2-40B4-BE49-F238E27FC236}">
                  <a16:creationId xmlns:a16="http://schemas.microsoft.com/office/drawing/2014/main" id="{7380A897-8681-4489-B3AE-697DAF84A22A}"/>
                </a:ext>
              </a:extLst>
            </p:cNvPr>
            <p:cNvSpPr>
              <a:spLocks/>
            </p:cNvSpPr>
            <p:nvPr/>
          </p:nvSpPr>
          <p:spPr bwMode="auto">
            <a:xfrm>
              <a:off x="3417888" y="3298826"/>
              <a:ext cx="233363" cy="255588"/>
            </a:xfrm>
            <a:custGeom>
              <a:avLst/>
              <a:gdLst>
                <a:gd name="T0" fmla="*/ 312 w 823"/>
                <a:gd name="T1" fmla="*/ 57 h 900"/>
                <a:gd name="T2" fmla="*/ 56 w 823"/>
                <a:gd name="T3" fmla="*/ 540 h 900"/>
                <a:gd name="T4" fmla="*/ 511 w 823"/>
                <a:gd name="T5" fmla="*/ 852 h 900"/>
                <a:gd name="T6" fmla="*/ 766 w 823"/>
                <a:gd name="T7" fmla="*/ 370 h 900"/>
                <a:gd name="T8" fmla="*/ 312 w 823"/>
                <a:gd name="T9" fmla="*/ 57 h 900"/>
              </a:gdLst>
              <a:ahLst/>
              <a:cxnLst>
                <a:cxn ang="0">
                  <a:pos x="T0" y="T1"/>
                </a:cxn>
                <a:cxn ang="0">
                  <a:pos x="T2" y="T3"/>
                </a:cxn>
                <a:cxn ang="0">
                  <a:pos x="T4" y="T5"/>
                </a:cxn>
                <a:cxn ang="0">
                  <a:pos x="T6" y="T7"/>
                </a:cxn>
                <a:cxn ang="0">
                  <a:pos x="T8" y="T9"/>
                </a:cxn>
              </a:cxnLst>
              <a:rect l="0" t="0" r="r" b="b"/>
              <a:pathLst>
                <a:path w="823" h="900">
                  <a:moveTo>
                    <a:pt x="312" y="57"/>
                  </a:moveTo>
                  <a:cubicBezTo>
                    <a:pt x="113" y="105"/>
                    <a:pt x="0" y="322"/>
                    <a:pt x="56" y="540"/>
                  </a:cubicBezTo>
                  <a:cubicBezTo>
                    <a:pt x="113" y="758"/>
                    <a:pt x="312" y="900"/>
                    <a:pt x="511" y="852"/>
                  </a:cubicBezTo>
                  <a:cubicBezTo>
                    <a:pt x="709" y="805"/>
                    <a:pt x="823" y="587"/>
                    <a:pt x="766" y="370"/>
                  </a:cubicBezTo>
                  <a:cubicBezTo>
                    <a:pt x="719" y="142"/>
                    <a:pt x="511" y="0"/>
                    <a:pt x="312" y="57"/>
                  </a:cubicBezTo>
                </a:path>
              </a:pathLst>
            </a:custGeom>
            <a:solidFill>
              <a:srgbClr val="7030A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61" name="Freeform 157">
              <a:extLst>
                <a:ext uri="{FF2B5EF4-FFF2-40B4-BE49-F238E27FC236}">
                  <a16:creationId xmlns:a16="http://schemas.microsoft.com/office/drawing/2014/main" id="{C8682D22-53C9-4E5E-BAD0-4D88AAA6CCC0}"/>
                </a:ext>
              </a:extLst>
            </p:cNvPr>
            <p:cNvSpPr>
              <a:spLocks/>
            </p:cNvSpPr>
            <p:nvPr/>
          </p:nvSpPr>
          <p:spPr bwMode="auto">
            <a:xfrm>
              <a:off x="3322638" y="3544888"/>
              <a:ext cx="381000" cy="166688"/>
            </a:xfrm>
            <a:custGeom>
              <a:avLst/>
              <a:gdLst>
                <a:gd name="T0" fmla="*/ 1070 w 1344"/>
                <a:gd name="T1" fmla="*/ 47 h 587"/>
                <a:gd name="T2" fmla="*/ 937 w 1344"/>
                <a:gd name="T3" fmla="*/ 142 h 587"/>
                <a:gd name="T4" fmla="*/ 663 w 1344"/>
                <a:gd name="T5" fmla="*/ 142 h 587"/>
                <a:gd name="T6" fmla="*/ 351 w 1344"/>
                <a:gd name="T7" fmla="*/ 0 h 587"/>
                <a:gd name="T8" fmla="*/ 0 w 1344"/>
                <a:gd name="T9" fmla="*/ 587 h 587"/>
                <a:gd name="T10" fmla="*/ 1344 w 1344"/>
                <a:gd name="T11" fmla="*/ 587 h 587"/>
                <a:gd name="T12" fmla="*/ 1250 w 1344"/>
                <a:gd name="T13" fmla="*/ 227 h 587"/>
                <a:gd name="T14" fmla="*/ 1070 w 1344"/>
                <a:gd name="T15" fmla="*/ 47 h 5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44" h="587">
                  <a:moveTo>
                    <a:pt x="1070" y="47"/>
                  </a:moveTo>
                  <a:cubicBezTo>
                    <a:pt x="1032" y="47"/>
                    <a:pt x="994" y="113"/>
                    <a:pt x="937" y="142"/>
                  </a:cubicBezTo>
                  <a:cubicBezTo>
                    <a:pt x="881" y="170"/>
                    <a:pt x="824" y="217"/>
                    <a:pt x="663" y="142"/>
                  </a:cubicBezTo>
                  <a:cubicBezTo>
                    <a:pt x="502" y="66"/>
                    <a:pt x="483" y="0"/>
                    <a:pt x="351" y="0"/>
                  </a:cubicBezTo>
                  <a:cubicBezTo>
                    <a:pt x="218" y="0"/>
                    <a:pt x="0" y="236"/>
                    <a:pt x="0" y="587"/>
                  </a:cubicBezTo>
                  <a:lnTo>
                    <a:pt x="1344" y="587"/>
                  </a:lnTo>
                  <a:cubicBezTo>
                    <a:pt x="1344" y="587"/>
                    <a:pt x="1326" y="350"/>
                    <a:pt x="1250" y="227"/>
                  </a:cubicBezTo>
                  <a:cubicBezTo>
                    <a:pt x="1155" y="47"/>
                    <a:pt x="1108" y="47"/>
                    <a:pt x="1070" y="47"/>
                  </a:cubicBezTo>
                  <a:close/>
                </a:path>
              </a:pathLst>
            </a:custGeom>
            <a:solidFill>
              <a:srgbClr val="7030A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62" name="Freeform 158">
              <a:extLst>
                <a:ext uri="{FF2B5EF4-FFF2-40B4-BE49-F238E27FC236}">
                  <a16:creationId xmlns:a16="http://schemas.microsoft.com/office/drawing/2014/main" id="{359F6763-AF70-4ECB-8B70-7B7FEBEF365D}"/>
                </a:ext>
              </a:extLst>
            </p:cNvPr>
            <p:cNvSpPr>
              <a:spLocks noEditPoints="1"/>
            </p:cNvSpPr>
            <p:nvPr/>
          </p:nvSpPr>
          <p:spPr bwMode="auto">
            <a:xfrm>
              <a:off x="3544888" y="3438526"/>
              <a:ext cx="131763" cy="250825"/>
            </a:xfrm>
            <a:custGeom>
              <a:avLst/>
              <a:gdLst>
                <a:gd name="T0" fmla="*/ 411 w 467"/>
                <a:gd name="T1" fmla="*/ 0 h 887"/>
                <a:gd name="T2" fmla="*/ 56 w 467"/>
                <a:gd name="T3" fmla="*/ 0 h 887"/>
                <a:gd name="T4" fmla="*/ 0 w 467"/>
                <a:gd name="T5" fmla="*/ 56 h 887"/>
                <a:gd name="T6" fmla="*/ 0 w 467"/>
                <a:gd name="T7" fmla="*/ 299 h 887"/>
                <a:gd name="T8" fmla="*/ 65 w 467"/>
                <a:gd name="T9" fmla="*/ 355 h 887"/>
                <a:gd name="T10" fmla="*/ 130 w 467"/>
                <a:gd name="T11" fmla="*/ 355 h 887"/>
                <a:gd name="T12" fmla="*/ 130 w 467"/>
                <a:gd name="T13" fmla="*/ 794 h 887"/>
                <a:gd name="T14" fmla="*/ 214 w 467"/>
                <a:gd name="T15" fmla="*/ 887 h 887"/>
                <a:gd name="T16" fmla="*/ 298 w 467"/>
                <a:gd name="T17" fmla="*/ 803 h 887"/>
                <a:gd name="T18" fmla="*/ 317 w 467"/>
                <a:gd name="T19" fmla="*/ 803 h 887"/>
                <a:gd name="T20" fmla="*/ 317 w 467"/>
                <a:gd name="T21" fmla="*/ 747 h 887"/>
                <a:gd name="T22" fmla="*/ 345 w 467"/>
                <a:gd name="T23" fmla="*/ 719 h 887"/>
                <a:gd name="T24" fmla="*/ 345 w 467"/>
                <a:gd name="T25" fmla="*/ 691 h 887"/>
                <a:gd name="T26" fmla="*/ 298 w 467"/>
                <a:gd name="T27" fmla="*/ 654 h 887"/>
                <a:gd name="T28" fmla="*/ 298 w 467"/>
                <a:gd name="T29" fmla="*/ 626 h 887"/>
                <a:gd name="T30" fmla="*/ 317 w 467"/>
                <a:gd name="T31" fmla="*/ 607 h 887"/>
                <a:gd name="T32" fmla="*/ 345 w 467"/>
                <a:gd name="T33" fmla="*/ 560 h 887"/>
                <a:gd name="T34" fmla="*/ 317 w 467"/>
                <a:gd name="T35" fmla="*/ 514 h 887"/>
                <a:gd name="T36" fmla="*/ 298 w 467"/>
                <a:gd name="T37" fmla="*/ 476 h 887"/>
                <a:gd name="T38" fmla="*/ 298 w 467"/>
                <a:gd name="T39" fmla="*/ 458 h 887"/>
                <a:gd name="T40" fmla="*/ 364 w 467"/>
                <a:gd name="T41" fmla="*/ 364 h 887"/>
                <a:gd name="T42" fmla="*/ 411 w 467"/>
                <a:gd name="T43" fmla="*/ 364 h 887"/>
                <a:gd name="T44" fmla="*/ 467 w 467"/>
                <a:gd name="T45" fmla="*/ 308 h 887"/>
                <a:gd name="T46" fmla="*/ 467 w 467"/>
                <a:gd name="T47" fmla="*/ 56 h 887"/>
                <a:gd name="T48" fmla="*/ 411 w 467"/>
                <a:gd name="T49" fmla="*/ 0 h 887"/>
                <a:gd name="T50" fmla="*/ 205 w 467"/>
                <a:gd name="T51" fmla="*/ 813 h 887"/>
                <a:gd name="T52" fmla="*/ 186 w 467"/>
                <a:gd name="T53" fmla="*/ 841 h 887"/>
                <a:gd name="T54" fmla="*/ 168 w 467"/>
                <a:gd name="T55" fmla="*/ 813 h 887"/>
                <a:gd name="T56" fmla="*/ 168 w 467"/>
                <a:gd name="T57" fmla="*/ 401 h 887"/>
                <a:gd name="T58" fmla="*/ 186 w 467"/>
                <a:gd name="T59" fmla="*/ 373 h 887"/>
                <a:gd name="T60" fmla="*/ 205 w 467"/>
                <a:gd name="T61" fmla="*/ 401 h 887"/>
                <a:gd name="T62" fmla="*/ 205 w 467"/>
                <a:gd name="T63" fmla="*/ 813 h 887"/>
                <a:gd name="T64" fmla="*/ 233 w 467"/>
                <a:gd name="T65" fmla="*/ 149 h 887"/>
                <a:gd name="T66" fmla="*/ 177 w 467"/>
                <a:gd name="T67" fmla="*/ 93 h 887"/>
                <a:gd name="T68" fmla="*/ 233 w 467"/>
                <a:gd name="T69" fmla="*/ 37 h 887"/>
                <a:gd name="T70" fmla="*/ 289 w 467"/>
                <a:gd name="T71" fmla="*/ 93 h 887"/>
                <a:gd name="T72" fmla="*/ 233 w 467"/>
                <a:gd name="T73" fmla="*/ 149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7" h="887">
                  <a:moveTo>
                    <a:pt x="411" y="0"/>
                  </a:moveTo>
                  <a:lnTo>
                    <a:pt x="56" y="0"/>
                  </a:lnTo>
                  <a:cubicBezTo>
                    <a:pt x="28" y="0"/>
                    <a:pt x="0" y="28"/>
                    <a:pt x="0" y="56"/>
                  </a:cubicBezTo>
                  <a:lnTo>
                    <a:pt x="0" y="299"/>
                  </a:lnTo>
                  <a:cubicBezTo>
                    <a:pt x="0" y="327"/>
                    <a:pt x="28" y="355"/>
                    <a:pt x="65" y="355"/>
                  </a:cubicBezTo>
                  <a:lnTo>
                    <a:pt x="130" y="355"/>
                  </a:lnTo>
                  <a:lnTo>
                    <a:pt x="130" y="794"/>
                  </a:lnTo>
                  <a:cubicBezTo>
                    <a:pt x="130" y="850"/>
                    <a:pt x="168" y="887"/>
                    <a:pt x="214" y="887"/>
                  </a:cubicBezTo>
                  <a:cubicBezTo>
                    <a:pt x="261" y="887"/>
                    <a:pt x="298" y="850"/>
                    <a:pt x="298" y="803"/>
                  </a:cubicBezTo>
                  <a:cubicBezTo>
                    <a:pt x="308" y="803"/>
                    <a:pt x="317" y="803"/>
                    <a:pt x="317" y="803"/>
                  </a:cubicBezTo>
                  <a:cubicBezTo>
                    <a:pt x="317" y="803"/>
                    <a:pt x="317" y="756"/>
                    <a:pt x="317" y="747"/>
                  </a:cubicBezTo>
                  <a:cubicBezTo>
                    <a:pt x="317" y="728"/>
                    <a:pt x="345" y="719"/>
                    <a:pt x="345" y="719"/>
                  </a:cubicBezTo>
                  <a:cubicBezTo>
                    <a:pt x="345" y="719"/>
                    <a:pt x="345" y="691"/>
                    <a:pt x="345" y="691"/>
                  </a:cubicBezTo>
                  <a:cubicBezTo>
                    <a:pt x="317" y="682"/>
                    <a:pt x="298" y="663"/>
                    <a:pt x="298" y="654"/>
                  </a:cubicBezTo>
                  <a:lnTo>
                    <a:pt x="298" y="626"/>
                  </a:lnTo>
                  <a:cubicBezTo>
                    <a:pt x="308" y="616"/>
                    <a:pt x="317" y="607"/>
                    <a:pt x="317" y="607"/>
                  </a:cubicBezTo>
                  <a:cubicBezTo>
                    <a:pt x="326" y="598"/>
                    <a:pt x="345" y="560"/>
                    <a:pt x="345" y="560"/>
                  </a:cubicBezTo>
                  <a:cubicBezTo>
                    <a:pt x="345" y="560"/>
                    <a:pt x="317" y="523"/>
                    <a:pt x="317" y="514"/>
                  </a:cubicBezTo>
                  <a:cubicBezTo>
                    <a:pt x="308" y="504"/>
                    <a:pt x="308" y="486"/>
                    <a:pt x="298" y="476"/>
                  </a:cubicBezTo>
                  <a:lnTo>
                    <a:pt x="298" y="458"/>
                  </a:lnTo>
                  <a:cubicBezTo>
                    <a:pt x="308" y="411"/>
                    <a:pt x="364" y="364"/>
                    <a:pt x="364" y="364"/>
                  </a:cubicBezTo>
                  <a:lnTo>
                    <a:pt x="411" y="364"/>
                  </a:lnTo>
                  <a:cubicBezTo>
                    <a:pt x="439" y="364"/>
                    <a:pt x="467" y="336"/>
                    <a:pt x="467" y="308"/>
                  </a:cubicBezTo>
                  <a:lnTo>
                    <a:pt x="467" y="56"/>
                  </a:lnTo>
                  <a:cubicBezTo>
                    <a:pt x="467" y="28"/>
                    <a:pt x="448" y="0"/>
                    <a:pt x="411" y="0"/>
                  </a:cubicBezTo>
                  <a:close/>
                  <a:moveTo>
                    <a:pt x="205" y="813"/>
                  </a:moveTo>
                  <a:cubicBezTo>
                    <a:pt x="205" y="831"/>
                    <a:pt x="205" y="841"/>
                    <a:pt x="186" y="841"/>
                  </a:cubicBezTo>
                  <a:cubicBezTo>
                    <a:pt x="168" y="841"/>
                    <a:pt x="168" y="822"/>
                    <a:pt x="168" y="813"/>
                  </a:cubicBezTo>
                  <a:lnTo>
                    <a:pt x="168" y="401"/>
                  </a:lnTo>
                  <a:cubicBezTo>
                    <a:pt x="168" y="383"/>
                    <a:pt x="177" y="373"/>
                    <a:pt x="186" y="373"/>
                  </a:cubicBezTo>
                  <a:cubicBezTo>
                    <a:pt x="205" y="373"/>
                    <a:pt x="205" y="392"/>
                    <a:pt x="205" y="401"/>
                  </a:cubicBezTo>
                  <a:lnTo>
                    <a:pt x="205" y="813"/>
                  </a:lnTo>
                  <a:close/>
                  <a:moveTo>
                    <a:pt x="233" y="149"/>
                  </a:moveTo>
                  <a:cubicBezTo>
                    <a:pt x="205" y="149"/>
                    <a:pt x="177" y="121"/>
                    <a:pt x="177" y="93"/>
                  </a:cubicBezTo>
                  <a:cubicBezTo>
                    <a:pt x="177" y="65"/>
                    <a:pt x="205" y="37"/>
                    <a:pt x="233" y="37"/>
                  </a:cubicBezTo>
                  <a:cubicBezTo>
                    <a:pt x="261" y="37"/>
                    <a:pt x="289" y="65"/>
                    <a:pt x="289" y="93"/>
                  </a:cubicBezTo>
                  <a:cubicBezTo>
                    <a:pt x="289" y="121"/>
                    <a:pt x="270" y="149"/>
                    <a:pt x="233" y="149"/>
                  </a:cubicBezTo>
                  <a:close/>
                </a:path>
              </a:pathLst>
            </a:custGeom>
            <a:solidFill>
              <a:srgbClr val="7030A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63" name="Freeform 159">
              <a:extLst>
                <a:ext uri="{FF2B5EF4-FFF2-40B4-BE49-F238E27FC236}">
                  <a16:creationId xmlns:a16="http://schemas.microsoft.com/office/drawing/2014/main" id="{7587B3D6-F521-4980-8FBB-87466F0380A0}"/>
                </a:ext>
              </a:extLst>
            </p:cNvPr>
            <p:cNvSpPr>
              <a:spLocks noEditPoints="1"/>
            </p:cNvSpPr>
            <p:nvPr/>
          </p:nvSpPr>
          <p:spPr bwMode="auto">
            <a:xfrm>
              <a:off x="3544888" y="3438526"/>
              <a:ext cx="131763" cy="250825"/>
            </a:xfrm>
            <a:custGeom>
              <a:avLst/>
              <a:gdLst>
                <a:gd name="T0" fmla="*/ 411 w 467"/>
                <a:gd name="T1" fmla="*/ 0 h 887"/>
                <a:gd name="T2" fmla="*/ 56 w 467"/>
                <a:gd name="T3" fmla="*/ 0 h 887"/>
                <a:gd name="T4" fmla="*/ 0 w 467"/>
                <a:gd name="T5" fmla="*/ 56 h 887"/>
                <a:gd name="T6" fmla="*/ 0 w 467"/>
                <a:gd name="T7" fmla="*/ 299 h 887"/>
                <a:gd name="T8" fmla="*/ 65 w 467"/>
                <a:gd name="T9" fmla="*/ 355 h 887"/>
                <a:gd name="T10" fmla="*/ 130 w 467"/>
                <a:gd name="T11" fmla="*/ 355 h 887"/>
                <a:gd name="T12" fmla="*/ 130 w 467"/>
                <a:gd name="T13" fmla="*/ 794 h 887"/>
                <a:gd name="T14" fmla="*/ 214 w 467"/>
                <a:gd name="T15" fmla="*/ 887 h 887"/>
                <a:gd name="T16" fmla="*/ 298 w 467"/>
                <a:gd name="T17" fmla="*/ 803 h 887"/>
                <a:gd name="T18" fmla="*/ 317 w 467"/>
                <a:gd name="T19" fmla="*/ 803 h 887"/>
                <a:gd name="T20" fmla="*/ 317 w 467"/>
                <a:gd name="T21" fmla="*/ 747 h 887"/>
                <a:gd name="T22" fmla="*/ 345 w 467"/>
                <a:gd name="T23" fmla="*/ 719 h 887"/>
                <a:gd name="T24" fmla="*/ 345 w 467"/>
                <a:gd name="T25" fmla="*/ 691 h 887"/>
                <a:gd name="T26" fmla="*/ 298 w 467"/>
                <a:gd name="T27" fmla="*/ 654 h 887"/>
                <a:gd name="T28" fmla="*/ 298 w 467"/>
                <a:gd name="T29" fmla="*/ 626 h 887"/>
                <a:gd name="T30" fmla="*/ 317 w 467"/>
                <a:gd name="T31" fmla="*/ 607 h 887"/>
                <a:gd name="T32" fmla="*/ 345 w 467"/>
                <a:gd name="T33" fmla="*/ 560 h 887"/>
                <a:gd name="T34" fmla="*/ 317 w 467"/>
                <a:gd name="T35" fmla="*/ 514 h 887"/>
                <a:gd name="T36" fmla="*/ 298 w 467"/>
                <a:gd name="T37" fmla="*/ 476 h 887"/>
                <a:gd name="T38" fmla="*/ 298 w 467"/>
                <a:gd name="T39" fmla="*/ 458 h 887"/>
                <a:gd name="T40" fmla="*/ 364 w 467"/>
                <a:gd name="T41" fmla="*/ 364 h 887"/>
                <a:gd name="T42" fmla="*/ 411 w 467"/>
                <a:gd name="T43" fmla="*/ 364 h 887"/>
                <a:gd name="T44" fmla="*/ 467 w 467"/>
                <a:gd name="T45" fmla="*/ 308 h 887"/>
                <a:gd name="T46" fmla="*/ 467 w 467"/>
                <a:gd name="T47" fmla="*/ 56 h 887"/>
                <a:gd name="T48" fmla="*/ 411 w 467"/>
                <a:gd name="T49" fmla="*/ 0 h 887"/>
                <a:gd name="T50" fmla="*/ 205 w 467"/>
                <a:gd name="T51" fmla="*/ 813 h 887"/>
                <a:gd name="T52" fmla="*/ 186 w 467"/>
                <a:gd name="T53" fmla="*/ 841 h 887"/>
                <a:gd name="T54" fmla="*/ 168 w 467"/>
                <a:gd name="T55" fmla="*/ 813 h 887"/>
                <a:gd name="T56" fmla="*/ 168 w 467"/>
                <a:gd name="T57" fmla="*/ 401 h 887"/>
                <a:gd name="T58" fmla="*/ 186 w 467"/>
                <a:gd name="T59" fmla="*/ 373 h 887"/>
                <a:gd name="T60" fmla="*/ 205 w 467"/>
                <a:gd name="T61" fmla="*/ 401 h 887"/>
                <a:gd name="T62" fmla="*/ 205 w 467"/>
                <a:gd name="T63" fmla="*/ 813 h 887"/>
                <a:gd name="T64" fmla="*/ 233 w 467"/>
                <a:gd name="T65" fmla="*/ 149 h 887"/>
                <a:gd name="T66" fmla="*/ 177 w 467"/>
                <a:gd name="T67" fmla="*/ 93 h 887"/>
                <a:gd name="T68" fmla="*/ 233 w 467"/>
                <a:gd name="T69" fmla="*/ 37 h 887"/>
                <a:gd name="T70" fmla="*/ 289 w 467"/>
                <a:gd name="T71" fmla="*/ 93 h 887"/>
                <a:gd name="T72" fmla="*/ 233 w 467"/>
                <a:gd name="T73" fmla="*/ 149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7" h="887">
                  <a:moveTo>
                    <a:pt x="411" y="0"/>
                  </a:moveTo>
                  <a:lnTo>
                    <a:pt x="56" y="0"/>
                  </a:lnTo>
                  <a:cubicBezTo>
                    <a:pt x="28" y="0"/>
                    <a:pt x="0" y="28"/>
                    <a:pt x="0" y="56"/>
                  </a:cubicBezTo>
                  <a:lnTo>
                    <a:pt x="0" y="299"/>
                  </a:lnTo>
                  <a:cubicBezTo>
                    <a:pt x="0" y="327"/>
                    <a:pt x="28" y="355"/>
                    <a:pt x="65" y="355"/>
                  </a:cubicBezTo>
                  <a:lnTo>
                    <a:pt x="130" y="355"/>
                  </a:lnTo>
                  <a:lnTo>
                    <a:pt x="130" y="794"/>
                  </a:lnTo>
                  <a:cubicBezTo>
                    <a:pt x="130" y="850"/>
                    <a:pt x="168" y="887"/>
                    <a:pt x="214" y="887"/>
                  </a:cubicBezTo>
                  <a:cubicBezTo>
                    <a:pt x="261" y="887"/>
                    <a:pt x="298" y="850"/>
                    <a:pt x="298" y="803"/>
                  </a:cubicBezTo>
                  <a:cubicBezTo>
                    <a:pt x="308" y="803"/>
                    <a:pt x="317" y="803"/>
                    <a:pt x="317" y="803"/>
                  </a:cubicBezTo>
                  <a:cubicBezTo>
                    <a:pt x="317" y="803"/>
                    <a:pt x="317" y="756"/>
                    <a:pt x="317" y="747"/>
                  </a:cubicBezTo>
                  <a:cubicBezTo>
                    <a:pt x="317" y="728"/>
                    <a:pt x="345" y="719"/>
                    <a:pt x="345" y="719"/>
                  </a:cubicBezTo>
                  <a:cubicBezTo>
                    <a:pt x="345" y="719"/>
                    <a:pt x="345" y="691"/>
                    <a:pt x="345" y="691"/>
                  </a:cubicBezTo>
                  <a:cubicBezTo>
                    <a:pt x="317" y="682"/>
                    <a:pt x="298" y="663"/>
                    <a:pt x="298" y="654"/>
                  </a:cubicBezTo>
                  <a:lnTo>
                    <a:pt x="298" y="626"/>
                  </a:lnTo>
                  <a:cubicBezTo>
                    <a:pt x="308" y="616"/>
                    <a:pt x="317" y="607"/>
                    <a:pt x="317" y="607"/>
                  </a:cubicBezTo>
                  <a:cubicBezTo>
                    <a:pt x="326" y="598"/>
                    <a:pt x="345" y="560"/>
                    <a:pt x="345" y="560"/>
                  </a:cubicBezTo>
                  <a:cubicBezTo>
                    <a:pt x="345" y="560"/>
                    <a:pt x="317" y="523"/>
                    <a:pt x="317" y="514"/>
                  </a:cubicBezTo>
                  <a:cubicBezTo>
                    <a:pt x="308" y="504"/>
                    <a:pt x="308" y="486"/>
                    <a:pt x="298" y="476"/>
                  </a:cubicBezTo>
                  <a:lnTo>
                    <a:pt x="298" y="458"/>
                  </a:lnTo>
                  <a:cubicBezTo>
                    <a:pt x="308" y="411"/>
                    <a:pt x="364" y="364"/>
                    <a:pt x="364" y="364"/>
                  </a:cubicBezTo>
                  <a:lnTo>
                    <a:pt x="411" y="364"/>
                  </a:lnTo>
                  <a:cubicBezTo>
                    <a:pt x="439" y="364"/>
                    <a:pt x="467" y="336"/>
                    <a:pt x="467" y="308"/>
                  </a:cubicBezTo>
                  <a:lnTo>
                    <a:pt x="467" y="56"/>
                  </a:lnTo>
                  <a:cubicBezTo>
                    <a:pt x="467" y="28"/>
                    <a:pt x="448" y="0"/>
                    <a:pt x="411" y="0"/>
                  </a:cubicBezTo>
                  <a:close/>
                  <a:moveTo>
                    <a:pt x="205" y="813"/>
                  </a:moveTo>
                  <a:cubicBezTo>
                    <a:pt x="205" y="831"/>
                    <a:pt x="205" y="841"/>
                    <a:pt x="186" y="841"/>
                  </a:cubicBezTo>
                  <a:cubicBezTo>
                    <a:pt x="168" y="841"/>
                    <a:pt x="168" y="822"/>
                    <a:pt x="168" y="813"/>
                  </a:cubicBezTo>
                  <a:lnTo>
                    <a:pt x="168" y="401"/>
                  </a:lnTo>
                  <a:cubicBezTo>
                    <a:pt x="168" y="383"/>
                    <a:pt x="177" y="373"/>
                    <a:pt x="186" y="373"/>
                  </a:cubicBezTo>
                  <a:cubicBezTo>
                    <a:pt x="205" y="373"/>
                    <a:pt x="205" y="392"/>
                    <a:pt x="205" y="401"/>
                  </a:cubicBezTo>
                  <a:lnTo>
                    <a:pt x="205" y="813"/>
                  </a:lnTo>
                  <a:close/>
                  <a:moveTo>
                    <a:pt x="233" y="149"/>
                  </a:moveTo>
                  <a:cubicBezTo>
                    <a:pt x="205" y="149"/>
                    <a:pt x="177" y="121"/>
                    <a:pt x="177" y="93"/>
                  </a:cubicBezTo>
                  <a:cubicBezTo>
                    <a:pt x="177" y="65"/>
                    <a:pt x="205" y="37"/>
                    <a:pt x="233" y="37"/>
                  </a:cubicBezTo>
                  <a:cubicBezTo>
                    <a:pt x="261" y="37"/>
                    <a:pt x="289" y="65"/>
                    <a:pt x="289" y="93"/>
                  </a:cubicBezTo>
                  <a:cubicBezTo>
                    <a:pt x="289" y="121"/>
                    <a:pt x="270" y="149"/>
                    <a:pt x="233" y="149"/>
                  </a:cubicBezTo>
                  <a:close/>
                </a:path>
              </a:pathLst>
            </a:custGeom>
            <a:noFill/>
            <a:ln w="635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264" name="Freeform 160">
              <a:extLst>
                <a:ext uri="{FF2B5EF4-FFF2-40B4-BE49-F238E27FC236}">
                  <a16:creationId xmlns:a16="http://schemas.microsoft.com/office/drawing/2014/main" id="{C697F3EC-4655-4B3D-8027-B2838320E8EC}"/>
                </a:ext>
              </a:extLst>
            </p:cNvPr>
            <p:cNvSpPr>
              <a:spLocks/>
            </p:cNvSpPr>
            <p:nvPr/>
          </p:nvSpPr>
          <p:spPr bwMode="auto">
            <a:xfrm>
              <a:off x="3590926" y="3544888"/>
              <a:ext cx="11113" cy="131763"/>
            </a:xfrm>
            <a:custGeom>
              <a:avLst/>
              <a:gdLst>
                <a:gd name="T0" fmla="*/ 19 w 38"/>
                <a:gd name="T1" fmla="*/ 464 h 464"/>
                <a:gd name="T2" fmla="*/ 0 w 38"/>
                <a:gd name="T3" fmla="*/ 445 h 464"/>
                <a:gd name="T4" fmla="*/ 0 w 38"/>
                <a:gd name="T5" fmla="*/ 19 h 464"/>
                <a:gd name="T6" fmla="*/ 19 w 38"/>
                <a:gd name="T7" fmla="*/ 0 h 464"/>
                <a:gd name="T8" fmla="*/ 38 w 38"/>
                <a:gd name="T9" fmla="*/ 19 h 464"/>
                <a:gd name="T10" fmla="*/ 38 w 38"/>
                <a:gd name="T11" fmla="*/ 454 h 464"/>
                <a:gd name="T12" fmla="*/ 19 w 38"/>
                <a:gd name="T13" fmla="*/ 464 h 464"/>
              </a:gdLst>
              <a:ahLst/>
              <a:cxnLst>
                <a:cxn ang="0">
                  <a:pos x="T0" y="T1"/>
                </a:cxn>
                <a:cxn ang="0">
                  <a:pos x="T2" y="T3"/>
                </a:cxn>
                <a:cxn ang="0">
                  <a:pos x="T4" y="T5"/>
                </a:cxn>
                <a:cxn ang="0">
                  <a:pos x="T6" y="T7"/>
                </a:cxn>
                <a:cxn ang="0">
                  <a:pos x="T8" y="T9"/>
                </a:cxn>
                <a:cxn ang="0">
                  <a:pos x="T10" y="T11"/>
                </a:cxn>
                <a:cxn ang="0">
                  <a:pos x="T12" y="T13"/>
                </a:cxn>
              </a:cxnLst>
              <a:rect l="0" t="0" r="r" b="b"/>
              <a:pathLst>
                <a:path w="38" h="464">
                  <a:moveTo>
                    <a:pt x="19" y="464"/>
                  </a:moveTo>
                  <a:cubicBezTo>
                    <a:pt x="10" y="464"/>
                    <a:pt x="0" y="454"/>
                    <a:pt x="0" y="445"/>
                  </a:cubicBezTo>
                  <a:lnTo>
                    <a:pt x="0" y="19"/>
                  </a:lnTo>
                  <a:cubicBezTo>
                    <a:pt x="0" y="9"/>
                    <a:pt x="10" y="0"/>
                    <a:pt x="19" y="0"/>
                  </a:cubicBezTo>
                  <a:cubicBezTo>
                    <a:pt x="29" y="0"/>
                    <a:pt x="38" y="9"/>
                    <a:pt x="38" y="19"/>
                  </a:cubicBezTo>
                  <a:lnTo>
                    <a:pt x="38" y="454"/>
                  </a:lnTo>
                  <a:cubicBezTo>
                    <a:pt x="38" y="464"/>
                    <a:pt x="29" y="464"/>
                    <a:pt x="19" y="464"/>
                  </a:cubicBezTo>
                  <a:close/>
                </a:path>
              </a:pathLst>
            </a:custGeom>
            <a:solidFill>
              <a:srgbClr val="7030A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66" name="Oval 161">
              <a:extLst>
                <a:ext uri="{FF2B5EF4-FFF2-40B4-BE49-F238E27FC236}">
                  <a16:creationId xmlns:a16="http://schemas.microsoft.com/office/drawing/2014/main" id="{8FF123BD-AA6C-4A7F-BFEE-542CF5A3A9FD}"/>
                </a:ext>
              </a:extLst>
            </p:cNvPr>
            <p:cNvSpPr>
              <a:spLocks noChangeArrowheads="1"/>
            </p:cNvSpPr>
            <p:nvPr/>
          </p:nvSpPr>
          <p:spPr bwMode="auto">
            <a:xfrm>
              <a:off x="3594101" y="3448051"/>
              <a:ext cx="33338" cy="31750"/>
            </a:xfrm>
            <a:prstGeom prst="ellipse">
              <a:avLst/>
            </a:prstGeom>
            <a:solidFill>
              <a:srgbClr val="7030A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7285" name="Freeform 192">
            <a:extLst>
              <a:ext uri="{FF2B5EF4-FFF2-40B4-BE49-F238E27FC236}">
                <a16:creationId xmlns:a16="http://schemas.microsoft.com/office/drawing/2014/main" id="{CCDB00A3-8AE3-4766-B2EF-06CB19735663}"/>
              </a:ext>
            </a:extLst>
          </p:cNvPr>
          <p:cNvSpPr>
            <a:spLocks/>
          </p:cNvSpPr>
          <p:nvPr/>
        </p:nvSpPr>
        <p:spPr bwMode="auto">
          <a:xfrm>
            <a:off x="1660526" y="3167063"/>
            <a:ext cx="115888" cy="115888"/>
          </a:xfrm>
          <a:custGeom>
            <a:avLst/>
            <a:gdLst>
              <a:gd name="T0" fmla="*/ 0 w 73"/>
              <a:gd name="T1" fmla="*/ 0 h 73"/>
              <a:gd name="T2" fmla="*/ 73 w 73"/>
              <a:gd name="T3" fmla="*/ 37 h 73"/>
              <a:gd name="T4" fmla="*/ 0 w 73"/>
              <a:gd name="T5" fmla="*/ 73 h 73"/>
              <a:gd name="T6" fmla="*/ 0 w 73"/>
              <a:gd name="T7" fmla="*/ 0 h 73"/>
            </a:gdLst>
            <a:ahLst/>
            <a:cxnLst>
              <a:cxn ang="0">
                <a:pos x="T0" y="T1"/>
              </a:cxn>
              <a:cxn ang="0">
                <a:pos x="T2" y="T3"/>
              </a:cxn>
              <a:cxn ang="0">
                <a:pos x="T4" y="T5"/>
              </a:cxn>
              <a:cxn ang="0">
                <a:pos x="T6" y="T7"/>
              </a:cxn>
            </a:cxnLst>
            <a:rect l="0" t="0" r="r" b="b"/>
            <a:pathLst>
              <a:path w="73" h="73">
                <a:moveTo>
                  <a:pt x="0" y="0"/>
                </a:moveTo>
                <a:lnTo>
                  <a:pt x="73" y="37"/>
                </a:lnTo>
                <a:lnTo>
                  <a:pt x="0" y="73"/>
                </a:lnTo>
                <a:lnTo>
                  <a:pt x="0" y="0"/>
                </a:lnTo>
                <a:close/>
              </a:path>
            </a:pathLst>
          </a:cu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05" name="TextBox 7304">
            <a:extLst>
              <a:ext uri="{FF2B5EF4-FFF2-40B4-BE49-F238E27FC236}">
                <a16:creationId xmlns:a16="http://schemas.microsoft.com/office/drawing/2014/main" id="{882E0C45-231B-436B-8697-7F656F5E58FC}"/>
              </a:ext>
            </a:extLst>
          </p:cNvPr>
          <p:cNvSpPr txBox="1"/>
          <p:nvPr/>
        </p:nvSpPr>
        <p:spPr>
          <a:xfrm>
            <a:off x="3804287" y="3273466"/>
            <a:ext cx="1682114" cy="646331"/>
          </a:xfrm>
          <a:prstGeom prst="rect">
            <a:avLst/>
          </a:prstGeom>
          <a:solidFill>
            <a:schemeClr val="bg1"/>
          </a:solidFill>
        </p:spPr>
        <p:txBody>
          <a:bodyPr wrap="square" lIns="0" tIns="0" rIns="0" bIns="0" rtlCol="0">
            <a:spAutoFit/>
          </a:bodyPr>
          <a:lstStyle/>
          <a:p>
            <a:pPr algn="ctr"/>
            <a:r>
              <a:rPr lang="en-US" sz="1400" dirty="0">
                <a:gradFill>
                  <a:gsLst>
                    <a:gs pos="2917">
                      <a:schemeClr val="tx1"/>
                    </a:gs>
                    <a:gs pos="30000">
                      <a:schemeClr val="tx1"/>
                    </a:gs>
                  </a:gsLst>
                  <a:lin ang="5400000" scaled="0"/>
                </a:gradFill>
                <a:latin typeface="Calibri" panose="020F0502020204030204" pitchFamily="34" charset="0"/>
                <a:cs typeface="Calibri" panose="020F0502020204030204" pitchFamily="34" charset="0"/>
              </a:rPr>
              <a:t>Assign Tenant Creator Role to User(s) or Service Principal</a:t>
            </a:r>
          </a:p>
        </p:txBody>
      </p:sp>
      <p:sp>
        <p:nvSpPr>
          <p:cNvPr id="208" name="TextBox 207">
            <a:extLst>
              <a:ext uri="{FF2B5EF4-FFF2-40B4-BE49-F238E27FC236}">
                <a16:creationId xmlns:a16="http://schemas.microsoft.com/office/drawing/2014/main" id="{0D93741E-ABF5-4E06-A91F-265990E13749}"/>
              </a:ext>
            </a:extLst>
          </p:cNvPr>
          <p:cNvSpPr txBox="1"/>
          <p:nvPr/>
        </p:nvSpPr>
        <p:spPr>
          <a:xfrm>
            <a:off x="961391" y="4041360"/>
            <a:ext cx="1314292" cy="430887"/>
          </a:xfrm>
          <a:prstGeom prst="rect">
            <a:avLst/>
          </a:prstGeom>
          <a:solidFill>
            <a:schemeClr val="bg1"/>
          </a:solidFill>
        </p:spPr>
        <p:txBody>
          <a:bodyPr wrap="square" lIns="0" tIns="0" rIns="0" bIns="0" rtlCol="0">
            <a:spAutoFit/>
          </a:bodyPr>
          <a:lstStyle/>
          <a:p>
            <a:pPr algn="ctr"/>
            <a:r>
              <a:rPr lang="en-US" sz="1400" dirty="0">
                <a:gradFill>
                  <a:gsLst>
                    <a:gs pos="2917">
                      <a:schemeClr val="tx1"/>
                    </a:gs>
                    <a:gs pos="30000">
                      <a:schemeClr val="tx1"/>
                    </a:gs>
                  </a:gsLst>
                  <a:lin ang="5400000" scaled="0"/>
                </a:gradFill>
                <a:latin typeface="Calibri" panose="020F0502020204030204" pitchFamily="34" charset="0"/>
                <a:cs typeface="Calibri" panose="020F0502020204030204" pitchFamily="34" charset="0"/>
              </a:rPr>
              <a:t>PaaS authorized to read AAD</a:t>
            </a:r>
          </a:p>
        </p:txBody>
      </p:sp>
      <p:sp>
        <p:nvSpPr>
          <p:cNvPr id="209" name="TextBox 208">
            <a:extLst>
              <a:ext uri="{FF2B5EF4-FFF2-40B4-BE49-F238E27FC236}">
                <a16:creationId xmlns:a16="http://schemas.microsoft.com/office/drawing/2014/main" id="{FD3755E1-29FF-4366-9BE4-F1F4A23FBC88}"/>
              </a:ext>
            </a:extLst>
          </p:cNvPr>
          <p:cNvSpPr txBox="1"/>
          <p:nvPr/>
        </p:nvSpPr>
        <p:spPr>
          <a:xfrm>
            <a:off x="3440113" y="4202792"/>
            <a:ext cx="1223963" cy="430887"/>
          </a:xfrm>
          <a:prstGeom prst="rect">
            <a:avLst/>
          </a:prstGeom>
          <a:solidFill>
            <a:schemeClr val="bg1"/>
          </a:solidFill>
        </p:spPr>
        <p:txBody>
          <a:bodyPr wrap="square" lIns="0" tIns="0" rIns="0" bIns="0" rtlCol="0">
            <a:spAutoFit/>
          </a:bodyPr>
          <a:lstStyle/>
          <a:p>
            <a:pPr algn="ctr"/>
            <a:r>
              <a:rPr lang="en-US" sz="1400" dirty="0">
                <a:gradFill>
                  <a:gsLst>
                    <a:gs pos="2917">
                      <a:schemeClr val="tx1"/>
                    </a:gs>
                    <a:gs pos="30000">
                      <a:schemeClr val="tx1"/>
                    </a:gs>
                  </a:gsLst>
                  <a:lin ang="5400000" scaled="0"/>
                </a:gradFill>
                <a:latin typeface="Calibri" panose="020F0502020204030204" pitchFamily="34" charset="0"/>
                <a:cs typeface="Calibri" panose="020F0502020204030204" pitchFamily="34" charset="0"/>
              </a:rPr>
              <a:t>Creates WVD Tenant(s)</a:t>
            </a:r>
          </a:p>
        </p:txBody>
      </p:sp>
      <p:grpSp>
        <p:nvGrpSpPr>
          <p:cNvPr id="235" name="Group 234">
            <a:extLst>
              <a:ext uri="{FF2B5EF4-FFF2-40B4-BE49-F238E27FC236}">
                <a16:creationId xmlns:a16="http://schemas.microsoft.com/office/drawing/2014/main" id="{40F325EF-D589-4694-87B7-9F76C2A5C696}"/>
              </a:ext>
            </a:extLst>
          </p:cNvPr>
          <p:cNvGrpSpPr/>
          <p:nvPr/>
        </p:nvGrpSpPr>
        <p:grpSpPr>
          <a:xfrm>
            <a:off x="516235" y="5150347"/>
            <a:ext cx="3869380" cy="1689605"/>
            <a:chOff x="330007" y="2689879"/>
            <a:chExt cx="3479049" cy="1809159"/>
          </a:xfrm>
        </p:grpSpPr>
        <p:grpSp>
          <p:nvGrpSpPr>
            <p:cNvPr id="236" name="Group 235">
              <a:extLst>
                <a:ext uri="{FF2B5EF4-FFF2-40B4-BE49-F238E27FC236}">
                  <a16:creationId xmlns:a16="http://schemas.microsoft.com/office/drawing/2014/main" id="{20A7CE38-C54C-431C-A2C4-05AC7DEA20B9}"/>
                </a:ext>
              </a:extLst>
            </p:cNvPr>
            <p:cNvGrpSpPr/>
            <p:nvPr/>
          </p:nvGrpSpPr>
          <p:grpSpPr>
            <a:xfrm>
              <a:off x="2033075" y="2689879"/>
              <a:ext cx="1703068" cy="587682"/>
              <a:chOff x="4908037" y="3834996"/>
              <a:chExt cx="1703068" cy="587682"/>
            </a:xfrm>
          </p:grpSpPr>
          <p:sp>
            <p:nvSpPr>
              <p:cNvPr id="256" name="Rectangle: Rounded Corners 255">
                <a:extLst>
                  <a:ext uri="{FF2B5EF4-FFF2-40B4-BE49-F238E27FC236}">
                    <a16:creationId xmlns:a16="http://schemas.microsoft.com/office/drawing/2014/main" id="{F86CDC2B-3078-4B49-954D-C12D701460C5}"/>
                  </a:ext>
                </a:extLst>
              </p:cNvPr>
              <p:cNvSpPr/>
              <p:nvPr/>
            </p:nvSpPr>
            <p:spPr bwMode="auto">
              <a:xfrm>
                <a:off x="4908037" y="3834996"/>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257" name="Rectangle: Rounded Corners 256">
                <a:extLst>
                  <a:ext uri="{FF2B5EF4-FFF2-40B4-BE49-F238E27FC236}">
                    <a16:creationId xmlns:a16="http://schemas.microsoft.com/office/drawing/2014/main" id="{0E780008-7246-4A4C-8F09-FE304793E5BC}"/>
                  </a:ext>
                </a:extLst>
              </p:cNvPr>
              <p:cNvSpPr/>
              <p:nvPr/>
            </p:nvSpPr>
            <p:spPr bwMode="auto">
              <a:xfrm>
                <a:off x="4943996" y="3879453"/>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258" name="Rectangle: Rounded Corners 257">
                <a:extLst>
                  <a:ext uri="{FF2B5EF4-FFF2-40B4-BE49-F238E27FC236}">
                    <a16:creationId xmlns:a16="http://schemas.microsoft.com/office/drawing/2014/main" id="{24C76D75-7F9C-4E56-B51F-F65EA3D459A7}"/>
                  </a:ext>
                </a:extLst>
              </p:cNvPr>
              <p:cNvSpPr/>
              <p:nvPr/>
            </p:nvSpPr>
            <p:spPr bwMode="auto">
              <a:xfrm>
                <a:off x="4979955"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Diagnostics</a:t>
                </a:r>
              </a:p>
            </p:txBody>
          </p:sp>
          <p:sp>
            <p:nvSpPr>
              <p:cNvPr id="259" name="algorithm" title="Icon of a heartbeat">
                <a:extLst>
                  <a:ext uri="{FF2B5EF4-FFF2-40B4-BE49-F238E27FC236}">
                    <a16:creationId xmlns:a16="http://schemas.microsoft.com/office/drawing/2014/main" id="{6C3692D4-807E-43DB-9E51-EE7AFEB2963A}"/>
                  </a:ext>
                </a:extLst>
              </p:cNvPr>
              <p:cNvSpPr>
                <a:spLocks noChangeAspect="1" noEditPoints="1"/>
              </p:cNvSpPr>
              <p:nvPr/>
            </p:nvSpPr>
            <p:spPr bwMode="auto">
              <a:xfrm>
                <a:off x="6155405" y="4046929"/>
                <a:ext cx="316179" cy="273715"/>
              </a:xfrm>
              <a:custGeom>
                <a:avLst/>
                <a:gdLst>
                  <a:gd name="T0" fmla="*/ 0 w 349"/>
                  <a:gd name="T1" fmla="*/ 148 h 302"/>
                  <a:gd name="T2" fmla="*/ 78 w 349"/>
                  <a:gd name="T3" fmla="*/ 148 h 302"/>
                  <a:gd name="T4" fmla="*/ 127 w 349"/>
                  <a:gd name="T5" fmla="*/ 0 h 302"/>
                  <a:gd name="T6" fmla="*/ 204 w 349"/>
                  <a:gd name="T7" fmla="*/ 302 h 302"/>
                  <a:gd name="T8" fmla="*/ 265 w 349"/>
                  <a:gd name="T9" fmla="*/ 50 h 302"/>
                  <a:gd name="T10" fmla="*/ 288 w 349"/>
                  <a:gd name="T11" fmla="*/ 148 h 302"/>
                  <a:gd name="T12" fmla="*/ 335 w 349"/>
                  <a:gd name="T13" fmla="*/ 148 h 302"/>
                  <a:gd name="T14" fmla="*/ 335 w 349"/>
                  <a:gd name="T15" fmla="*/ 148 h 302"/>
                  <a:gd name="T16" fmla="*/ 342 w 349"/>
                  <a:gd name="T17" fmla="*/ 155 h 302"/>
                  <a:gd name="T18" fmla="*/ 349 w 349"/>
                  <a:gd name="T19" fmla="*/ 148 h 302"/>
                  <a:gd name="T20" fmla="*/ 342 w 349"/>
                  <a:gd name="T21" fmla="*/ 140 h 302"/>
                  <a:gd name="T22" fmla="*/ 335 w 349"/>
                  <a:gd name="T23" fmla="*/ 14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9" h="302">
                    <a:moveTo>
                      <a:pt x="0" y="148"/>
                    </a:moveTo>
                    <a:cubicBezTo>
                      <a:pt x="78" y="148"/>
                      <a:pt x="78" y="148"/>
                      <a:pt x="78" y="148"/>
                    </a:cubicBezTo>
                    <a:cubicBezTo>
                      <a:pt x="127" y="0"/>
                      <a:pt x="127" y="0"/>
                      <a:pt x="127" y="0"/>
                    </a:cubicBezTo>
                    <a:cubicBezTo>
                      <a:pt x="204" y="302"/>
                      <a:pt x="204" y="302"/>
                      <a:pt x="204" y="302"/>
                    </a:cubicBezTo>
                    <a:cubicBezTo>
                      <a:pt x="265" y="50"/>
                      <a:pt x="265" y="50"/>
                      <a:pt x="265" y="50"/>
                    </a:cubicBezTo>
                    <a:cubicBezTo>
                      <a:pt x="288" y="148"/>
                      <a:pt x="288" y="148"/>
                      <a:pt x="288" y="148"/>
                    </a:cubicBezTo>
                    <a:cubicBezTo>
                      <a:pt x="335" y="148"/>
                      <a:pt x="335" y="148"/>
                      <a:pt x="335" y="148"/>
                    </a:cubicBezTo>
                    <a:moveTo>
                      <a:pt x="335" y="148"/>
                    </a:moveTo>
                    <a:cubicBezTo>
                      <a:pt x="335" y="152"/>
                      <a:pt x="338" y="155"/>
                      <a:pt x="342" y="155"/>
                    </a:cubicBezTo>
                    <a:cubicBezTo>
                      <a:pt x="346" y="155"/>
                      <a:pt x="349" y="152"/>
                      <a:pt x="349" y="148"/>
                    </a:cubicBezTo>
                    <a:cubicBezTo>
                      <a:pt x="349" y="144"/>
                      <a:pt x="346" y="140"/>
                      <a:pt x="342" y="140"/>
                    </a:cubicBezTo>
                    <a:cubicBezTo>
                      <a:pt x="338" y="140"/>
                      <a:pt x="335" y="144"/>
                      <a:pt x="335" y="148"/>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37" name="Group 236">
              <a:extLst>
                <a:ext uri="{FF2B5EF4-FFF2-40B4-BE49-F238E27FC236}">
                  <a16:creationId xmlns:a16="http://schemas.microsoft.com/office/drawing/2014/main" id="{033012FD-3769-4E3A-9BD3-BB2EBF6FF60A}"/>
                </a:ext>
              </a:extLst>
            </p:cNvPr>
            <p:cNvGrpSpPr/>
            <p:nvPr/>
          </p:nvGrpSpPr>
          <p:grpSpPr>
            <a:xfrm>
              <a:off x="2033075" y="3351646"/>
              <a:ext cx="1703068" cy="587682"/>
              <a:chOff x="4908037" y="4699961"/>
              <a:chExt cx="1703068" cy="587682"/>
            </a:xfrm>
          </p:grpSpPr>
          <p:sp>
            <p:nvSpPr>
              <p:cNvPr id="250" name="Rectangle: Rounded Corners 249">
                <a:extLst>
                  <a:ext uri="{FF2B5EF4-FFF2-40B4-BE49-F238E27FC236}">
                    <a16:creationId xmlns:a16="http://schemas.microsoft.com/office/drawing/2014/main" id="{93786700-85A7-4930-B304-3D97A8FFA779}"/>
                  </a:ext>
                </a:extLst>
              </p:cNvPr>
              <p:cNvSpPr/>
              <p:nvPr/>
            </p:nvSpPr>
            <p:spPr bwMode="auto">
              <a:xfrm>
                <a:off x="4908037" y="4699961"/>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251" name="Rectangle: Rounded Corners 250">
                <a:extLst>
                  <a:ext uri="{FF2B5EF4-FFF2-40B4-BE49-F238E27FC236}">
                    <a16:creationId xmlns:a16="http://schemas.microsoft.com/office/drawing/2014/main" id="{FA5049EC-6D39-4511-ADCD-D6319FC02C48}"/>
                  </a:ext>
                </a:extLst>
              </p:cNvPr>
              <p:cNvSpPr/>
              <p:nvPr/>
            </p:nvSpPr>
            <p:spPr bwMode="auto">
              <a:xfrm>
                <a:off x="4943996" y="47444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252" name="Rectangle: Rounded Corners 251">
                <a:extLst>
                  <a:ext uri="{FF2B5EF4-FFF2-40B4-BE49-F238E27FC236}">
                    <a16:creationId xmlns:a16="http://schemas.microsoft.com/office/drawing/2014/main" id="{22715330-9FB7-4FB3-BC20-6D58D3FE7C3D}"/>
                  </a:ext>
                </a:extLst>
              </p:cNvPr>
              <p:cNvSpPr/>
              <p:nvPr/>
            </p:nvSpPr>
            <p:spPr bwMode="auto">
              <a:xfrm>
                <a:off x="4979955"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Broker</a:t>
                </a:r>
              </a:p>
            </p:txBody>
          </p:sp>
          <p:cxnSp>
            <p:nvCxnSpPr>
              <p:cNvPr id="253" name="Straight Connector 252">
                <a:extLst>
                  <a:ext uri="{FF2B5EF4-FFF2-40B4-BE49-F238E27FC236}">
                    <a16:creationId xmlns:a16="http://schemas.microsoft.com/office/drawing/2014/main" id="{6079D6B1-DC53-42E0-948C-5271910F7FAD}"/>
                  </a:ext>
                </a:extLst>
              </p:cNvPr>
              <p:cNvCxnSpPr>
                <a:cxnSpLocks/>
              </p:cNvCxnSpPr>
              <p:nvPr/>
            </p:nvCxnSpPr>
            <p:spPr>
              <a:xfrm>
                <a:off x="6171692" y="5021999"/>
                <a:ext cx="283604" cy="0"/>
              </a:xfrm>
              <a:prstGeom prst="line">
                <a:avLst/>
              </a:prstGeom>
              <a:ln w="12700">
                <a:solidFill>
                  <a:schemeClr val="bg1"/>
                </a:solidFill>
                <a:headEnd type="oval" w="sm" len="sm"/>
                <a:tailEnd type="arrow" w="sm" len="sm"/>
              </a:ln>
            </p:spPr>
            <p:style>
              <a:lnRef idx="1">
                <a:schemeClr val="accent1"/>
              </a:lnRef>
              <a:fillRef idx="0">
                <a:schemeClr val="accent1"/>
              </a:fillRef>
              <a:effectRef idx="0">
                <a:schemeClr val="accent1"/>
              </a:effectRef>
              <a:fontRef idx="minor">
                <a:schemeClr val="tx1"/>
              </a:fontRef>
            </p:style>
          </p:cxnSp>
          <p:cxnSp>
            <p:nvCxnSpPr>
              <p:cNvPr id="254" name="Straight Connector 253">
                <a:extLst>
                  <a:ext uri="{FF2B5EF4-FFF2-40B4-BE49-F238E27FC236}">
                    <a16:creationId xmlns:a16="http://schemas.microsoft.com/office/drawing/2014/main" id="{01BB35EA-67ED-4356-9FD8-B8C24ACBD650}"/>
                  </a:ext>
                </a:extLst>
              </p:cNvPr>
              <p:cNvCxnSpPr>
                <a:cxnSpLocks/>
              </p:cNvCxnSpPr>
              <p:nvPr/>
            </p:nvCxnSpPr>
            <p:spPr>
              <a:xfrm flipV="1">
                <a:off x="6237818" y="4870627"/>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255" name="Straight Connector 254">
                <a:extLst>
                  <a:ext uri="{FF2B5EF4-FFF2-40B4-BE49-F238E27FC236}">
                    <a16:creationId xmlns:a16="http://schemas.microsoft.com/office/drawing/2014/main" id="{00E6EBBB-F843-4701-A75B-F63250D2B459}"/>
                  </a:ext>
                </a:extLst>
              </p:cNvPr>
              <p:cNvCxnSpPr>
                <a:cxnSpLocks/>
              </p:cNvCxnSpPr>
              <p:nvPr/>
            </p:nvCxnSpPr>
            <p:spPr>
              <a:xfrm>
                <a:off x="6239170" y="5025554"/>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grpSp>
        <p:sp>
          <p:nvSpPr>
            <p:cNvPr id="238" name="Rectangle: Rounded Corners 237">
              <a:extLst>
                <a:ext uri="{FF2B5EF4-FFF2-40B4-BE49-F238E27FC236}">
                  <a16:creationId xmlns:a16="http://schemas.microsoft.com/office/drawing/2014/main" id="{BECFE8DF-171C-497C-A79E-647C98BEC9FA}"/>
                </a:ext>
              </a:extLst>
            </p:cNvPr>
            <p:cNvSpPr/>
            <p:nvPr/>
          </p:nvSpPr>
          <p:spPr bwMode="auto">
            <a:xfrm>
              <a:off x="2177906" y="4000270"/>
              <a:ext cx="1631150" cy="498768"/>
            </a:xfrm>
            <a:prstGeom prst="roundRect">
              <a:avLst/>
            </a:prstGeom>
            <a:noFill/>
            <a:ln w="10795" cap="flat" cmpd="sng" algn="ctr">
              <a:noFill/>
              <a:prstDash val="solid"/>
            </a:ln>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Semibold"/>
                  <a:ea typeface="+mn-ea"/>
                  <a:cs typeface="+mn-cs"/>
                </a:rPr>
                <a:t>Azure SQL DB</a:t>
              </a:r>
            </a:p>
          </p:txBody>
        </p:sp>
        <p:grpSp>
          <p:nvGrpSpPr>
            <p:cNvPr id="239" name="Group 238">
              <a:extLst>
                <a:ext uri="{FF2B5EF4-FFF2-40B4-BE49-F238E27FC236}">
                  <a16:creationId xmlns:a16="http://schemas.microsoft.com/office/drawing/2014/main" id="{1DFB4A66-1B3C-49FA-912C-B8DB4892288B}"/>
                </a:ext>
              </a:extLst>
            </p:cNvPr>
            <p:cNvGrpSpPr/>
            <p:nvPr/>
          </p:nvGrpSpPr>
          <p:grpSpPr>
            <a:xfrm>
              <a:off x="330007" y="3351646"/>
              <a:ext cx="1703068" cy="587682"/>
              <a:chOff x="3204969" y="4699961"/>
              <a:chExt cx="1703068" cy="587682"/>
            </a:xfrm>
          </p:grpSpPr>
          <p:sp>
            <p:nvSpPr>
              <p:cNvPr id="246" name="Rectangle: Rounded Corners 245">
                <a:extLst>
                  <a:ext uri="{FF2B5EF4-FFF2-40B4-BE49-F238E27FC236}">
                    <a16:creationId xmlns:a16="http://schemas.microsoft.com/office/drawing/2014/main" id="{5E107C5B-9A13-47E3-AE4D-3B1FFB3C5DA9}"/>
                  </a:ext>
                </a:extLst>
              </p:cNvPr>
              <p:cNvSpPr/>
              <p:nvPr/>
            </p:nvSpPr>
            <p:spPr bwMode="auto">
              <a:xfrm>
                <a:off x="3204969" y="4699961"/>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247" name="Rectangle: Rounded Corners 246">
                <a:extLst>
                  <a:ext uri="{FF2B5EF4-FFF2-40B4-BE49-F238E27FC236}">
                    <a16:creationId xmlns:a16="http://schemas.microsoft.com/office/drawing/2014/main" id="{95E23AF4-8AD6-4882-9C40-FA9F43585E4F}"/>
                  </a:ext>
                </a:extLst>
              </p:cNvPr>
              <p:cNvSpPr/>
              <p:nvPr/>
            </p:nvSpPr>
            <p:spPr bwMode="auto">
              <a:xfrm>
                <a:off x="3240928" y="47444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248" name="Rectangle: Rounded Corners 247">
                <a:extLst>
                  <a:ext uri="{FF2B5EF4-FFF2-40B4-BE49-F238E27FC236}">
                    <a16:creationId xmlns:a16="http://schemas.microsoft.com/office/drawing/2014/main" id="{A3DFD67D-ED3F-4391-9D56-CAA33BB46B23}"/>
                  </a:ext>
                </a:extLst>
              </p:cNvPr>
              <p:cNvSpPr/>
              <p:nvPr/>
            </p:nvSpPr>
            <p:spPr bwMode="auto">
              <a:xfrm>
                <a:off x="3276887"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Gateway</a:t>
                </a:r>
              </a:p>
            </p:txBody>
          </p:sp>
          <p:sp>
            <p:nvSpPr>
              <p:cNvPr id="249" name="Move_E7C2" title="Icon of four arrows pointing away from eachother">
                <a:extLst>
                  <a:ext uri="{FF2B5EF4-FFF2-40B4-BE49-F238E27FC236}">
                    <a16:creationId xmlns:a16="http://schemas.microsoft.com/office/drawing/2014/main" id="{9DCBB598-6D45-4910-89B4-7D6DE596544E}"/>
                  </a:ext>
                </a:extLst>
              </p:cNvPr>
              <p:cNvSpPr>
                <a:spLocks noChangeAspect="1" noEditPoints="1"/>
              </p:cNvSpPr>
              <p:nvPr/>
            </p:nvSpPr>
            <p:spPr bwMode="auto">
              <a:xfrm>
                <a:off x="4431005" y="4891891"/>
                <a:ext cx="273646" cy="273715"/>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5875" cap="sq">
                <a:solidFill>
                  <a:schemeClr val="bg1"/>
                </a:solidFill>
                <a:prstDash val="solid"/>
                <a:miter lim="800000"/>
                <a:headEnd/>
                <a:tailEnd/>
              </a:ln>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240" name="Group 239">
              <a:extLst>
                <a:ext uri="{FF2B5EF4-FFF2-40B4-BE49-F238E27FC236}">
                  <a16:creationId xmlns:a16="http://schemas.microsoft.com/office/drawing/2014/main" id="{F1792C68-5267-4D4F-9D4A-DDAE8A554D22}"/>
                </a:ext>
              </a:extLst>
            </p:cNvPr>
            <p:cNvGrpSpPr/>
            <p:nvPr/>
          </p:nvGrpSpPr>
          <p:grpSpPr>
            <a:xfrm>
              <a:off x="330007" y="2689879"/>
              <a:ext cx="1703068" cy="587682"/>
              <a:chOff x="3204969" y="3834996"/>
              <a:chExt cx="1703068" cy="587682"/>
            </a:xfrm>
          </p:grpSpPr>
          <p:sp>
            <p:nvSpPr>
              <p:cNvPr id="242" name="Rectangle: Rounded Corners 241">
                <a:extLst>
                  <a:ext uri="{FF2B5EF4-FFF2-40B4-BE49-F238E27FC236}">
                    <a16:creationId xmlns:a16="http://schemas.microsoft.com/office/drawing/2014/main" id="{F28FB340-7229-4E97-B19B-BBC0634A6760}"/>
                  </a:ext>
                </a:extLst>
              </p:cNvPr>
              <p:cNvSpPr/>
              <p:nvPr/>
            </p:nvSpPr>
            <p:spPr bwMode="auto">
              <a:xfrm>
                <a:off x="3204969" y="3834996"/>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243" name="Rectangle: Rounded Corners 242">
                <a:extLst>
                  <a:ext uri="{FF2B5EF4-FFF2-40B4-BE49-F238E27FC236}">
                    <a16:creationId xmlns:a16="http://schemas.microsoft.com/office/drawing/2014/main" id="{1F5B2C93-5C4D-4B73-9562-D217CB9BE235}"/>
                  </a:ext>
                </a:extLst>
              </p:cNvPr>
              <p:cNvSpPr/>
              <p:nvPr/>
            </p:nvSpPr>
            <p:spPr bwMode="auto">
              <a:xfrm>
                <a:off x="3240928" y="3879453"/>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244" name="Rectangle: Rounded Corners 243">
                <a:extLst>
                  <a:ext uri="{FF2B5EF4-FFF2-40B4-BE49-F238E27FC236}">
                    <a16:creationId xmlns:a16="http://schemas.microsoft.com/office/drawing/2014/main" id="{47D64088-D2FA-4127-9D58-30C837F8080F}"/>
                  </a:ext>
                </a:extLst>
              </p:cNvPr>
              <p:cNvSpPr/>
              <p:nvPr/>
            </p:nvSpPr>
            <p:spPr bwMode="auto">
              <a:xfrm>
                <a:off x="3276887"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Web Access</a:t>
                </a:r>
              </a:p>
            </p:txBody>
          </p:sp>
          <p:sp>
            <p:nvSpPr>
              <p:cNvPr id="245" name="globe_2" title="Icon of a sphere made of lines">
                <a:extLst>
                  <a:ext uri="{FF2B5EF4-FFF2-40B4-BE49-F238E27FC236}">
                    <a16:creationId xmlns:a16="http://schemas.microsoft.com/office/drawing/2014/main" id="{71574F97-E002-4A1D-A446-D61EB058E756}"/>
                  </a:ext>
                </a:extLst>
              </p:cNvPr>
              <p:cNvSpPr>
                <a:spLocks noChangeAspect="1" noEditPoints="1"/>
              </p:cNvSpPr>
              <p:nvPr/>
            </p:nvSpPr>
            <p:spPr bwMode="auto">
              <a:xfrm>
                <a:off x="4419468" y="4027324"/>
                <a:ext cx="296721" cy="296721"/>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pic>
          <p:nvPicPr>
            <p:cNvPr id="241" name="Picture 2">
              <a:extLst>
                <a:ext uri="{FF2B5EF4-FFF2-40B4-BE49-F238E27FC236}">
                  <a16:creationId xmlns:a16="http://schemas.microsoft.com/office/drawing/2014/main" id="{7FBEED53-5AFF-47A9-8B9C-61B6C86990B0}"/>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3209228" y="4008054"/>
              <a:ext cx="399616" cy="422236"/>
            </a:xfrm>
            <a:prstGeom prst="rect">
              <a:avLst/>
            </a:prstGeom>
            <a:noFill/>
          </p:spPr>
        </p:pic>
      </p:grpSp>
      <p:sp>
        <p:nvSpPr>
          <p:cNvPr id="7288" name="Line 195">
            <a:extLst>
              <a:ext uri="{FF2B5EF4-FFF2-40B4-BE49-F238E27FC236}">
                <a16:creationId xmlns:a16="http://schemas.microsoft.com/office/drawing/2014/main" id="{5EC2CB93-CECF-45E5-8C68-186280AD350E}"/>
              </a:ext>
            </a:extLst>
          </p:cNvPr>
          <p:cNvSpPr>
            <a:spLocks noChangeShapeType="1"/>
          </p:cNvSpPr>
          <p:nvPr/>
        </p:nvSpPr>
        <p:spPr bwMode="auto">
          <a:xfrm>
            <a:off x="3338513" y="3759201"/>
            <a:ext cx="0" cy="1317625"/>
          </a:xfrm>
          <a:prstGeom prst="line">
            <a:avLst/>
          </a:prstGeom>
          <a:ln w="38100" cap="flat" cmpd="sng" algn="ctr">
            <a:solidFill>
              <a:schemeClr val="accent1"/>
            </a:solidFill>
            <a:prstDash val="solid"/>
            <a:round/>
            <a:headEnd type="none" w="med" len="med"/>
            <a:tailEnd type="arrow" w="med" len="med"/>
          </a:ln>
          <a:extLst>
            <a:ext uri="{909E8E84-426E-40DD-AFC4-6F175D3DCCD1}">
              <a14:hiddenFill xmlns:a14="http://schemas.microsoft.com/office/drawing/2010/main">
                <a:noFill/>
              </a14:hiddenFill>
            </a:ext>
          </a:extLst>
        </p:spPr>
        <p:style>
          <a:lnRef idx="0">
            <a:scrgbClr r="0" g="0" b="0"/>
          </a:lnRef>
          <a:fillRef idx="0">
            <a:scrgbClr r="0" g="0" b="0"/>
          </a:fillRef>
          <a:effectRef idx="0">
            <a:scrgbClr r="0" g="0" b="0"/>
          </a:effectRef>
          <a:fontRef idx="minor">
            <a:schemeClr val="tx1"/>
          </a:fontRef>
        </p:style>
        <p:txBody>
          <a:bodyPr vert="horz" wrap="square" lIns="91440" tIns="45720" rIns="91440" bIns="45720" numCol="1" anchor="t" anchorCtr="0" compatLnSpc="1">
            <a:prstTxWarp prst="textNoShape">
              <a:avLst/>
            </a:prstTxWarp>
          </a:bodyPr>
          <a:lstStyle/>
          <a:p>
            <a:endParaRPr lang="en-US"/>
          </a:p>
        </p:txBody>
      </p:sp>
      <p:sp>
        <p:nvSpPr>
          <p:cNvPr id="261" name="TextBox 260">
            <a:extLst>
              <a:ext uri="{FF2B5EF4-FFF2-40B4-BE49-F238E27FC236}">
                <a16:creationId xmlns:a16="http://schemas.microsoft.com/office/drawing/2014/main" id="{B86BB035-1E1E-4BF4-B389-812E4DA4E35A}"/>
              </a:ext>
            </a:extLst>
          </p:cNvPr>
          <p:cNvSpPr txBox="1"/>
          <p:nvPr/>
        </p:nvSpPr>
        <p:spPr>
          <a:xfrm>
            <a:off x="6563363" y="4145538"/>
            <a:ext cx="1682114" cy="646331"/>
          </a:xfrm>
          <a:prstGeom prst="rect">
            <a:avLst/>
          </a:prstGeom>
          <a:solidFill>
            <a:schemeClr val="bg1"/>
          </a:solidFill>
        </p:spPr>
        <p:txBody>
          <a:bodyPr wrap="square" lIns="0" tIns="0" rIns="0" bIns="0" rtlCol="0">
            <a:spAutoFit/>
          </a:bodyPr>
          <a:lstStyle/>
          <a:p>
            <a:pPr algn="ctr"/>
            <a:r>
              <a:rPr lang="en-US" sz="1400" dirty="0">
                <a:gradFill>
                  <a:gsLst>
                    <a:gs pos="2917">
                      <a:schemeClr val="tx1"/>
                    </a:gs>
                    <a:gs pos="30000">
                      <a:schemeClr val="tx1"/>
                    </a:gs>
                  </a:gsLst>
                  <a:lin ang="5400000" scaled="0"/>
                </a:gradFill>
                <a:latin typeface="Calibri" panose="020F0502020204030204" pitchFamily="34" charset="0"/>
                <a:cs typeface="Calibri" panose="020F0502020204030204" pitchFamily="34" charset="0"/>
              </a:rPr>
              <a:t>Host Pool deployment places VMs in Subscription</a:t>
            </a:r>
          </a:p>
        </p:txBody>
      </p:sp>
      <p:pic>
        <p:nvPicPr>
          <p:cNvPr id="262" name="Virtual machines">
            <a:extLst>
              <a:ext uri="{FF2B5EF4-FFF2-40B4-BE49-F238E27FC236}">
                <a16:creationId xmlns:a16="http://schemas.microsoft.com/office/drawing/2014/main" id="{34B9C830-876D-42F7-A14E-11F3ECE57816}"/>
              </a:ext>
            </a:extLst>
          </p:cNvPr>
          <p:cNvPicPr>
            <a:picLocks noChangeAspect="1"/>
          </p:cNvPicPr>
          <p:nvPr/>
        </p:nvPicPr>
        <p:blipFill>
          <a:blip r:embed="rId10" cstate="email">
            <a:duotone>
              <a:prstClr val="black"/>
              <a:srgbClr val="292929">
                <a:lumMod val="50000"/>
                <a:tint val="45000"/>
                <a:satMod val="400000"/>
              </a:srgbClr>
            </a:duotone>
            <a:extLst>
              <a:ext uri="{BEBA8EAE-BF5A-486C-A8C5-ECC9F3942E4B}">
                <a14:imgProps xmlns:a14="http://schemas.microsoft.com/office/drawing/2010/main">
                  <a14:imgLayer r:embed="rId11">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5970262" y="2933654"/>
            <a:ext cx="468965" cy="436611"/>
          </a:xfrm>
          <a:prstGeom prst="rect">
            <a:avLst/>
          </a:prstGeom>
        </p:spPr>
      </p:pic>
      <p:pic>
        <p:nvPicPr>
          <p:cNvPr id="267" name="Virtual machines">
            <a:extLst>
              <a:ext uri="{FF2B5EF4-FFF2-40B4-BE49-F238E27FC236}">
                <a16:creationId xmlns:a16="http://schemas.microsoft.com/office/drawing/2014/main" id="{382FC9E9-CA4F-47D7-8A90-691FA93B1BF9}"/>
              </a:ext>
            </a:extLst>
          </p:cNvPr>
          <p:cNvPicPr>
            <a:picLocks noChangeAspect="1"/>
          </p:cNvPicPr>
          <p:nvPr/>
        </p:nvPicPr>
        <p:blipFill>
          <a:blip r:embed="rId10" cstate="email">
            <a:duotone>
              <a:prstClr val="black"/>
              <a:srgbClr val="292929">
                <a:lumMod val="50000"/>
                <a:tint val="45000"/>
                <a:satMod val="400000"/>
              </a:srgbClr>
            </a:duotone>
            <a:extLst>
              <a:ext uri="{BEBA8EAE-BF5A-486C-A8C5-ECC9F3942E4B}">
                <a14:imgProps xmlns:a14="http://schemas.microsoft.com/office/drawing/2010/main">
                  <a14:imgLayer r:embed="rId11">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6501749" y="3099570"/>
            <a:ext cx="468965" cy="436611"/>
          </a:xfrm>
          <a:prstGeom prst="rect">
            <a:avLst/>
          </a:prstGeom>
        </p:spPr>
      </p:pic>
      <p:pic>
        <p:nvPicPr>
          <p:cNvPr id="268" name="Virtual machines">
            <a:extLst>
              <a:ext uri="{FF2B5EF4-FFF2-40B4-BE49-F238E27FC236}">
                <a16:creationId xmlns:a16="http://schemas.microsoft.com/office/drawing/2014/main" id="{EC25948F-9A8E-4BB8-B5ED-DD5A82A77AB7}"/>
              </a:ext>
            </a:extLst>
          </p:cNvPr>
          <p:cNvPicPr>
            <a:picLocks noChangeAspect="1"/>
          </p:cNvPicPr>
          <p:nvPr/>
        </p:nvPicPr>
        <p:blipFill>
          <a:blip r:embed="rId10" cstate="email">
            <a:duotone>
              <a:prstClr val="black"/>
              <a:srgbClr val="292929">
                <a:lumMod val="50000"/>
                <a:tint val="45000"/>
                <a:satMod val="400000"/>
              </a:srgbClr>
            </a:duotone>
            <a:extLst>
              <a:ext uri="{BEBA8EAE-BF5A-486C-A8C5-ECC9F3942E4B}">
                <a14:imgProps xmlns:a14="http://schemas.microsoft.com/office/drawing/2010/main">
                  <a14:imgLayer r:embed="rId11">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6528631" y="2614613"/>
            <a:ext cx="468965" cy="436611"/>
          </a:xfrm>
          <a:prstGeom prst="rect">
            <a:avLst/>
          </a:prstGeom>
        </p:spPr>
      </p:pic>
      <p:sp>
        <p:nvSpPr>
          <p:cNvPr id="7309" name="TextBox 7308">
            <a:extLst>
              <a:ext uri="{FF2B5EF4-FFF2-40B4-BE49-F238E27FC236}">
                <a16:creationId xmlns:a16="http://schemas.microsoft.com/office/drawing/2014/main" id="{748EA21E-DB40-48EF-926A-3FD256F59B69}"/>
              </a:ext>
            </a:extLst>
          </p:cNvPr>
          <p:cNvSpPr txBox="1"/>
          <p:nvPr/>
        </p:nvSpPr>
        <p:spPr>
          <a:xfrm>
            <a:off x="6181726" y="1379538"/>
            <a:ext cx="2897187" cy="318318"/>
          </a:xfrm>
          <a:prstGeom prst="rect">
            <a:avLst/>
          </a:prstGeom>
          <a:noFill/>
        </p:spPr>
        <p:txBody>
          <a:bodyPr wrap="square" lIns="0" tIns="0" rIns="0" bIns="0" rtlCol="0">
            <a:spAutoFit/>
          </a:bodyPr>
          <a:lstStyle/>
          <a:p>
            <a:pPr algn="ctr"/>
            <a:r>
              <a:rPr lang="en-US" sz="2000" dirty="0">
                <a:gradFill>
                  <a:gsLst>
                    <a:gs pos="2917">
                      <a:schemeClr val="tx1"/>
                    </a:gs>
                    <a:gs pos="30000">
                      <a:schemeClr val="tx1"/>
                    </a:gs>
                  </a:gsLst>
                  <a:lin ang="5400000" scaled="0"/>
                </a:gradFill>
              </a:rPr>
              <a:t>Client Subscription 1</a:t>
            </a:r>
          </a:p>
        </p:txBody>
      </p:sp>
      <p:sp>
        <p:nvSpPr>
          <p:cNvPr id="270" name="TextBox 269">
            <a:extLst>
              <a:ext uri="{FF2B5EF4-FFF2-40B4-BE49-F238E27FC236}">
                <a16:creationId xmlns:a16="http://schemas.microsoft.com/office/drawing/2014/main" id="{F151F796-31F1-410F-92ED-F13395872BBA}"/>
              </a:ext>
            </a:extLst>
          </p:cNvPr>
          <p:cNvSpPr txBox="1"/>
          <p:nvPr/>
        </p:nvSpPr>
        <p:spPr>
          <a:xfrm>
            <a:off x="7887379" y="978659"/>
            <a:ext cx="2897187" cy="318318"/>
          </a:xfrm>
          <a:prstGeom prst="rect">
            <a:avLst/>
          </a:prstGeom>
          <a:noFill/>
        </p:spPr>
        <p:txBody>
          <a:bodyPr wrap="square" lIns="0" tIns="0" rIns="0" bIns="0" rtlCol="0">
            <a:spAutoFit/>
          </a:bodyPr>
          <a:lstStyle/>
          <a:p>
            <a:pPr algn="ctr"/>
            <a:r>
              <a:rPr lang="en-US" sz="2000" dirty="0">
                <a:gradFill>
                  <a:gsLst>
                    <a:gs pos="2917">
                      <a:schemeClr val="tx1"/>
                    </a:gs>
                    <a:gs pos="30000">
                      <a:schemeClr val="tx1"/>
                    </a:gs>
                  </a:gsLst>
                  <a:lin ang="5400000" scaled="0"/>
                </a:gradFill>
              </a:rPr>
              <a:t>Client Subscription N</a:t>
            </a:r>
          </a:p>
        </p:txBody>
      </p:sp>
      <p:pic>
        <p:nvPicPr>
          <p:cNvPr id="271" name="Virtual machines">
            <a:extLst>
              <a:ext uri="{FF2B5EF4-FFF2-40B4-BE49-F238E27FC236}">
                <a16:creationId xmlns:a16="http://schemas.microsoft.com/office/drawing/2014/main" id="{C9549E62-A00C-436C-BCB2-DF206E4EBE7C}"/>
              </a:ext>
            </a:extLst>
          </p:cNvPr>
          <p:cNvPicPr>
            <a:picLocks noChangeAspect="1"/>
          </p:cNvPicPr>
          <p:nvPr/>
        </p:nvPicPr>
        <p:blipFill>
          <a:blip r:embed="rId10" cstate="email">
            <a:duotone>
              <a:prstClr val="black"/>
              <a:srgbClr val="292929">
                <a:lumMod val="50000"/>
                <a:tint val="45000"/>
                <a:satMod val="400000"/>
              </a:srgbClr>
            </a:duotone>
            <a:extLst>
              <a:ext uri="{BEBA8EAE-BF5A-486C-A8C5-ECC9F3942E4B}">
                <a14:imgProps xmlns:a14="http://schemas.microsoft.com/office/drawing/2010/main">
                  <a14:imgLayer r:embed="rId11">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6023153" y="2340697"/>
            <a:ext cx="468965" cy="436611"/>
          </a:xfrm>
          <a:prstGeom prst="rect">
            <a:avLst/>
          </a:prstGeom>
        </p:spPr>
      </p:pic>
      <p:sp>
        <p:nvSpPr>
          <p:cNvPr id="7310" name="TextBox 7309">
            <a:extLst>
              <a:ext uri="{FF2B5EF4-FFF2-40B4-BE49-F238E27FC236}">
                <a16:creationId xmlns:a16="http://schemas.microsoft.com/office/drawing/2014/main" id="{0D5C8F87-1285-42CC-BDAA-9D208CBCBA2B}"/>
              </a:ext>
            </a:extLst>
          </p:cNvPr>
          <p:cNvSpPr txBox="1"/>
          <p:nvPr/>
        </p:nvSpPr>
        <p:spPr>
          <a:xfrm>
            <a:off x="3901223" y="1127126"/>
            <a:ext cx="950741" cy="215444"/>
          </a:xfrm>
          <a:prstGeom prst="rect">
            <a:avLst/>
          </a:prstGeom>
          <a:solidFill>
            <a:schemeClr val="bg1"/>
          </a:solidFill>
        </p:spPr>
        <p:txBody>
          <a:bodyPr wrap="square" lIns="0" tIns="0" rIns="0" bIns="0" rtlCol="0">
            <a:spAutoFit/>
          </a:bodyPr>
          <a:lstStyle/>
          <a:p>
            <a:pPr algn="ctr"/>
            <a:r>
              <a:rPr lang="en-US" sz="1400" dirty="0">
                <a:gradFill>
                  <a:gsLst>
                    <a:gs pos="2917">
                      <a:schemeClr val="tx1"/>
                    </a:gs>
                    <a:gs pos="30000">
                      <a:schemeClr val="tx1"/>
                    </a:gs>
                  </a:gsLst>
                  <a:lin ang="5400000" scaled="0"/>
                </a:gradFill>
              </a:rPr>
              <a:t>S2S Link</a:t>
            </a:r>
          </a:p>
        </p:txBody>
      </p:sp>
      <p:sp>
        <p:nvSpPr>
          <p:cNvPr id="273" name="TextBox 272">
            <a:extLst>
              <a:ext uri="{FF2B5EF4-FFF2-40B4-BE49-F238E27FC236}">
                <a16:creationId xmlns:a16="http://schemas.microsoft.com/office/drawing/2014/main" id="{00275A96-35E8-4FAE-AC26-25D34FA6A832}"/>
              </a:ext>
            </a:extLst>
          </p:cNvPr>
          <p:cNvSpPr txBox="1"/>
          <p:nvPr/>
        </p:nvSpPr>
        <p:spPr>
          <a:xfrm>
            <a:off x="415499" y="2459833"/>
            <a:ext cx="950741" cy="430887"/>
          </a:xfrm>
          <a:prstGeom prst="rect">
            <a:avLst/>
          </a:prstGeom>
          <a:solidFill>
            <a:schemeClr val="bg1"/>
          </a:solidFill>
        </p:spPr>
        <p:txBody>
          <a:bodyPr wrap="square" lIns="0" tIns="0" rIns="0" bIns="0" rtlCol="0">
            <a:spAutoFit/>
          </a:bodyPr>
          <a:lstStyle/>
          <a:p>
            <a:pPr algn="ctr"/>
            <a:r>
              <a:rPr lang="en-US" sz="1400" dirty="0">
                <a:gradFill>
                  <a:gsLst>
                    <a:gs pos="2917">
                      <a:schemeClr val="tx1"/>
                    </a:gs>
                    <a:gs pos="30000">
                      <a:schemeClr val="tx1"/>
                    </a:gs>
                  </a:gsLst>
                  <a:lin ang="5400000" scaled="0"/>
                </a:gradFill>
              </a:rPr>
              <a:t>AAD Connect</a:t>
            </a:r>
          </a:p>
        </p:txBody>
      </p:sp>
      <p:sp>
        <p:nvSpPr>
          <p:cNvPr id="281" name="TextBox 280">
            <a:extLst>
              <a:ext uri="{FF2B5EF4-FFF2-40B4-BE49-F238E27FC236}">
                <a16:creationId xmlns:a16="http://schemas.microsoft.com/office/drawing/2014/main" id="{453CF31F-3867-4680-ADB8-03C88CEF6B21}"/>
              </a:ext>
            </a:extLst>
          </p:cNvPr>
          <p:cNvSpPr txBox="1"/>
          <p:nvPr/>
        </p:nvSpPr>
        <p:spPr>
          <a:xfrm>
            <a:off x="3506788" y="4231367"/>
            <a:ext cx="1223963" cy="430887"/>
          </a:xfrm>
          <a:prstGeom prst="rect">
            <a:avLst/>
          </a:prstGeom>
          <a:solidFill>
            <a:schemeClr val="bg1"/>
          </a:solidFill>
        </p:spPr>
        <p:txBody>
          <a:bodyPr wrap="square" lIns="0" tIns="0" rIns="0" bIns="0" rtlCol="0">
            <a:spAutoFit/>
          </a:bodyPr>
          <a:lstStyle/>
          <a:p>
            <a:pPr algn="ctr"/>
            <a:r>
              <a:rPr lang="en-US" sz="1400" dirty="0">
                <a:gradFill>
                  <a:gsLst>
                    <a:gs pos="2917">
                      <a:schemeClr val="tx1"/>
                    </a:gs>
                    <a:gs pos="30000">
                      <a:schemeClr val="tx1"/>
                    </a:gs>
                  </a:gsLst>
                  <a:lin ang="5400000" scaled="0"/>
                </a:gradFill>
                <a:latin typeface="Calibri" panose="020F0502020204030204" pitchFamily="34" charset="0"/>
                <a:cs typeface="Calibri" panose="020F0502020204030204" pitchFamily="34" charset="0"/>
              </a:rPr>
              <a:t>Assigns Tenant Admin(s)</a:t>
            </a:r>
          </a:p>
        </p:txBody>
      </p:sp>
      <p:sp>
        <p:nvSpPr>
          <p:cNvPr id="286" name="Rectangle 285">
            <a:extLst>
              <a:ext uri="{FF2B5EF4-FFF2-40B4-BE49-F238E27FC236}">
                <a16:creationId xmlns:a16="http://schemas.microsoft.com/office/drawing/2014/main" id="{6CC2F1D7-32B4-43CC-9D02-8339F72CAB94}"/>
              </a:ext>
            </a:extLst>
          </p:cNvPr>
          <p:cNvSpPr/>
          <p:nvPr/>
        </p:nvSpPr>
        <p:spPr bwMode="auto">
          <a:xfrm>
            <a:off x="830855" y="5569984"/>
            <a:ext cx="2448921" cy="1100158"/>
          </a:xfrm>
          <a:prstGeom prst="rect">
            <a:avLst/>
          </a:prstGeom>
          <a:solidFill>
            <a:schemeClr val="tx2">
              <a:lumMod val="10000"/>
              <a:lumOff val="9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defTabSz="932472" fontAlgn="base">
              <a:spcBef>
                <a:spcPct val="0"/>
              </a:spcBef>
              <a:spcAft>
                <a:spcPct val="0"/>
              </a:spcAft>
            </a:pPr>
            <a:r>
              <a:rPr lang="en-US" sz="1600" b="1" dirty="0">
                <a:solidFill>
                  <a:schemeClr val="tx1"/>
                </a:solidFill>
              </a:rPr>
              <a:t>WVD Tenant N…</a:t>
            </a:r>
          </a:p>
          <a:p>
            <a:pPr marL="285750" indent="-285750" defTabSz="932472" fontAlgn="base">
              <a:spcBef>
                <a:spcPct val="0"/>
              </a:spcBef>
              <a:spcAft>
                <a:spcPct val="0"/>
              </a:spcAft>
              <a:buFont typeface="Arial" panose="020B0604020202020204" pitchFamily="34" charset="0"/>
              <a:buChar char="•"/>
            </a:pPr>
            <a:r>
              <a:rPr lang="en-US" sz="1600" dirty="0">
                <a:solidFill>
                  <a:schemeClr val="tx1"/>
                </a:solidFill>
              </a:rPr>
              <a:t>Host Pool Config</a:t>
            </a:r>
          </a:p>
          <a:p>
            <a:pPr marL="285750" indent="-285750" defTabSz="932472" fontAlgn="base">
              <a:spcBef>
                <a:spcPct val="0"/>
              </a:spcBef>
              <a:spcAft>
                <a:spcPct val="0"/>
              </a:spcAft>
              <a:buFont typeface="Arial" panose="020B0604020202020204" pitchFamily="34" charset="0"/>
              <a:buChar char="•"/>
            </a:pPr>
            <a:r>
              <a:rPr lang="en-US" sz="1600" dirty="0">
                <a:solidFill>
                  <a:schemeClr val="tx1"/>
                </a:solidFill>
              </a:rPr>
              <a:t>WVD-specific metadata</a:t>
            </a:r>
          </a:p>
          <a:p>
            <a:pPr marL="285750" indent="-285750" defTabSz="932472" fontAlgn="base">
              <a:spcBef>
                <a:spcPct val="0"/>
              </a:spcBef>
              <a:spcAft>
                <a:spcPct val="0"/>
              </a:spcAft>
              <a:buFont typeface="Arial" panose="020B0604020202020204" pitchFamily="34" charset="0"/>
              <a:buChar char="•"/>
            </a:pPr>
            <a:r>
              <a:rPr lang="en-US" sz="1600" dirty="0">
                <a:solidFill>
                  <a:schemeClr val="tx1"/>
                </a:solidFill>
              </a:rPr>
              <a:t>WVD RBAC</a:t>
            </a:r>
          </a:p>
        </p:txBody>
      </p:sp>
      <p:cxnSp>
        <p:nvCxnSpPr>
          <p:cNvPr id="7312" name="Straight Arrow Connector 7311">
            <a:extLst>
              <a:ext uri="{FF2B5EF4-FFF2-40B4-BE49-F238E27FC236}">
                <a16:creationId xmlns:a16="http://schemas.microsoft.com/office/drawing/2014/main" id="{CA5ED479-8318-4B29-9CED-79D996561AB9}"/>
              </a:ext>
            </a:extLst>
          </p:cNvPr>
          <p:cNvCxnSpPr>
            <a:endCxn id="7239" idx="4"/>
          </p:cNvCxnSpPr>
          <p:nvPr/>
        </p:nvCxnSpPr>
        <p:spPr>
          <a:xfrm flipV="1">
            <a:off x="3213101" y="2688624"/>
            <a:ext cx="2681287" cy="27557"/>
          </a:xfrm>
          <a:prstGeom prst="straightConnector1">
            <a:avLst/>
          </a:prstGeom>
          <a:ln w="28575">
            <a:solidFill>
              <a:srgbClr val="00B050"/>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7308" name="Rectangle 7307">
            <a:extLst>
              <a:ext uri="{FF2B5EF4-FFF2-40B4-BE49-F238E27FC236}">
                <a16:creationId xmlns:a16="http://schemas.microsoft.com/office/drawing/2014/main" id="{6DC2D131-8D21-4270-897F-25A9395CE95F}"/>
              </a:ext>
            </a:extLst>
          </p:cNvPr>
          <p:cNvSpPr/>
          <p:nvPr/>
        </p:nvSpPr>
        <p:spPr bwMode="auto">
          <a:xfrm>
            <a:off x="2403038" y="5086526"/>
            <a:ext cx="2448921" cy="1100158"/>
          </a:xfrm>
          <a:prstGeom prst="rect">
            <a:avLst/>
          </a:prstGeom>
          <a:solidFill>
            <a:schemeClr val="bg1"/>
          </a:solid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defTabSz="932472" fontAlgn="base">
              <a:spcBef>
                <a:spcPct val="0"/>
              </a:spcBef>
              <a:spcAft>
                <a:spcPct val="0"/>
              </a:spcAft>
            </a:pPr>
            <a:r>
              <a:rPr lang="en-US" sz="1600" b="1" dirty="0">
                <a:solidFill>
                  <a:schemeClr val="tx1"/>
                </a:solidFill>
              </a:rPr>
              <a:t>WVD Tenant 1</a:t>
            </a:r>
          </a:p>
          <a:p>
            <a:pPr marL="285750" indent="-285750" defTabSz="932472" fontAlgn="base">
              <a:spcBef>
                <a:spcPct val="0"/>
              </a:spcBef>
              <a:spcAft>
                <a:spcPct val="0"/>
              </a:spcAft>
              <a:buFont typeface="Arial" panose="020B0604020202020204" pitchFamily="34" charset="0"/>
              <a:buChar char="•"/>
            </a:pPr>
            <a:r>
              <a:rPr lang="en-US" sz="1600" dirty="0">
                <a:solidFill>
                  <a:schemeClr val="tx1"/>
                </a:solidFill>
              </a:rPr>
              <a:t>Host Pool Config</a:t>
            </a:r>
          </a:p>
          <a:p>
            <a:pPr marL="285750" indent="-285750" defTabSz="932472" fontAlgn="base">
              <a:spcBef>
                <a:spcPct val="0"/>
              </a:spcBef>
              <a:spcAft>
                <a:spcPct val="0"/>
              </a:spcAft>
              <a:buFont typeface="Arial" panose="020B0604020202020204" pitchFamily="34" charset="0"/>
              <a:buChar char="•"/>
            </a:pPr>
            <a:r>
              <a:rPr lang="en-US" sz="1600" dirty="0">
                <a:solidFill>
                  <a:schemeClr val="tx1"/>
                </a:solidFill>
              </a:rPr>
              <a:t>WVD-specific metadata</a:t>
            </a:r>
          </a:p>
          <a:p>
            <a:pPr marL="285750" indent="-285750" defTabSz="932472" fontAlgn="base">
              <a:spcBef>
                <a:spcPct val="0"/>
              </a:spcBef>
              <a:spcAft>
                <a:spcPct val="0"/>
              </a:spcAft>
              <a:buFont typeface="Arial" panose="020B0604020202020204" pitchFamily="34" charset="0"/>
              <a:buChar char="•"/>
            </a:pPr>
            <a:r>
              <a:rPr lang="en-US" sz="1600" dirty="0">
                <a:solidFill>
                  <a:schemeClr val="tx1"/>
                </a:solidFill>
              </a:rPr>
              <a:t>WVD RBAC</a:t>
            </a:r>
          </a:p>
        </p:txBody>
      </p:sp>
      <p:sp>
        <p:nvSpPr>
          <p:cNvPr id="7240" name="Line 140">
            <a:extLst>
              <a:ext uri="{FF2B5EF4-FFF2-40B4-BE49-F238E27FC236}">
                <a16:creationId xmlns:a16="http://schemas.microsoft.com/office/drawing/2014/main" id="{AEC86398-EB3C-475B-A2FB-5A683C9AAF60}"/>
              </a:ext>
            </a:extLst>
          </p:cNvPr>
          <p:cNvSpPr>
            <a:spLocks noChangeShapeType="1"/>
          </p:cNvSpPr>
          <p:nvPr/>
        </p:nvSpPr>
        <p:spPr bwMode="auto">
          <a:xfrm flipH="1" flipV="1">
            <a:off x="4264527" y="5547530"/>
            <a:ext cx="1375862" cy="234146"/>
          </a:xfrm>
          <a:prstGeom prst="line">
            <a:avLst/>
          </a:prstGeom>
          <a:ln w="38100" cap="flat" cmpd="sng" algn="ctr">
            <a:solidFill>
              <a:schemeClr val="accent1"/>
            </a:solidFill>
            <a:prstDash val="solid"/>
            <a:round/>
            <a:headEnd type="none" w="med" len="med"/>
            <a:tailEnd type="arrow" w="med" len="med"/>
          </a:ln>
          <a:extLst>
            <a:ext uri="{909E8E84-426E-40DD-AFC4-6F175D3DCCD1}">
              <a14:hiddenFill xmlns:a14="http://schemas.microsoft.com/office/drawing/2010/main">
                <a:noFill/>
              </a14:hiddenFill>
            </a:ext>
          </a:extLst>
        </p:spPr>
        <p:style>
          <a:lnRef idx="0">
            <a:scrgbClr r="0" g="0" b="0"/>
          </a:lnRef>
          <a:fillRef idx="0">
            <a:scrgbClr r="0" g="0" b="0"/>
          </a:fillRef>
          <a:effectRef idx="0">
            <a:scrgbClr r="0" g="0" b="0"/>
          </a:effectRef>
          <a:fontRef idx="minor">
            <a:schemeClr val="tx1"/>
          </a:fontRef>
        </p:style>
        <p:txBody>
          <a:bodyPr vert="horz" wrap="square" lIns="91440" tIns="45720" rIns="91440" bIns="45720" numCol="1" anchor="t" anchorCtr="0" compatLnSpc="1">
            <a:prstTxWarp prst="textNoShape">
              <a:avLst/>
            </a:prstTxWarp>
          </a:bodyPr>
          <a:lstStyle/>
          <a:p>
            <a:endParaRPr lang="en-US"/>
          </a:p>
        </p:txBody>
      </p:sp>
      <p:sp>
        <p:nvSpPr>
          <p:cNvPr id="7173" name="Line 70">
            <a:extLst>
              <a:ext uri="{FF2B5EF4-FFF2-40B4-BE49-F238E27FC236}">
                <a16:creationId xmlns:a16="http://schemas.microsoft.com/office/drawing/2014/main" id="{0BBBD776-3DE2-4EB5-AC24-D1F5F1246E65}"/>
              </a:ext>
            </a:extLst>
          </p:cNvPr>
          <p:cNvSpPr>
            <a:spLocks noChangeShapeType="1"/>
          </p:cNvSpPr>
          <p:nvPr/>
        </p:nvSpPr>
        <p:spPr bwMode="auto">
          <a:xfrm flipV="1">
            <a:off x="4264527" y="3508998"/>
            <a:ext cx="2074521" cy="1951037"/>
          </a:xfrm>
          <a:prstGeom prst="line">
            <a:avLst/>
          </a:prstGeom>
          <a:ln w="38100" cap="flat" cmpd="sng" algn="ctr">
            <a:solidFill>
              <a:schemeClr val="accent1"/>
            </a:solidFill>
            <a:prstDash val="solid"/>
            <a:round/>
            <a:headEnd type="none" w="med" len="med"/>
            <a:tailEnd type="arrow" w="med" len="med"/>
          </a:ln>
          <a:extLst>
            <a:ext uri="{909E8E84-426E-40DD-AFC4-6F175D3DCCD1}">
              <a14:hiddenFill xmlns:a14="http://schemas.microsoft.com/office/drawing/2010/main">
                <a:noFill/>
              </a14:hiddenFill>
            </a:ext>
          </a:extLst>
        </p:spPr>
        <p:style>
          <a:lnRef idx="0">
            <a:scrgbClr r="0" g="0" b="0"/>
          </a:lnRef>
          <a:fillRef idx="0">
            <a:scrgbClr r="0" g="0" b="0"/>
          </a:fillRef>
          <a:effectRef idx="0">
            <a:scrgbClr r="0" g="0" b="0"/>
          </a:effectRef>
          <a:fontRef idx="minor">
            <a:schemeClr val="tx1"/>
          </a:fontRef>
        </p:style>
        <p:txBody>
          <a:bodyPr vert="horz" wrap="square" lIns="91440" tIns="45720" rIns="91440" bIns="45720" numCol="1" anchor="t" anchorCtr="0" compatLnSpc="1">
            <a:prstTxWarp prst="textNoShape">
              <a:avLst/>
            </a:prstTxWarp>
          </a:bodyPr>
          <a:lstStyle/>
          <a:p>
            <a:endParaRPr lang="en-US"/>
          </a:p>
        </p:txBody>
      </p:sp>
      <p:grpSp>
        <p:nvGrpSpPr>
          <p:cNvPr id="274" name="Group 273">
            <a:extLst>
              <a:ext uri="{FF2B5EF4-FFF2-40B4-BE49-F238E27FC236}">
                <a16:creationId xmlns:a16="http://schemas.microsoft.com/office/drawing/2014/main" id="{C0A7C5E3-54BD-46F4-86C1-2D47E895911A}"/>
              </a:ext>
            </a:extLst>
          </p:cNvPr>
          <p:cNvGrpSpPr/>
          <p:nvPr/>
        </p:nvGrpSpPr>
        <p:grpSpPr>
          <a:xfrm>
            <a:off x="4359313" y="5946775"/>
            <a:ext cx="381000" cy="412750"/>
            <a:chOff x="3322638" y="3298826"/>
            <a:chExt cx="381000" cy="412750"/>
          </a:xfrm>
          <a:solidFill>
            <a:schemeClr val="accent3">
              <a:lumMod val="60000"/>
              <a:lumOff val="40000"/>
            </a:schemeClr>
          </a:solidFill>
        </p:grpSpPr>
        <p:sp>
          <p:nvSpPr>
            <p:cNvPr id="275" name="Freeform 156">
              <a:extLst>
                <a:ext uri="{FF2B5EF4-FFF2-40B4-BE49-F238E27FC236}">
                  <a16:creationId xmlns:a16="http://schemas.microsoft.com/office/drawing/2014/main" id="{5F109542-B84D-43DB-8893-F36AC545B634}"/>
                </a:ext>
              </a:extLst>
            </p:cNvPr>
            <p:cNvSpPr>
              <a:spLocks/>
            </p:cNvSpPr>
            <p:nvPr/>
          </p:nvSpPr>
          <p:spPr bwMode="auto">
            <a:xfrm>
              <a:off x="3417888" y="3298826"/>
              <a:ext cx="233363" cy="255588"/>
            </a:xfrm>
            <a:custGeom>
              <a:avLst/>
              <a:gdLst>
                <a:gd name="T0" fmla="*/ 312 w 823"/>
                <a:gd name="T1" fmla="*/ 57 h 900"/>
                <a:gd name="T2" fmla="*/ 56 w 823"/>
                <a:gd name="T3" fmla="*/ 540 h 900"/>
                <a:gd name="T4" fmla="*/ 511 w 823"/>
                <a:gd name="T5" fmla="*/ 852 h 900"/>
                <a:gd name="T6" fmla="*/ 766 w 823"/>
                <a:gd name="T7" fmla="*/ 370 h 900"/>
                <a:gd name="T8" fmla="*/ 312 w 823"/>
                <a:gd name="T9" fmla="*/ 57 h 900"/>
              </a:gdLst>
              <a:ahLst/>
              <a:cxnLst>
                <a:cxn ang="0">
                  <a:pos x="T0" y="T1"/>
                </a:cxn>
                <a:cxn ang="0">
                  <a:pos x="T2" y="T3"/>
                </a:cxn>
                <a:cxn ang="0">
                  <a:pos x="T4" y="T5"/>
                </a:cxn>
                <a:cxn ang="0">
                  <a:pos x="T6" y="T7"/>
                </a:cxn>
                <a:cxn ang="0">
                  <a:pos x="T8" y="T9"/>
                </a:cxn>
              </a:cxnLst>
              <a:rect l="0" t="0" r="r" b="b"/>
              <a:pathLst>
                <a:path w="823" h="900">
                  <a:moveTo>
                    <a:pt x="312" y="57"/>
                  </a:moveTo>
                  <a:cubicBezTo>
                    <a:pt x="113" y="105"/>
                    <a:pt x="0" y="322"/>
                    <a:pt x="56" y="540"/>
                  </a:cubicBezTo>
                  <a:cubicBezTo>
                    <a:pt x="113" y="758"/>
                    <a:pt x="312" y="900"/>
                    <a:pt x="511" y="852"/>
                  </a:cubicBezTo>
                  <a:cubicBezTo>
                    <a:pt x="709" y="805"/>
                    <a:pt x="823" y="587"/>
                    <a:pt x="766" y="370"/>
                  </a:cubicBezTo>
                  <a:cubicBezTo>
                    <a:pt x="719" y="142"/>
                    <a:pt x="511" y="0"/>
                    <a:pt x="312" y="57"/>
                  </a:cubicBezTo>
                </a:path>
              </a:pathLst>
            </a:cu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6" name="Freeform 157">
              <a:extLst>
                <a:ext uri="{FF2B5EF4-FFF2-40B4-BE49-F238E27FC236}">
                  <a16:creationId xmlns:a16="http://schemas.microsoft.com/office/drawing/2014/main" id="{02032CE1-3372-4D3D-8B60-1C0FDA7BC6F5}"/>
                </a:ext>
              </a:extLst>
            </p:cNvPr>
            <p:cNvSpPr>
              <a:spLocks/>
            </p:cNvSpPr>
            <p:nvPr/>
          </p:nvSpPr>
          <p:spPr bwMode="auto">
            <a:xfrm>
              <a:off x="3322638" y="3544888"/>
              <a:ext cx="381000" cy="166688"/>
            </a:xfrm>
            <a:custGeom>
              <a:avLst/>
              <a:gdLst>
                <a:gd name="T0" fmla="*/ 1070 w 1344"/>
                <a:gd name="T1" fmla="*/ 47 h 587"/>
                <a:gd name="T2" fmla="*/ 937 w 1344"/>
                <a:gd name="T3" fmla="*/ 142 h 587"/>
                <a:gd name="T4" fmla="*/ 663 w 1344"/>
                <a:gd name="T5" fmla="*/ 142 h 587"/>
                <a:gd name="T6" fmla="*/ 351 w 1344"/>
                <a:gd name="T7" fmla="*/ 0 h 587"/>
                <a:gd name="T8" fmla="*/ 0 w 1344"/>
                <a:gd name="T9" fmla="*/ 587 h 587"/>
                <a:gd name="T10" fmla="*/ 1344 w 1344"/>
                <a:gd name="T11" fmla="*/ 587 h 587"/>
                <a:gd name="T12" fmla="*/ 1250 w 1344"/>
                <a:gd name="T13" fmla="*/ 227 h 587"/>
                <a:gd name="T14" fmla="*/ 1070 w 1344"/>
                <a:gd name="T15" fmla="*/ 47 h 5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44" h="587">
                  <a:moveTo>
                    <a:pt x="1070" y="47"/>
                  </a:moveTo>
                  <a:cubicBezTo>
                    <a:pt x="1032" y="47"/>
                    <a:pt x="994" y="113"/>
                    <a:pt x="937" y="142"/>
                  </a:cubicBezTo>
                  <a:cubicBezTo>
                    <a:pt x="881" y="170"/>
                    <a:pt x="824" y="217"/>
                    <a:pt x="663" y="142"/>
                  </a:cubicBezTo>
                  <a:cubicBezTo>
                    <a:pt x="502" y="66"/>
                    <a:pt x="483" y="0"/>
                    <a:pt x="351" y="0"/>
                  </a:cubicBezTo>
                  <a:cubicBezTo>
                    <a:pt x="218" y="0"/>
                    <a:pt x="0" y="236"/>
                    <a:pt x="0" y="587"/>
                  </a:cubicBezTo>
                  <a:lnTo>
                    <a:pt x="1344" y="587"/>
                  </a:lnTo>
                  <a:cubicBezTo>
                    <a:pt x="1344" y="587"/>
                    <a:pt x="1326" y="350"/>
                    <a:pt x="1250" y="227"/>
                  </a:cubicBezTo>
                  <a:cubicBezTo>
                    <a:pt x="1155" y="47"/>
                    <a:pt x="1108" y="47"/>
                    <a:pt x="1070" y="47"/>
                  </a:cubicBezTo>
                  <a:close/>
                </a:path>
              </a:pathLst>
            </a:cu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7" name="Freeform 158">
              <a:extLst>
                <a:ext uri="{FF2B5EF4-FFF2-40B4-BE49-F238E27FC236}">
                  <a16:creationId xmlns:a16="http://schemas.microsoft.com/office/drawing/2014/main" id="{A1D33C5E-C42E-4206-9690-D21F8957E953}"/>
                </a:ext>
              </a:extLst>
            </p:cNvPr>
            <p:cNvSpPr>
              <a:spLocks noEditPoints="1"/>
            </p:cNvSpPr>
            <p:nvPr/>
          </p:nvSpPr>
          <p:spPr bwMode="auto">
            <a:xfrm>
              <a:off x="3544888" y="3438526"/>
              <a:ext cx="131763" cy="250825"/>
            </a:xfrm>
            <a:custGeom>
              <a:avLst/>
              <a:gdLst>
                <a:gd name="T0" fmla="*/ 411 w 467"/>
                <a:gd name="T1" fmla="*/ 0 h 887"/>
                <a:gd name="T2" fmla="*/ 56 w 467"/>
                <a:gd name="T3" fmla="*/ 0 h 887"/>
                <a:gd name="T4" fmla="*/ 0 w 467"/>
                <a:gd name="T5" fmla="*/ 56 h 887"/>
                <a:gd name="T6" fmla="*/ 0 w 467"/>
                <a:gd name="T7" fmla="*/ 299 h 887"/>
                <a:gd name="T8" fmla="*/ 65 w 467"/>
                <a:gd name="T9" fmla="*/ 355 h 887"/>
                <a:gd name="T10" fmla="*/ 130 w 467"/>
                <a:gd name="T11" fmla="*/ 355 h 887"/>
                <a:gd name="T12" fmla="*/ 130 w 467"/>
                <a:gd name="T13" fmla="*/ 794 h 887"/>
                <a:gd name="T14" fmla="*/ 214 w 467"/>
                <a:gd name="T15" fmla="*/ 887 h 887"/>
                <a:gd name="T16" fmla="*/ 298 w 467"/>
                <a:gd name="T17" fmla="*/ 803 h 887"/>
                <a:gd name="T18" fmla="*/ 317 w 467"/>
                <a:gd name="T19" fmla="*/ 803 h 887"/>
                <a:gd name="T20" fmla="*/ 317 w 467"/>
                <a:gd name="T21" fmla="*/ 747 h 887"/>
                <a:gd name="T22" fmla="*/ 345 w 467"/>
                <a:gd name="T23" fmla="*/ 719 h 887"/>
                <a:gd name="T24" fmla="*/ 345 w 467"/>
                <a:gd name="T25" fmla="*/ 691 h 887"/>
                <a:gd name="T26" fmla="*/ 298 w 467"/>
                <a:gd name="T27" fmla="*/ 654 h 887"/>
                <a:gd name="T28" fmla="*/ 298 w 467"/>
                <a:gd name="T29" fmla="*/ 626 h 887"/>
                <a:gd name="T30" fmla="*/ 317 w 467"/>
                <a:gd name="T31" fmla="*/ 607 h 887"/>
                <a:gd name="T32" fmla="*/ 345 w 467"/>
                <a:gd name="T33" fmla="*/ 560 h 887"/>
                <a:gd name="T34" fmla="*/ 317 w 467"/>
                <a:gd name="T35" fmla="*/ 514 h 887"/>
                <a:gd name="T36" fmla="*/ 298 w 467"/>
                <a:gd name="T37" fmla="*/ 476 h 887"/>
                <a:gd name="T38" fmla="*/ 298 w 467"/>
                <a:gd name="T39" fmla="*/ 458 h 887"/>
                <a:gd name="T40" fmla="*/ 364 w 467"/>
                <a:gd name="T41" fmla="*/ 364 h 887"/>
                <a:gd name="T42" fmla="*/ 411 w 467"/>
                <a:gd name="T43" fmla="*/ 364 h 887"/>
                <a:gd name="T44" fmla="*/ 467 w 467"/>
                <a:gd name="T45" fmla="*/ 308 h 887"/>
                <a:gd name="T46" fmla="*/ 467 w 467"/>
                <a:gd name="T47" fmla="*/ 56 h 887"/>
                <a:gd name="T48" fmla="*/ 411 w 467"/>
                <a:gd name="T49" fmla="*/ 0 h 887"/>
                <a:gd name="T50" fmla="*/ 205 w 467"/>
                <a:gd name="T51" fmla="*/ 813 h 887"/>
                <a:gd name="T52" fmla="*/ 186 w 467"/>
                <a:gd name="T53" fmla="*/ 841 h 887"/>
                <a:gd name="T54" fmla="*/ 168 w 467"/>
                <a:gd name="T55" fmla="*/ 813 h 887"/>
                <a:gd name="T56" fmla="*/ 168 w 467"/>
                <a:gd name="T57" fmla="*/ 401 h 887"/>
                <a:gd name="T58" fmla="*/ 186 w 467"/>
                <a:gd name="T59" fmla="*/ 373 h 887"/>
                <a:gd name="T60" fmla="*/ 205 w 467"/>
                <a:gd name="T61" fmla="*/ 401 h 887"/>
                <a:gd name="T62" fmla="*/ 205 w 467"/>
                <a:gd name="T63" fmla="*/ 813 h 887"/>
                <a:gd name="T64" fmla="*/ 233 w 467"/>
                <a:gd name="T65" fmla="*/ 149 h 887"/>
                <a:gd name="T66" fmla="*/ 177 w 467"/>
                <a:gd name="T67" fmla="*/ 93 h 887"/>
                <a:gd name="T68" fmla="*/ 233 w 467"/>
                <a:gd name="T69" fmla="*/ 37 h 887"/>
                <a:gd name="T70" fmla="*/ 289 w 467"/>
                <a:gd name="T71" fmla="*/ 93 h 887"/>
                <a:gd name="T72" fmla="*/ 233 w 467"/>
                <a:gd name="T73" fmla="*/ 149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7" h="887">
                  <a:moveTo>
                    <a:pt x="411" y="0"/>
                  </a:moveTo>
                  <a:lnTo>
                    <a:pt x="56" y="0"/>
                  </a:lnTo>
                  <a:cubicBezTo>
                    <a:pt x="28" y="0"/>
                    <a:pt x="0" y="28"/>
                    <a:pt x="0" y="56"/>
                  </a:cubicBezTo>
                  <a:lnTo>
                    <a:pt x="0" y="299"/>
                  </a:lnTo>
                  <a:cubicBezTo>
                    <a:pt x="0" y="327"/>
                    <a:pt x="28" y="355"/>
                    <a:pt x="65" y="355"/>
                  </a:cubicBezTo>
                  <a:lnTo>
                    <a:pt x="130" y="355"/>
                  </a:lnTo>
                  <a:lnTo>
                    <a:pt x="130" y="794"/>
                  </a:lnTo>
                  <a:cubicBezTo>
                    <a:pt x="130" y="850"/>
                    <a:pt x="168" y="887"/>
                    <a:pt x="214" y="887"/>
                  </a:cubicBezTo>
                  <a:cubicBezTo>
                    <a:pt x="261" y="887"/>
                    <a:pt x="298" y="850"/>
                    <a:pt x="298" y="803"/>
                  </a:cubicBezTo>
                  <a:cubicBezTo>
                    <a:pt x="308" y="803"/>
                    <a:pt x="317" y="803"/>
                    <a:pt x="317" y="803"/>
                  </a:cubicBezTo>
                  <a:cubicBezTo>
                    <a:pt x="317" y="803"/>
                    <a:pt x="317" y="756"/>
                    <a:pt x="317" y="747"/>
                  </a:cubicBezTo>
                  <a:cubicBezTo>
                    <a:pt x="317" y="728"/>
                    <a:pt x="345" y="719"/>
                    <a:pt x="345" y="719"/>
                  </a:cubicBezTo>
                  <a:cubicBezTo>
                    <a:pt x="345" y="719"/>
                    <a:pt x="345" y="691"/>
                    <a:pt x="345" y="691"/>
                  </a:cubicBezTo>
                  <a:cubicBezTo>
                    <a:pt x="317" y="682"/>
                    <a:pt x="298" y="663"/>
                    <a:pt x="298" y="654"/>
                  </a:cubicBezTo>
                  <a:lnTo>
                    <a:pt x="298" y="626"/>
                  </a:lnTo>
                  <a:cubicBezTo>
                    <a:pt x="308" y="616"/>
                    <a:pt x="317" y="607"/>
                    <a:pt x="317" y="607"/>
                  </a:cubicBezTo>
                  <a:cubicBezTo>
                    <a:pt x="326" y="598"/>
                    <a:pt x="345" y="560"/>
                    <a:pt x="345" y="560"/>
                  </a:cubicBezTo>
                  <a:cubicBezTo>
                    <a:pt x="345" y="560"/>
                    <a:pt x="317" y="523"/>
                    <a:pt x="317" y="514"/>
                  </a:cubicBezTo>
                  <a:cubicBezTo>
                    <a:pt x="308" y="504"/>
                    <a:pt x="308" y="486"/>
                    <a:pt x="298" y="476"/>
                  </a:cubicBezTo>
                  <a:lnTo>
                    <a:pt x="298" y="458"/>
                  </a:lnTo>
                  <a:cubicBezTo>
                    <a:pt x="308" y="411"/>
                    <a:pt x="364" y="364"/>
                    <a:pt x="364" y="364"/>
                  </a:cubicBezTo>
                  <a:lnTo>
                    <a:pt x="411" y="364"/>
                  </a:lnTo>
                  <a:cubicBezTo>
                    <a:pt x="439" y="364"/>
                    <a:pt x="467" y="336"/>
                    <a:pt x="467" y="308"/>
                  </a:cubicBezTo>
                  <a:lnTo>
                    <a:pt x="467" y="56"/>
                  </a:lnTo>
                  <a:cubicBezTo>
                    <a:pt x="467" y="28"/>
                    <a:pt x="448" y="0"/>
                    <a:pt x="411" y="0"/>
                  </a:cubicBezTo>
                  <a:close/>
                  <a:moveTo>
                    <a:pt x="205" y="813"/>
                  </a:moveTo>
                  <a:cubicBezTo>
                    <a:pt x="205" y="831"/>
                    <a:pt x="205" y="841"/>
                    <a:pt x="186" y="841"/>
                  </a:cubicBezTo>
                  <a:cubicBezTo>
                    <a:pt x="168" y="841"/>
                    <a:pt x="168" y="822"/>
                    <a:pt x="168" y="813"/>
                  </a:cubicBezTo>
                  <a:lnTo>
                    <a:pt x="168" y="401"/>
                  </a:lnTo>
                  <a:cubicBezTo>
                    <a:pt x="168" y="383"/>
                    <a:pt x="177" y="373"/>
                    <a:pt x="186" y="373"/>
                  </a:cubicBezTo>
                  <a:cubicBezTo>
                    <a:pt x="205" y="373"/>
                    <a:pt x="205" y="392"/>
                    <a:pt x="205" y="401"/>
                  </a:cubicBezTo>
                  <a:lnTo>
                    <a:pt x="205" y="813"/>
                  </a:lnTo>
                  <a:close/>
                  <a:moveTo>
                    <a:pt x="233" y="149"/>
                  </a:moveTo>
                  <a:cubicBezTo>
                    <a:pt x="205" y="149"/>
                    <a:pt x="177" y="121"/>
                    <a:pt x="177" y="93"/>
                  </a:cubicBezTo>
                  <a:cubicBezTo>
                    <a:pt x="177" y="65"/>
                    <a:pt x="205" y="37"/>
                    <a:pt x="233" y="37"/>
                  </a:cubicBezTo>
                  <a:cubicBezTo>
                    <a:pt x="261" y="37"/>
                    <a:pt x="289" y="65"/>
                    <a:pt x="289" y="93"/>
                  </a:cubicBezTo>
                  <a:cubicBezTo>
                    <a:pt x="289" y="121"/>
                    <a:pt x="270" y="149"/>
                    <a:pt x="233" y="149"/>
                  </a:cubicBezTo>
                  <a:close/>
                </a:path>
              </a:pathLst>
            </a:cu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8" name="Freeform 159">
              <a:extLst>
                <a:ext uri="{FF2B5EF4-FFF2-40B4-BE49-F238E27FC236}">
                  <a16:creationId xmlns:a16="http://schemas.microsoft.com/office/drawing/2014/main" id="{1DEED15F-5A93-4CA7-8824-A1B5909FB980}"/>
                </a:ext>
              </a:extLst>
            </p:cNvPr>
            <p:cNvSpPr>
              <a:spLocks noEditPoints="1"/>
            </p:cNvSpPr>
            <p:nvPr/>
          </p:nvSpPr>
          <p:spPr bwMode="auto">
            <a:xfrm>
              <a:off x="3544888" y="3438526"/>
              <a:ext cx="131763" cy="250825"/>
            </a:xfrm>
            <a:custGeom>
              <a:avLst/>
              <a:gdLst>
                <a:gd name="T0" fmla="*/ 411 w 467"/>
                <a:gd name="T1" fmla="*/ 0 h 887"/>
                <a:gd name="T2" fmla="*/ 56 w 467"/>
                <a:gd name="T3" fmla="*/ 0 h 887"/>
                <a:gd name="T4" fmla="*/ 0 w 467"/>
                <a:gd name="T5" fmla="*/ 56 h 887"/>
                <a:gd name="T6" fmla="*/ 0 w 467"/>
                <a:gd name="T7" fmla="*/ 299 h 887"/>
                <a:gd name="T8" fmla="*/ 65 w 467"/>
                <a:gd name="T9" fmla="*/ 355 h 887"/>
                <a:gd name="T10" fmla="*/ 130 w 467"/>
                <a:gd name="T11" fmla="*/ 355 h 887"/>
                <a:gd name="T12" fmla="*/ 130 w 467"/>
                <a:gd name="T13" fmla="*/ 794 h 887"/>
                <a:gd name="T14" fmla="*/ 214 w 467"/>
                <a:gd name="T15" fmla="*/ 887 h 887"/>
                <a:gd name="T16" fmla="*/ 298 w 467"/>
                <a:gd name="T17" fmla="*/ 803 h 887"/>
                <a:gd name="T18" fmla="*/ 317 w 467"/>
                <a:gd name="T19" fmla="*/ 803 h 887"/>
                <a:gd name="T20" fmla="*/ 317 w 467"/>
                <a:gd name="T21" fmla="*/ 747 h 887"/>
                <a:gd name="T22" fmla="*/ 345 w 467"/>
                <a:gd name="T23" fmla="*/ 719 h 887"/>
                <a:gd name="T24" fmla="*/ 345 w 467"/>
                <a:gd name="T25" fmla="*/ 691 h 887"/>
                <a:gd name="T26" fmla="*/ 298 w 467"/>
                <a:gd name="T27" fmla="*/ 654 h 887"/>
                <a:gd name="T28" fmla="*/ 298 w 467"/>
                <a:gd name="T29" fmla="*/ 626 h 887"/>
                <a:gd name="T30" fmla="*/ 317 w 467"/>
                <a:gd name="T31" fmla="*/ 607 h 887"/>
                <a:gd name="T32" fmla="*/ 345 w 467"/>
                <a:gd name="T33" fmla="*/ 560 h 887"/>
                <a:gd name="T34" fmla="*/ 317 w 467"/>
                <a:gd name="T35" fmla="*/ 514 h 887"/>
                <a:gd name="T36" fmla="*/ 298 w 467"/>
                <a:gd name="T37" fmla="*/ 476 h 887"/>
                <a:gd name="T38" fmla="*/ 298 w 467"/>
                <a:gd name="T39" fmla="*/ 458 h 887"/>
                <a:gd name="T40" fmla="*/ 364 w 467"/>
                <a:gd name="T41" fmla="*/ 364 h 887"/>
                <a:gd name="T42" fmla="*/ 411 w 467"/>
                <a:gd name="T43" fmla="*/ 364 h 887"/>
                <a:gd name="T44" fmla="*/ 467 w 467"/>
                <a:gd name="T45" fmla="*/ 308 h 887"/>
                <a:gd name="T46" fmla="*/ 467 w 467"/>
                <a:gd name="T47" fmla="*/ 56 h 887"/>
                <a:gd name="T48" fmla="*/ 411 w 467"/>
                <a:gd name="T49" fmla="*/ 0 h 887"/>
                <a:gd name="T50" fmla="*/ 205 w 467"/>
                <a:gd name="T51" fmla="*/ 813 h 887"/>
                <a:gd name="T52" fmla="*/ 186 w 467"/>
                <a:gd name="T53" fmla="*/ 841 h 887"/>
                <a:gd name="T54" fmla="*/ 168 w 467"/>
                <a:gd name="T55" fmla="*/ 813 h 887"/>
                <a:gd name="T56" fmla="*/ 168 w 467"/>
                <a:gd name="T57" fmla="*/ 401 h 887"/>
                <a:gd name="T58" fmla="*/ 186 w 467"/>
                <a:gd name="T59" fmla="*/ 373 h 887"/>
                <a:gd name="T60" fmla="*/ 205 w 467"/>
                <a:gd name="T61" fmla="*/ 401 h 887"/>
                <a:gd name="T62" fmla="*/ 205 w 467"/>
                <a:gd name="T63" fmla="*/ 813 h 887"/>
                <a:gd name="T64" fmla="*/ 233 w 467"/>
                <a:gd name="T65" fmla="*/ 149 h 887"/>
                <a:gd name="T66" fmla="*/ 177 w 467"/>
                <a:gd name="T67" fmla="*/ 93 h 887"/>
                <a:gd name="T68" fmla="*/ 233 w 467"/>
                <a:gd name="T69" fmla="*/ 37 h 887"/>
                <a:gd name="T70" fmla="*/ 289 w 467"/>
                <a:gd name="T71" fmla="*/ 93 h 887"/>
                <a:gd name="T72" fmla="*/ 233 w 467"/>
                <a:gd name="T73" fmla="*/ 149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7" h="887">
                  <a:moveTo>
                    <a:pt x="411" y="0"/>
                  </a:moveTo>
                  <a:lnTo>
                    <a:pt x="56" y="0"/>
                  </a:lnTo>
                  <a:cubicBezTo>
                    <a:pt x="28" y="0"/>
                    <a:pt x="0" y="28"/>
                    <a:pt x="0" y="56"/>
                  </a:cubicBezTo>
                  <a:lnTo>
                    <a:pt x="0" y="299"/>
                  </a:lnTo>
                  <a:cubicBezTo>
                    <a:pt x="0" y="327"/>
                    <a:pt x="28" y="355"/>
                    <a:pt x="65" y="355"/>
                  </a:cubicBezTo>
                  <a:lnTo>
                    <a:pt x="130" y="355"/>
                  </a:lnTo>
                  <a:lnTo>
                    <a:pt x="130" y="794"/>
                  </a:lnTo>
                  <a:cubicBezTo>
                    <a:pt x="130" y="850"/>
                    <a:pt x="168" y="887"/>
                    <a:pt x="214" y="887"/>
                  </a:cubicBezTo>
                  <a:cubicBezTo>
                    <a:pt x="261" y="887"/>
                    <a:pt x="298" y="850"/>
                    <a:pt x="298" y="803"/>
                  </a:cubicBezTo>
                  <a:cubicBezTo>
                    <a:pt x="308" y="803"/>
                    <a:pt x="317" y="803"/>
                    <a:pt x="317" y="803"/>
                  </a:cubicBezTo>
                  <a:cubicBezTo>
                    <a:pt x="317" y="803"/>
                    <a:pt x="317" y="756"/>
                    <a:pt x="317" y="747"/>
                  </a:cubicBezTo>
                  <a:cubicBezTo>
                    <a:pt x="317" y="728"/>
                    <a:pt x="345" y="719"/>
                    <a:pt x="345" y="719"/>
                  </a:cubicBezTo>
                  <a:cubicBezTo>
                    <a:pt x="345" y="719"/>
                    <a:pt x="345" y="691"/>
                    <a:pt x="345" y="691"/>
                  </a:cubicBezTo>
                  <a:cubicBezTo>
                    <a:pt x="317" y="682"/>
                    <a:pt x="298" y="663"/>
                    <a:pt x="298" y="654"/>
                  </a:cubicBezTo>
                  <a:lnTo>
                    <a:pt x="298" y="626"/>
                  </a:lnTo>
                  <a:cubicBezTo>
                    <a:pt x="308" y="616"/>
                    <a:pt x="317" y="607"/>
                    <a:pt x="317" y="607"/>
                  </a:cubicBezTo>
                  <a:cubicBezTo>
                    <a:pt x="326" y="598"/>
                    <a:pt x="345" y="560"/>
                    <a:pt x="345" y="560"/>
                  </a:cubicBezTo>
                  <a:cubicBezTo>
                    <a:pt x="345" y="560"/>
                    <a:pt x="317" y="523"/>
                    <a:pt x="317" y="514"/>
                  </a:cubicBezTo>
                  <a:cubicBezTo>
                    <a:pt x="308" y="504"/>
                    <a:pt x="308" y="486"/>
                    <a:pt x="298" y="476"/>
                  </a:cubicBezTo>
                  <a:lnTo>
                    <a:pt x="298" y="458"/>
                  </a:lnTo>
                  <a:cubicBezTo>
                    <a:pt x="308" y="411"/>
                    <a:pt x="364" y="364"/>
                    <a:pt x="364" y="364"/>
                  </a:cubicBezTo>
                  <a:lnTo>
                    <a:pt x="411" y="364"/>
                  </a:lnTo>
                  <a:cubicBezTo>
                    <a:pt x="439" y="364"/>
                    <a:pt x="467" y="336"/>
                    <a:pt x="467" y="308"/>
                  </a:cubicBezTo>
                  <a:lnTo>
                    <a:pt x="467" y="56"/>
                  </a:lnTo>
                  <a:cubicBezTo>
                    <a:pt x="467" y="28"/>
                    <a:pt x="448" y="0"/>
                    <a:pt x="411" y="0"/>
                  </a:cubicBezTo>
                  <a:close/>
                  <a:moveTo>
                    <a:pt x="205" y="813"/>
                  </a:moveTo>
                  <a:cubicBezTo>
                    <a:pt x="205" y="831"/>
                    <a:pt x="205" y="841"/>
                    <a:pt x="186" y="841"/>
                  </a:cubicBezTo>
                  <a:cubicBezTo>
                    <a:pt x="168" y="841"/>
                    <a:pt x="168" y="822"/>
                    <a:pt x="168" y="813"/>
                  </a:cubicBezTo>
                  <a:lnTo>
                    <a:pt x="168" y="401"/>
                  </a:lnTo>
                  <a:cubicBezTo>
                    <a:pt x="168" y="383"/>
                    <a:pt x="177" y="373"/>
                    <a:pt x="186" y="373"/>
                  </a:cubicBezTo>
                  <a:cubicBezTo>
                    <a:pt x="205" y="373"/>
                    <a:pt x="205" y="392"/>
                    <a:pt x="205" y="401"/>
                  </a:cubicBezTo>
                  <a:lnTo>
                    <a:pt x="205" y="813"/>
                  </a:lnTo>
                  <a:close/>
                  <a:moveTo>
                    <a:pt x="233" y="149"/>
                  </a:moveTo>
                  <a:cubicBezTo>
                    <a:pt x="205" y="149"/>
                    <a:pt x="177" y="121"/>
                    <a:pt x="177" y="93"/>
                  </a:cubicBezTo>
                  <a:cubicBezTo>
                    <a:pt x="177" y="65"/>
                    <a:pt x="205" y="37"/>
                    <a:pt x="233" y="37"/>
                  </a:cubicBezTo>
                  <a:cubicBezTo>
                    <a:pt x="261" y="37"/>
                    <a:pt x="289" y="65"/>
                    <a:pt x="289" y="93"/>
                  </a:cubicBezTo>
                  <a:cubicBezTo>
                    <a:pt x="289" y="121"/>
                    <a:pt x="270" y="149"/>
                    <a:pt x="233" y="149"/>
                  </a:cubicBezTo>
                  <a:close/>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9" name="Freeform 160">
              <a:extLst>
                <a:ext uri="{FF2B5EF4-FFF2-40B4-BE49-F238E27FC236}">
                  <a16:creationId xmlns:a16="http://schemas.microsoft.com/office/drawing/2014/main" id="{A337A836-BE32-4A76-82F4-06D17BC10DB0}"/>
                </a:ext>
              </a:extLst>
            </p:cNvPr>
            <p:cNvSpPr>
              <a:spLocks/>
            </p:cNvSpPr>
            <p:nvPr/>
          </p:nvSpPr>
          <p:spPr bwMode="auto">
            <a:xfrm>
              <a:off x="3590926" y="3544888"/>
              <a:ext cx="11113" cy="131763"/>
            </a:xfrm>
            <a:custGeom>
              <a:avLst/>
              <a:gdLst>
                <a:gd name="T0" fmla="*/ 19 w 38"/>
                <a:gd name="T1" fmla="*/ 464 h 464"/>
                <a:gd name="T2" fmla="*/ 0 w 38"/>
                <a:gd name="T3" fmla="*/ 445 h 464"/>
                <a:gd name="T4" fmla="*/ 0 w 38"/>
                <a:gd name="T5" fmla="*/ 19 h 464"/>
                <a:gd name="T6" fmla="*/ 19 w 38"/>
                <a:gd name="T7" fmla="*/ 0 h 464"/>
                <a:gd name="T8" fmla="*/ 38 w 38"/>
                <a:gd name="T9" fmla="*/ 19 h 464"/>
                <a:gd name="T10" fmla="*/ 38 w 38"/>
                <a:gd name="T11" fmla="*/ 454 h 464"/>
                <a:gd name="T12" fmla="*/ 19 w 38"/>
                <a:gd name="T13" fmla="*/ 464 h 464"/>
              </a:gdLst>
              <a:ahLst/>
              <a:cxnLst>
                <a:cxn ang="0">
                  <a:pos x="T0" y="T1"/>
                </a:cxn>
                <a:cxn ang="0">
                  <a:pos x="T2" y="T3"/>
                </a:cxn>
                <a:cxn ang="0">
                  <a:pos x="T4" y="T5"/>
                </a:cxn>
                <a:cxn ang="0">
                  <a:pos x="T6" y="T7"/>
                </a:cxn>
                <a:cxn ang="0">
                  <a:pos x="T8" y="T9"/>
                </a:cxn>
                <a:cxn ang="0">
                  <a:pos x="T10" y="T11"/>
                </a:cxn>
                <a:cxn ang="0">
                  <a:pos x="T12" y="T13"/>
                </a:cxn>
              </a:cxnLst>
              <a:rect l="0" t="0" r="r" b="b"/>
              <a:pathLst>
                <a:path w="38" h="464">
                  <a:moveTo>
                    <a:pt x="19" y="464"/>
                  </a:moveTo>
                  <a:cubicBezTo>
                    <a:pt x="10" y="464"/>
                    <a:pt x="0" y="454"/>
                    <a:pt x="0" y="445"/>
                  </a:cubicBezTo>
                  <a:lnTo>
                    <a:pt x="0" y="19"/>
                  </a:lnTo>
                  <a:cubicBezTo>
                    <a:pt x="0" y="9"/>
                    <a:pt x="10" y="0"/>
                    <a:pt x="19" y="0"/>
                  </a:cubicBezTo>
                  <a:cubicBezTo>
                    <a:pt x="29" y="0"/>
                    <a:pt x="38" y="9"/>
                    <a:pt x="38" y="19"/>
                  </a:cubicBezTo>
                  <a:lnTo>
                    <a:pt x="38" y="454"/>
                  </a:lnTo>
                  <a:cubicBezTo>
                    <a:pt x="38" y="464"/>
                    <a:pt x="29" y="464"/>
                    <a:pt x="19" y="464"/>
                  </a:cubicBezTo>
                  <a:close/>
                </a:path>
              </a:pathLst>
            </a:cu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0" name="Oval 161">
              <a:extLst>
                <a:ext uri="{FF2B5EF4-FFF2-40B4-BE49-F238E27FC236}">
                  <a16:creationId xmlns:a16="http://schemas.microsoft.com/office/drawing/2014/main" id="{20A3A365-34E4-452F-856A-C2F79BEC99B6}"/>
                </a:ext>
              </a:extLst>
            </p:cNvPr>
            <p:cNvSpPr>
              <a:spLocks noChangeArrowheads="1"/>
            </p:cNvSpPr>
            <p:nvPr/>
          </p:nvSpPr>
          <p:spPr bwMode="auto">
            <a:xfrm>
              <a:off x="3594101" y="3448051"/>
              <a:ext cx="33338" cy="31750"/>
            </a:xfrm>
            <a:prstGeom prst="ellipse">
              <a:avLst/>
            </a:pr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3" name="Rectangle 2">
            <a:extLst>
              <a:ext uri="{FF2B5EF4-FFF2-40B4-BE49-F238E27FC236}">
                <a16:creationId xmlns:a16="http://schemas.microsoft.com/office/drawing/2014/main" id="{5FB8E153-248E-4B6D-BA36-3D9AB248A723}"/>
              </a:ext>
            </a:extLst>
          </p:cNvPr>
          <p:cNvSpPr/>
          <p:nvPr/>
        </p:nvSpPr>
        <p:spPr bwMode="auto">
          <a:xfrm>
            <a:off x="729673" y="4950691"/>
            <a:ext cx="4275655" cy="1771408"/>
          </a:xfrm>
          <a:prstGeom prst="rect">
            <a:avLst/>
          </a:prstGeom>
          <a:noFill/>
          <a:ln w="38100">
            <a:solidFill>
              <a:srgbClr val="92D050"/>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defTabSz="932472" fontAlgn="base">
              <a:spcBef>
                <a:spcPct val="0"/>
              </a:spcBef>
              <a:spcAft>
                <a:spcPct val="0"/>
              </a:spcAft>
            </a:pPr>
            <a:r>
              <a:rPr lang="en-US" sz="1600" dirty="0">
                <a:solidFill>
                  <a:srgbClr val="92D050"/>
                </a:solidFill>
              </a:rPr>
              <a:t>  </a:t>
            </a:r>
            <a:r>
              <a:rPr lang="en-US" sz="1600" dirty="0">
                <a:solidFill>
                  <a:srgbClr val="46F828"/>
                </a:solidFill>
              </a:rPr>
              <a:t>Tenant Group</a:t>
            </a:r>
          </a:p>
        </p:txBody>
      </p:sp>
      <p:sp>
        <p:nvSpPr>
          <p:cNvPr id="282" name="TextBox 281">
            <a:extLst>
              <a:ext uri="{FF2B5EF4-FFF2-40B4-BE49-F238E27FC236}">
                <a16:creationId xmlns:a16="http://schemas.microsoft.com/office/drawing/2014/main" id="{01537FD1-9DDF-4B5B-8A05-5A7A77D37393}"/>
              </a:ext>
            </a:extLst>
          </p:cNvPr>
          <p:cNvSpPr txBox="1"/>
          <p:nvPr/>
        </p:nvSpPr>
        <p:spPr>
          <a:xfrm>
            <a:off x="4062413" y="6411946"/>
            <a:ext cx="1021702" cy="430887"/>
          </a:xfrm>
          <a:prstGeom prst="rect">
            <a:avLst/>
          </a:prstGeom>
          <a:solidFill>
            <a:schemeClr val="bg1"/>
          </a:solidFill>
        </p:spPr>
        <p:txBody>
          <a:bodyPr wrap="square" lIns="0" tIns="0" rIns="0" bIns="0" rtlCol="0">
            <a:spAutoFit/>
          </a:bodyPr>
          <a:lstStyle/>
          <a:p>
            <a:pPr algn="ctr"/>
            <a:r>
              <a:rPr lang="en-US" sz="1400" dirty="0">
                <a:gradFill>
                  <a:gsLst>
                    <a:gs pos="2917">
                      <a:schemeClr val="tx1"/>
                    </a:gs>
                    <a:gs pos="30000">
                      <a:schemeClr val="tx1"/>
                    </a:gs>
                  </a:gsLst>
                  <a:lin ang="5400000" scaled="0"/>
                </a:gradFill>
                <a:latin typeface="Calibri" panose="020F0502020204030204" pitchFamily="34" charset="0"/>
                <a:cs typeface="Calibri" panose="020F0502020204030204" pitchFamily="34" charset="0"/>
              </a:rPr>
              <a:t>Creates Host Pools</a:t>
            </a:r>
          </a:p>
        </p:txBody>
      </p:sp>
      <p:sp>
        <p:nvSpPr>
          <p:cNvPr id="283" name="TextBox 282">
            <a:extLst>
              <a:ext uri="{FF2B5EF4-FFF2-40B4-BE49-F238E27FC236}">
                <a16:creationId xmlns:a16="http://schemas.microsoft.com/office/drawing/2014/main" id="{47611F1F-E250-4BD2-BEFA-E0E81A3D5E55}"/>
              </a:ext>
            </a:extLst>
          </p:cNvPr>
          <p:cNvSpPr txBox="1"/>
          <p:nvPr/>
        </p:nvSpPr>
        <p:spPr>
          <a:xfrm>
            <a:off x="3829719" y="6413033"/>
            <a:ext cx="1617989" cy="430887"/>
          </a:xfrm>
          <a:prstGeom prst="rect">
            <a:avLst/>
          </a:prstGeom>
          <a:solidFill>
            <a:schemeClr val="bg1"/>
          </a:solidFill>
        </p:spPr>
        <p:txBody>
          <a:bodyPr wrap="square" lIns="0" tIns="0" rIns="0" bIns="0" rtlCol="0">
            <a:spAutoFit/>
          </a:bodyPr>
          <a:lstStyle/>
          <a:p>
            <a:pPr algn="ctr"/>
            <a:r>
              <a:rPr lang="en-US" sz="1400" dirty="0">
                <a:gradFill>
                  <a:gsLst>
                    <a:gs pos="2917">
                      <a:schemeClr val="tx1"/>
                    </a:gs>
                    <a:gs pos="30000">
                      <a:schemeClr val="tx1"/>
                    </a:gs>
                  </a:gsLst>
                  <a:lin ang="5400000" scaled="0"/>
                </a:gradFill>
                <a:latin typeface="Calibri" panose="020F0502020204030204" pitchFamily="34" charset="0"/>
                <a:cs typeface="Calibri" panose="020F0502020204030204" pitchFamily="34" charset="0"/>
              </a:rPr>
              <a:t>Grants User Access to Host Pools</a:t>
            </a:r>
          </a:p>
        </p:txBody>
      </p:sp>
    </p:spTree>
    <p:extLst>
      <p:ext uri="{BB962C8B-B14F-4D97-AF65-F5344CB8AC3E}">
        <p14:creationId xmlns:p14="http://schemas.microsoft.com/office/powerpoint/2010/main" val="23142729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208"/>
                                        </p:tgtEl>
                                        <p:attrNameLst>
                                          <p:attrName>style.visibility</p:attrName>
                                        </p:attrNameLst>
                                      </p:cBhvr>
                                      <p:to>
                                        <p:strVal val="visible"/>
                                      </p:to>
                                    </p:set>
                                    <p:animEffect transition="in" filter="wipe(down)">
                                      <p:cBhvr>
                                        <p:cTn id="7" dur="500"/>
                                        <p:tgtEl>
                                          <p:spTgt spid="208"/>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7284"/>
                                        </p:tgtEl>
                                        <p:attrNameLst>
                                          <p:attrName>style.visibility</p:attrName>
                                        </p:attrNameLst>
                                      </p:cBhvr>
                                      <p:to>
                                        <p:strVal val="visible"/>
                                      </p:to>
                                    </p:set>
                                    <p:animEffect transition="in" filter="wipe(down)">
                                      <p:cBhvr>
                                        <p:cTn id="10" dur="500"/>
                                        <p:tgtEl>
                                          <p:spTgt spid="7284"/>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1" fill="hold" nodeType="click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wipe(up)">
                                      <p:cBhvr>
                                        <p:cTn id="15" dur="500"/>
                                        <p:tgtEl>
                                          <p:spTgt spid="2"/>
                                        </p:tgtEl>
                                      </p:cBhvr>
                                    </p:animEffect>
                                  </p:childTnLst>
                                </p:cTn>
                              </p:par>
                              <p:par>
                                <p:cTn id="16" presetID="22" presetClass="entr" presetSubtype="1" fill="hold" grpId="0" nodeType="withEffect">
                                  <p:stCondLst>
                                    <p:cond delay="0"/>
                                  </p:stCondLst>
                                  <p:childTnLst>
                                    <p:set>
                                      <p:cBhvr>
                                        <p:cTn id="17" dur="1" fill="hold">
                                          <p:stCondLst>
                                            <p:cond delay="0"/>
                                          </p:stCondLst>
                                        </p:cTn>
                                        <p:tgtEl>
                                          <p:spTgt spid="7305"/>
                                        </p:tgtEl>
                                        <p:attrNameLst>
                                          <p:attrName>style.visibility</p:attrName>
                                        </p:attrNameLst>
                                      </p:cBhvr>
                                      <p:to>
                                        <p:strVal val="visible"/>
                                      </p:to>
                                    </p:set>
                                    <p:animEffect transition="in" filter="wipe(up)">
                                      <p:cBhvr>
                                        <p:cTn id="18" dur="500"/>
                                        <p:tgtEl>
                                          <p:spTgt spid="7305"/>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xit" presetSubtype="0" fill="hold" nodeType="clickEffect">
                                  <p:stCondLst>
                                    <p:cond delay="0"/>
                                  </p:stCondLst>
                                  <p:childTnLst>
                                    <p:animEffect transition="out" filter="fade">
                                      <p:cBhvr>
                                        <p:cTn id="22" dur="500"/>
                                        <p:tgtEl>
                                          <p:spTgt spid="235"/>
                                        </p:tgtEl>
                                      </p:cBhvr>
                                    </p:animEffect>
                                    <p:set>
                                      <p:cBhvr>
                                        <p:cTn id="23" dur="1" fill="hold">
                                          <p:stCondLst>
                                            <p:cond delay="499"/>
                                          </p:stCondLst>
                                        </p:cTn>
                                        <p:tgtEl>
                                          <p:spTgt spid="235"/>
                                        </p:tgtEl>
                                        <p:attrNameLst>
                                          <p:attrName>style.visibility</p:attrName>
                                        </p:attrNameLst>
                                      </p:cBhvr>
                                      <p:to>
                                        <p:strVal val="hidden"/>
                                      </p:to>
                                    </p:set>
                                  </p:childTnLst>
                                </p:cTn>
                              </p:par>
                              <p:par>
                                <p:cTn id="24" presetID="22" presetClass="entr" presetSubtype="1" fill="hold" grpId="0" nodeType="withEffect">
                                  <p:stCondLst>
                                    <p:cond delay="0"/>
                                  </p:stCondLst>
                                  <p:childTnLst>
                                    <p:set>
                                      <p:cBhvr>
                                        <p:cTn id="25" dur="1" fill="hold">
                                          <p:stCondLst>
                                            <p:cond delay="0"/>
                                          </p:stCondLst>
                                        </p:cTn>
                                        <p:tgtEl>
                                          <p:spTgt spid="7288"/>
                                        </p:tgtEl>
                                        <p:attrNameLst>
                                          <p:attrName>style.visibility</p:attrName>
                                        </p:attrNameLst>
                                      </p:cBhvr>
                                      <p:to>
                                        <p:strVal val="visible"/>
                                      </p:to>
                                    </p:set>
                                    <p:animEffect transition="in" filter="wipe(up)">
                                      <p:cBhvr>
                                        <p:cTn id="26" dur="500"/>
                                        <p:tgtEl>
                                          <p:spTgt spid="7288"/>
                                        </p:tgtEl>
                                      </p:cBhvr>
                                    </p:animEffect>
                                  </p:childTnLst>
                                </p:cTn>
                              </p:par>
                              <p:par>
                                <p:cTn id="27" presetID="22" presetClass="entr" presetSubtype="1" fill="hold" grpId="0" nodeType="withEffect">
                                  <p:stCondLst>
                                    <p:cond delay="0"/>
                                  </p:stCondLst>
                                  <p:childTnLst>
                                    <p:set>
                                      <p:cBhvr>
                                        <p:cTn id="28" dur="1" fill="hold">
                                          <p:stCondLst>
                                            <p:cond delay="0"/>
                                          </p:stCondLst>
                                        </p:cTn>
                                        <p:tgtEl>
                                          <p:spTgt spid="209"/>
                                        </p:tgtEl>
                                        <p:attrNameLst>
                                          <p:attrName>style.visibility</p:attrName>
                                        </p:attrNameLst>
                                      </p:cBhvr>
                                      <p:to>
                                        <p:strVal val="visible"/>
                                      </p:to>
                                    </p:set>
                                    <p:animEffect transition="in" filter="wipe(up)">
                                      <p:cBhvr>
                                        <p:cTn id="29" dur="500"/>
                                        <p:tgtEl>
                                          <p:spTgt spid="209"/>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7308"/>
                                        </p:tgtEl>
                                        <p:attrNameLst>
                                          <p:attrName>style.visibility</p:attrName>
                                        </p:attrNameLst>
                                      </p:cBhvr>
                                      <p:to>
                                        <p:strVal val="visible"/>
                                      </p:to>
                                    </p:set>
                                    <p:animEffect transition="in" filter="wipe(up)">
                                      <p:cBhvr>
                                        <p:cTn id="32" dur="500"/>
                                        <p:tgtEl>
                                          <p:spTgt spid="7308"/>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286"/>
                                        </p:tgtEl>
                                        <p:attrNameLst>
                                          <p:attrName>style.visibility</p:attrName>
                                        </p:attrNameLst>
                                      </p:cBhvr>
                                      <p:to>
                                        <p:strVal val="visible"/>
                                      </p:to>
                                    </p:set>
                                    <p:animEffect transition="in" filter="wipe(up)">
                                      <p:cBhvr>
                                        <p:cTn id="35" dur="500"/>
                                        <p:tgtEl>
                                          <p:spTgt spid="286"/>
                                        </p:tgtEl>
                                      </p:cBhvr>
                                    </p:animEffect>
                                  </p:childTnLst>
                                </p:cTn>
                              </p:par>
                              <p:par>
                                <p:cTn id="36" presetID="1" presetClass="entr" presetSubtype="0" fill="hold" grpId="0" nodeType="withEffect">
                                  <p:stCondLst>
                                    <p:cond delay="0"/>
                                  </p:stCondLst>
                                  <p:childTnLst>
                                    <p:set>
                                      <p:cBhvr>
                                        <p:cTn id="37" dur="1" fill="hold">
                                          <p:stCondLst>
                                            <p:cond delay="0"/>
                                          </p:stCondLst>
                                        </p:cTn>
                                        <p:tgtEl>
                                          <p:spTgt spid="3"/>
                                        </p:tgtEl>
                                        <p:attrNameLst>
                                          <p:attrName>style.visibility</p:attrName>
                                        </p:attrNameLst>
                                      </p:cBhvr>
                                      <p:to>
                                        <p:strVal val="visible"/>
                                      </p:to>
                                    </p:set>
                                  </p:childTnLst>
                                </p:cTn>
                              </p:par>
                            </p:childTnLst>
                          </p:cTn>
                        </p:par>
                      </p:childTnLst>
                    </p:cTn>
                  </p:par>
                  <p:par>
                    <p:cTn id="38" fill="hold">
                      <p:stCondLst>
                        <p:cond delay="indefinite"/>
                      </p:stCondLst>
                      <p:childTnLst>
                        <p:par>
                          <p:cTn id="39" fill="hold">
                            <p:stCondLst>
                              <p:cond delay="0"/>
                            </p:stCondLst>
                            <p:childTnLst>
                              <p:par>
                                <p:cTn id="40" presetID="22" presetClass="entr" presetSubtype="1" fill="hold" grpId="0" nodeType="clickEffect">
                                  <p:stCondLst>
                                    <p:cond delay="0"/>
                                  </p:stCondLst>
                                  <p:childTnLst>
                                    <p:set>
                                      <p:cBhvr>
                                        <p:cTn id="41" dur="1" fill="hold">
                                          <p:stCondLst>
                                            <p:cond delay="0"/>
                                          </p:stCondLst>
                                        </p:cTn>
                                        <p:tgtEl>
                                          <p:spTgt spid="281"/>
                                        </p:tgtEl>
                                        <p:attrNameLst>
                                          <p:attrName>style.visibility</p:attrName>
                                        </p:attrNameLst>
                                      </p:cBhvr>
                                      <p:to>
                                        <p:strVal val="visible"/>
                                      </p:to>
                                    </p:set>
                                    <p:animEffect transition="in" filter="wipe(up)">
                                      <p:cBhvr>
                                        <p:cTn id="42" dur="500"/>
                                        <p:tgtEl>
                                          <p:spTgt spid="281"/>
                                        </p:tgtEl>
                                      </p:cBhvr>
                                    </p:animEffect>
                                  </p:childTnLst>
                                </p:cTn>
                              </p:par>
                              <p:par>
                                <p:cTn id="43" presetID="22" presetClass="entr" presetSubtype="1" fill="hold" nodeType="withEffect">
                                  <p:stCondLst>
                                    <p:cond delay="0"/>
                                  </p:stCondLst>
                                  <p:childTnLst>
                                    <p:set>
                                      <p:cBhvr>
                                        <p:cTn id="44" dur="1" fill="hold">
                                          <p:stCondLst>
                                            <p:cond delay="0"/>
                                          </p:stCondLst>
                                        </p:cTn>
                                        <p:tgtEl>
                                          <p:spTgt spid="274"/>
                                        </p:tgtEl>
                                        <p:attrNameLst>
                                          <p:attrName>style.visibility</p:attrName>
                                        </p:attrNameLst>
                                      </p:cBhvr>
                                      <p:to>
                                        <p:strVal val="visible"/>
                                      </p:to>
                                    </p:set>
                                    <p:animEffect transition="in" filter="wipe(up)">
                                      <p:cBhvr>
                                        <p:cTn id="45" dur="500"/>
                                        <p:tgtEl>
                                          <p:spTgt spid="274"/>
                                        </p:tgtEl>
                                      </p:cBhvr>
                                    </p:animEffect>
                                  </p:childTnLst>
                                </p:cTn>
                              </p:par>
                            </p:childTnLst>
                          </p:cTn>
                        </p:par>
                      </p:childTnLst>
                    </p:cTn>
                  </p:par>
                  <p:par>
                    <p:cTn id="46" fill="hold">
                      <p:stCondLst>
                        <p:cond delay="indefinite"/>
                      </p:stCondLst>
                      <p:childTnLst>
                        <p:par>
                          <p:cTn id="47" fill="hold">
                            <p:stCondLst>
                              <p:cond delay="0"/>
                            </p:stCondLst>
                            <p:childTnLst>
                              <p:par>
                                <p:cTn id="48" presetID="22" presetClass="entr" presetSubtype="4" fill="hold" grpId="0" nodeType="clickEffect">
                                  <p:stCondLst>
                                    <p:cond delay="0"/>
                                  </p:stCondLst>
                                  <p:childTnLst>
                                    <p:set>
                                      <p:cBhvr>
                                        <p:cTn id="49" dur="1" fill="hold">
                                          <p:stCondLst>
                                            <p:cond delay="0"/>
                                          </p:stCondLst>
                                        </p:cTn>
                                        <p:tgtEl>
                                          <p:spTgt spid="282"/>
                                        </p:tgtEl>
                                        <p:attrNameLst>
                                          <p:attrName>style.visibility</p:attrName>
                                        </p:attrNameLst>
                                      </p:cBhvr>
                                      <p:to>
                                        <p:strVal val="visible"/>
                                      </p:to>
                                    </p:set>
                                    <p:animEffect transition="in" filter="wipe(down)">
                                      <p:cBhvr>
                                        <p:cTn id="50" dur="500"/>
                                        <p:tgtEl>
                                          <p:spTgt spid="282"/>
                                        </p:tgtEl>
                                      </p:cBhvr>
                                    </p:animEffect>
                                  </p:childTnLst>
                                </p:cTn>
                              </p:par>
                              <p:par>
                                <p:cTn id="51" presetID="22" presetClass="entr" presetSubtype="8" fill="hold" grpId="0" nodeType="withEffect">
                                  <p:stCondLst>
                                    <p:cond delay="0"/>
                                  </p:stCondLst>
                                  <p:childTnLst>
                                    <p:set>
                                      <p:cBhvr>
                                        <p:cTn id="52" dur="1" fill="hold">
                                          <p:stCondLst>
                                            <p:cond delay="0"/>
                                          </p:stCondLst>
                                        </p:cTn>
                                        <p:tgtEl>
                                          <p:spTgt spid="6"/>
                                        </p:tgtEl>
                                        <p:attrNameLst>
                                          <p:attrName>style.visibility</p:attrName>
                                        </p:attrNameLst>
                                      </p:cBhvr>
                                      <p:to>
                                        <p:strVal val="visible"/>
                                      </p:to>
                                    </p:set>
                                    <p:animEffect transition="in" filter="wipe(left)">
                                      <p:cBhvr>
                                        <p:cTn id="53" dur="500"/>
                                        <p:tgtEl>
                                          <p:spTgt spid="6"/>
                                        </p:tgtEl>
                                      </p:cBhvr>
                                    </p:animEffect>
                                  </p:childTnLst>
                                </p:cTn>
                              </p:par>
                              <p:par>
                                <p:cTn id="54" presetID="22" presetClass="entr" presetSubtype="8" fill="hold" nodeType="withEffect">
                                  <p:stCondLst>
                                    <p:cond delay="0"/>
                                  </p:stCondLst>
                                  <p:childTnLst>
                                    <p:set>
                                      <p:cBhvr>
                                        <p:cTn id="55" dur="1" fill="hold">
                                          <p:stCondLst>
                                            <p:cond delay="0"/>
                                          </p:stCondLst>
                                        </p:cTn>
                                        <p:tgtEl>
                                          <p:spTgt spid="7174"/>
                                        </p:tgtEl>
                                        <p:attrNameLst>
                                          <p:attrName>style.visibility</p:attrName>
                                        </p:attrNameLst>
                                      </p:cBhvr>
                                      <p:to>
                                        <p:strVal val="visible"/>
                                      </p:to>
                                    </p:set>
                                    <p:animEffect transition="in" filter="wipe(left)">
                                      <p:cBhvr>
                                        <p:cTn id="56" dur="500"/>
                                        <p:tgtEl>
                                          <p:spTgt spid="7174"/>
                                        </p:tgtEl>
                                      </p:cBhvr>
                                    </p:animEffect>
                                  </p:childTnLst>
                                </p:cTn>
                              </p:par>
                              <p:par>
                                <p:cTn id="57" presetID="22" presetClass="entr" presetSubtype="8" fill="hold" grpId="0" nodeType="withEffect">
                                  <p:stCondLst>
                                    <p:cond delay="0"/>
                                  </p:stCondLst>
                                  <p:childTnLst>
                                    <p:set>
                                      <p:cBhvr>
                                        <p:cTn id="58" dur="1" fill="hold">
                                          <p:stCondLst>
                                            <p:cond delay="0"/>
                                          </p:stCondLst>
                                        </p:cTn>
                                        <p:tgtEl>
                                          <p:spTgt spid="7"/>
                                        </p:tgtEl>
                                        <p:attrNameLst>
                                          <p:attrName>style.visibility</p:attrName>
                                        </p:attrNameLst>
                                      </p:cBhvr>
                                      <p:to>
                                        <p:strVal val="visible"/>
                                      </p:to>
                                    </p:set>
                                    <p:animEffect transition="in" filter="wipe(left)">
                                      <p:cBhvr>
                                        <p:cTn id="59" dur="500"/>
                                        <p:tgtEl>
                                          <p:spTgt spid="7"/>
                                        </p:tgtEl>
                                      </p:cBhvr>
                                    </p:animEffect>
                                  </p:childTnLst>
                                </p:cTn>
                              </p:par>
                              <p:par>
                                <p:cTn id="60" presetID="22" presetClass="entr" presetSubtype="8" fill="hold" grpId="0" nodeType="withEffect">
                                  <p:stCondLst>
                                    <p:cond delay="0"/>
                                  </p:stCondLst>
                                  <p:childTnLst>
                                    <p:set>
                                      <p:cBhvr>
                                        <p:cTn id="61" dur="1" fill="hold">
                                          <p:stCondLst>
                                            <p:cond delay="0"/>
                                          </p:stCondLst>
                                        </p:cTn>
                                        <p:tgtEl>
                                          <p:spTgt spid="7171"/>
                                        </p:tgtEl>
                                        <p:attrNameLst>
                                          <p:attrName>style.visibility</p:attrName>
                                        </p:attrNameLst>
                                      </p:cBhvr>
                                      <p:to>
                                        <p:strVal val="visible"/>
                                      </p:to>
                                    </p:set>
                                    <p:animEffect transition="in" filter="wipe(left)">
                                      <p:cBhvr>
                                        <p:cTn id="62" dur="500"/>
                                        <p:tgtEl>
                                          <p:spTgt spid="7171"/>
                                        </p:tgtEl>
                                      </p:cBhvr>
                                    </p:animEffect>
                                  </p:childTnLst>
                                </p:cTn>
                              </p:par>
                              <p:par>
                                <p:cTn id="63" presetID="22" presetClass="entr" presetSubtype="8" fill="hold" nodeType="withEffect">
                                  <p:stCondLst>
                                    <p:cond delay="0"/>
                                  </p:stCondLst>
                                  <p:childTnLst>
                                    <p:set>
                                      <p:cBhvr>
                                        <p:cTn id="64" dur="1" fill="hold">
                                          <p:stCondLst>
                                            <p:cond delay="0"/>
                                          </p:stCondLst>
                                        </p:cTn>
                                        <p:tgtEl>
                                          <p:spTgt spid="7236"/>
                                        </p:tgtEl>
                                        <p:attrNameLst>
                                          <p:attrName>style.visibility</p:attrName>
                                        </p:attrNameLst>
                                      </p:cBhvr>
                                      <p:to>
                                        <p:strVal val="visible"/>
                                      </p:to>
                                    </p:set>
                                    <p:animEffect transition="in" filter="wipe(left)">
                                      <p:cBhvr>
                                        <p:cTn id="65" dur="500"/>
                                        <p:tgtEl>
                                          <p:spTgt spid="7236"/>
                                        </p:tgtEl>
                                      </p:cBhvr>
                                    </p:animEffect>
                                  </p:childTnLst>
                                </p:cTn>
                              </p:par>
                              <p:par>
                                <p:cTn id="66" presetID="22" presetClass="entr" presetSubtype="8" fill="hold" grpId="0" nodeType="withEffect">
                                  <p:stCondLst>
                                    <p:cond delay="0"/>
                                  </p:stCondLst>
                                  <p:childTnLst>
                                    <p:set>
                                      <p:cBhvr>
                                        <p:cTn id="67" dur="1" fill="hold">
                                          <p:stCondLst>
                                            <p:cond delay="0"/>
                                          </p:stCondLst>
                                        </p:cTn>
                                        <p:tgtEl>
                                          <p:spTgt spid="7172"/>
                                        </p:tgtEl>
                                        <p:attrNameLst>
                                          <p:attrName>style.visibility</p:attrName>
                                        </p:attrNameLst>
                                      </p:cBhvr>
                                      <p:to>
                                        <p:strVal val="visible"/>
                                      </p:to>
                                    </p:set>
                                    <p:animEffect transition="in" filter="wipe(left)">
                                      <p:cBhvr>
                                        <p:cTn id="68" dur="500"/>
                                        <p:tgtEl>
                                          <p:spTgt spid="7172"/>
                                        </p:tgtEl>
                                      </p:cBhvr>
                                    </p:animEffect>
                                  </p:childTnLst>
                                </p:cTn>
                              </p:par>
                              <p:par>
                                <p:cTn id="69" presetID="22" presetClass="entr" presetSubtype="8" fill="hold" grpId="0" nodeType="withEffect">
                                  <p:stCondLst>
                                    <p:cond delay="0"/>
                                  </p:stCondLst>
                                  <p:childTnLst>
                                    <p:set>
                                      <p:cBhvr>
                                        <p:cTn id="70" dur="1" fill="hold">
                                          <p:stCondLst>
                                            <p:cond delay="0"/>
                                          </p:stCondLst>
                                        </p:cTn>
                                        <p:tgtEl>
                                          <p:spTgt spid="7196"/>
                                        </p:tgtEl>
                                        <p:attrNameLst>
                                          <p:attrName>style.visibility</p:attrName>
                                        </p:attrNameLst>
                                      </p:cBhvr>
                                      <p:to>
                                        <p:strVal val="visible"/>
                                      </p:to>
                                    </p:set>
                                    <p:animEffect transition="in" filter="wipe(left)">
                                      <p:cBhvr>
                                        <p:cTn id="71" dur="500"/>
                                        <p:tgtEl>
                                          <p:spTgt spid="7196"/>
                                        </p:tgtEl>
                                      </p:cBhvr>
                                    </p:animEffect>
                                  </p:childTnLst>
                                </p:cTn>
                              </p:par>
                              <p:par>
                                <p:cTn id="72" presetID="22" presetClass="entr" presetSubtype="8" fill="hold" nodeType="withEffect">
                                  <p:stCondLst>
                                    <p:cond delay="0"/>
                                  </p:stCondLst>
                                  <p:childTnLst>
                                    <p:set>
                                      <p:cBhvr>
                                        <p:cTn id="73" dur="1" fill="hold">
                                          <p:stCondLst>
                                            <p:cond delay="0"/>
                                          </p:stCondLst>
                                        </p:cTn>
                                        <p:tgtEl>
                                          <p:spTgt spid="7265"/>
                                        </p:tgtEl>
                                        <p:attrNameLst>
                                          <p:attrName>style.visibility</p:attrName>
                                        </p:attrNameLst>
                                      </p:cBhvr>
                                      <p:to>
                                        <p:strVal val="visible"/>
                                      </p:to>
                                    </p:set>
                                    <p:animEffect transition="in" filter="wipe(left)">
                                      <p:cBhvr>
                                        <p:cTn id="74" dur="500"/>
                                        <p:tgtEl>
                                          <p:spTgt spid="7265"/>
                                        </p:tgtEl>
                                      </p:cBhvr>
                                    </p:animEffect>
                                  </p:childTnLst>
                                </p:cTn>
                              </p:par>
                              <p:par>
                                <p:cTn id="75" presetID="22" presetClass="entr" presetSubtype="8" fill="hold" grpId="0" nodeType="withEffect">
                                  <p:stCondLst>
                                    <p:cond delay="0"/>
                                  </p:stCondLst>
                                  <p:childTnLst>
                                    <p:set>
                                      <p:cBhvr>
                                        <p:cTn id="76" dur="1" fill="hold">
                                          <p:stCondLst>
                                            <p:cond delay="0"/>
                                          </p:stCondLst>
                                        </p:cTn>
                                        <p:tgtEl>
                                          <p:spTgt spid="7197"/>
                                        </p:tgtEl>
                                        <p:attrNameLst>
                                          <p:attrName>style.visibility</p:attrName>
                                        </p:attrNameLst>
                                      </p:cBhvr>
                                      <p:to>
                                        <p:strVal val="visible"/>
                                      </p:to>
                                    </p:set>
                                    <p:animEffect transition="in" filter="wipe(left)">
                                      <p:cBhvr>
                                        <p:cTn id="77" dur="500"/>
                                        <p:tgtEl>
                                          <p:spTgt spid="7197"/>
                                        </p:tgtEl>
                                      </p:cBhvr>
                                    </p:animEffect>
                                  </p:childTnLst>
                                </p:cTn>
                              </p:par>
                              <p:par>
                                <p:cTn id="78" presetID="22" presetClass="entr" presetSubtype="8" fill="hold" grpId="0" nodeType="withEffect">
                                  <p:stCondLst>
                                    <p:cond delay="0"/>
                                  </p:stCondLst>
                                  <p:childTnLst>
                                    <p:set>
                                      <p:cBhvr>
                                        <p:cTn id="79" dur="1" fill="hold">
                                          <p:stCondLst>
                                            <p:cond delay="0"/>
                                          </p:stCondLst>
                                        </p:cTn>
                                        <p:tgtEl>
                                          <p:spTgt spid="7241"/>
                                        </p:tgtEl>
                                        <p:attrNameLst>
                                          <p:attrName>style.visibility</p:attrName>
                                        </p:attrNameLst>
                                      </p:cBhvr>
                                      <p:to>
                                        <p:strVal val="visible"/>
                                      </p:to>
                                    </p:set>
                                    <p:animEffect transition="in" filter="wipe(left)">
                                      <p:cBhvr>
                                        <p:cTn id="80" dur="500"/>
                                        <p:tgtEl>
                                          <p:spTgt spid="7241"/>
                                        </p:tgtEl>
                                      </p:cBhvr>
                                    </p:animEffect>
                                  </p:childTnLst>
                                </p:cTn>
                              </p:par>
                              <p:par>
                                <p:cTn id="81" presetID="22" presetClass="entr" presetSubtype="8" fill="hold" grpId="0" nodeType="withEffect">
                                  <p:stCondLst>
                                    <p:cond delay="0"/>
                                  </p:stCondLst>
                                  <p:childTnLst>
                                    <p:set>
                                      <p:cBhvr>
                                        <p:cTn id="82" dur="1" fill="hold">
                                          <p:stCondLst>
                                            <p:cond delay="0"/>
                                          </p:stCondLst>
                                        </p:cTn>
                                        <p:tgtEl>
                                          <p:spTgt spid="7240"/>
                                        </p:tgtEl>
                                        <p:attrNameLst>
                                          <p:attrName>style.visibility</p:attrName>
                                        </p:attrNameLst>
                                      </p:cBhvr>
                                      <p:to>
                                        <p:strVal val="visible"/>
                                      </p:to>
                                    </p:set>
                                    <p:animEffect transition="in" filter="wipe(left)">
                                      <p:cBhvr>
                                        <p:cTn id="83" dur="500"/>
                                        <p:tgtEl>
                                          <p:spTgt spid="7240"/>
                                        </p:tgtEl>
                                      </p:cBhvr>
                                    </p:animEffect>
                                  </p:childTnLst>
                                </p:cTn>
                              </p:par>
                            </p:childTnLst>
                          </p:cTn>
                        </p:par>
                      </p:childTnLst>
                    </p:cTn>
                  </p:par>
                  <p:par>
                    <p:cTn id="84" fill="hold">
                      <p:stCondLst>
                        <p:cond delay="indefinite"/>
                      </p:stCondLst>
                      <p:childTnLst>
                        <p:par>
                          <p:cTn id="85" fill="hold">
                            <p:stCondLst>
                              <p:cond delay="0"/>
                            </p:stCondLst>
                            <p:childTnLst>
                              <p:par>
                                <p:cTn id="86" presetID="22" presetClass="entr" presetSubtype="4" fill="hold" grpId="0" nodeType="clickEffect">
                                  <p:stCondLst>
                                    <p:cond delay="0"/>
                                  </p:stCondLst>
                                  <p:childTnLst>
                                    <p:set>
                                      <p:cBhvr>
                                        <p:cTn id="87" dur="1" fill="hold">
                                          <p:stCondLst>
                                            <p:cond delay="0"/>
                                          </p:stCondLst>
                                        </p:cTn>
                                        <p:tgtEl>
                                          <p:spTgt spid="7173"/>
                                        </p:tgtEl>
                                        <p:attrNameLst>
                                          <p:attrName>style.visibility</p:attrName>
                                        </p:attrNameLst>
                                      </p:cBhvr>
                                      <p:to>
                                        <p:strVal val="visible"/>
                                      </p:to>
                                    </p:set>
                                    <p:animEffect transition="in" filter="wipe(down)">
                                      <p:cBhvr>
                                        <p:cTn id="88" dur="500"/>
                                        <p:tgtEl>
                                          <p:spTgt spid="7173"/>
                                        </p:tgtEl>
                                      </p:cBhvr>
                                    </p:animEffect>
                                  </p:childTnLst>
                                </p:cTn>
                              </p:par>
                              <p:par>
                                <p:cTn id="89" presetID="22" presetClass="entr" presetSubtype="4" fill="hold" grpId="0" nodeType="withEffect">
                                  <p:stCondLst>
                                    <p:cond delay="0"/>
                                  </p:stCondLst>
                                  <p:childTnLst>
                                    <p:set>
                                      <p:cBhvr>
                                        <p:cTn id="90" dur="1" fill="hold">
                                          <p:stCondLst>
                                            <p:cond delay="0"/>
                                          </p:stCondLst>
                                        </p:cTn>
                                        <p:tgtEl>
                                          <p:spTgt spid="261"/>
                                        </p:tgtEl>
                                        <p:attrNameLst>
                                          <p:attrName>style.visibility</p:attrName>
                                        </p:attrNameLst>
                                      </p:cBhvr>
                                      <p:to>
                                        <p:strVal val="visible"/>
                                      </p:to>
                                    </p:set>
                                    <p:animEffect transition="in" filter="wipe(down)">
                                      <p:cBhvr>
                                        <p:cTn id="91" dur="500"/>
                                        <p:tgtEl>
                                          <p:spTgt spid="261"/>
                                        </p:tgtEl>
                                      </p:cBhvr>
                                    </p:animEffect>
                                  </p:childTnLst>
                                </p:cTn>
                              </p:par>
                            </p:childTnLst>
                          </p:cTn>
                        </p:par>
                        <p:par>
                          <p:cTn id="92" fill="hold">
                            <p:stCondLst>
                              <p:cond delay="500"/>
                            </p:stCondLst>
                            <p:childTnLst>
                              <p:par>
                                <p:cTn id="93" presetID="10" presetClass="entr" presetSubtype="0" fill="hold" nodeType="afterEffect">
                                  <p:stCondLst>
                                    <p:cond delay="0"/>
                                  </p:stCondLst>
                                  <p:childTnLst>
                                    <p:set>
                                      <p:cBhvr>
                                        <p:cTn id="94" dur="1" fill="hold">
                                          <p:stCondLst>
                                            <p:cond delay="0"/>
                                          </p:stCondLst>
                                        </p:cTn>
                                        <p:tgtEl>
                                          <p:spTgt spid="262"/>
                                        </p:tgtEl>
                                        <p:attrNameLst>
                                          <p:attrName>style.visibility</p:attrName>
                                        </p:attrNameLst>
                                      </p:cBhvr>
                                      <p:to>
                                        <p:strVal val="visible"/>
                                      </p:to>
                                    </p:set>
                                    <p:animEffect transition="in" filter="fade">
                                      <p:cBhvr>
                                        <p:cTn id="95" dur="250"/>
                                        <p:tgtEl>
                                          <p:spTgt spid="262"/>
                                        </p:tgtEl>
                                      </p:cBhvr>
                                    </p:animEffect>
                                  </p:childTnLst>
                                </p:cTn>
                              </p:par>
                            </p:childTnLst>
                          </p:cTn>
                        </p:par>
                        <p:par>
                          <p:cTn id="96" fill="hold">
                            <p:stCondLst>
                              <p:cond delay="750"/>
                            </p:stCondLst>
                            <p:childTnLst>
                              <p:par>
                                <p:cTn id="97" presetID="10" presetClass="entr" presetSubtype="0" fill="hold" nodeType="afterEffect">
                                  <p:stCondLst>
                                    <p:cond delay="0"/>
                                  </p:stCondLst>
                                  <p:childTnLst>
                                    <p:set>
                                      <p:cBhvr>
                                        <p:cTn id="98" dur="1" fill="hold">
                                          <p:stCondLst>
                                            <p:cond delay="0"/>
                                          </p:stCondLst>
                                        </p:cTn>
                                        <p:tgtEl>
                                          <p:spTgt spid="267"/>
                                        </p:tgtEl>
                                        <p:attrNameLst>
                                          <p:attrName>style.visibility</p:attrName>
                                        </p:attrNameLst>
                                      </p:cBhvr>
                                      <p:to>
                                        <p:strVal val="visible"/>
                                      </p:to>
                                    </p:set>
                                    <p:animEffect transition="in" filter="fade">
                                      <p:cBhvr>
                                        <p:cTn id="99" dur="250"/>
                                        <p:tgtEl>
                                          <p:spTgt spid="267"/>
                                        </p:tgtEl>
                                      </p:cBhvr>
                                    </p:animEffect>
                                  </p:childTnLst>
                                </p:cTn>
                              </p:par>
                            </p:childTnLst>
                          </p:cTn>
                        </p:par>
                        <p:par>
                          <p:cTn id="100" fill="hold">
                            <p:stCondLst>
                              <p:cond delay="1000"/>
                            </p:stCondLst>
                            <p:childTnLst>
                              <p:par>
                                <p:cTn id="101" presetID="10" presetClass="entr" presetSubtype="0" fill="hold" nodeType="afterEffect">
                                  <p:stCondLst>
                                    <p:cond delay="0"/>
                                  </p:stCondLst>
                                  <p:childTnLst>
                                    <p:set>
                                      <p:cBhvr>
                                        <p:cTn id="102" dur="1" fill="hold">
                                          <p:stCondLst>
                                            <p:cond delay="0"/>
                                          </p:stCondLst>
                                        </p:cTn>
                                        <p:tgtEl>
                                          <p:spTgt spid="268"/>
                                        </p:tgtEl>
                                        <p:attrNameLst>
                                          <p:attrName>style.visibility</p:attrName>
                                        </p:attrNameLst>
                                      </p:cBhvr>
                                      <p:to>
                                        <p:strVal val="visible"/>
                                      </p:to>
                                    </p:set>
                                    <p:animEffect transition="in" filter="fade">
                                      <p:cBhvr>
                                        <p:cTn id="103" dur="250"/>
                                        <p:tgtEl>
                                          <p:spTgt spid="268"/>
                                        </p:tgtEl>
                                      </p:cBhvr>
                                    </p:animEffect>
                                  </p:childTnLst>
                                </p:cTn>
                              </p:par>
                            </p:childTnLst>
                          </p:cTn>
                        </p:par>
                        <p:par>
                          <p:cTn id="104" fill="hold">
                            <p:stCondLst>
                              <p:cond delay="1250"/>
                            </p:stCondLst>
                            <p:childTnLst>
                              <p:par>
                                <p:cTn id="105" presetID="10" presetClass="entr" presetSubtype="0" fill="hold" nodeType="afterEffect">
                                  <p:stCondLst>
                                    <p:cond delay="0"/>
                                  </p:stCondLst>
                                  <p:childTnLst>
                                    <p:set>
                                      <p:cBhvr>
                                        <p:cTn id="106" dur="1" fill="hold">
                                          <p:stCondLst>
                                            <p:cond delay="0"/>
                                          </p:stCondLst>
                                        </p:cTn>
                                        <p:tgtEl>
                                          <p:spTgt spid="271"/>
                                        </p:tgtEl>
                                        <p:attrNameLst>
                                          <p:attrName>style.visibility</p:attrName>
                                        </p:attrNameLst>
                                      </p:cBhvr>
                                      <p:to>
                                        <p:strVal val="visible"/>
                                      </p:to>
                                    </p:set>
                                    <p:animEffect transition="in" filter="fade">
                                      <p:cBhvr>
                                        <p:cTn id="107" dur="250"/>
                                        <p:tgtEl>
                                          <p:spTgt spid="271"/>
                                        </p:tgtEl>
                                      </p:cBhvr>
                                    </p:animEffect>
                                  </p:childTnLst>
                                </p:cTn>
                              </p:par>
                            </p:childTnLst>
                          </p:cTn>
                        </p:par>
                      </p:childTnLst>
                    </p:cTn>
                  </p:par>
                  <p:par>
                    <p:cTn id="108" fill="hold">
                      <p:stCondLst>
                        <p:cond delay="indefinite"/>
                      </p:stCondLst>
                      <p:childTnLst>
                        <p:par>
                          <p:cTn id="109" fill="hold">
                            <p:stCondLst>
                              <p:cond delay="0"/>
                            </p:stCondLst>
                            <p:childTnLst>
                              <p:par>
                                <p:cTn id="110" presetID="22" presetClass="entr" presetSubtype="4" fill="hold" grpId="0" nodeType="clickEffect">
                                  <p:stCondLst>
                                    <p:cond delay="0"/>
                                  </p:stCondLst>
                                  <p:childTnLst>
                                    <p:set>
                                      <p:cBhvr>
                                        <p:cTn id="111" dur="1" fill="hold">
                                          <p:stCondLst>
                                            <p:cond delay="0"/>
                                          </p:stCondLst>
                                        </p:cTn>
                                        <p:tgtEl>
                                          <p:spTgt spid="283"/>
                                        </p:tgtEl>
                                        <p:attrNameLst>
                                          <p:attrName>style.visibility</p:attrName>
                                        </p:attrNameLst>
                                      </p:cBhvr>
                                      <p:to>
                                        <p:strVal val="visible"/>
                                      </p:to>
                                    </p:set>
                                    <p:animEffect transition="in" filter="wipe(down)">
                                      <p:cBhvr>
                                        <p:cTn id="112" dur="500"/>
                                        <p:tgtEl>
                                          <p:spTgt spid="283"/>
                                        </p:tgtEl>
                                      </p:cBhvr>
                                    </p:animEffect>
                                  </p:childTnLst>
                                </p:cTn>
                              </p:par>
                              <p:par>
                                <p:cTn id="113" presetID="22" presetClass="entr" presetSubtype="8" fill="hold" nodeType="withEffect">
                                  <p:stCondLst>
                                    <p:cond delay="0"/>
                                  </p:stCondLst>
                                  <p:childTnLst>
                                    <p:set>
                                      <p:cBhvr>
                                        <p:cTn id="114" dur="1" fill="hold">
                                          <p:stCondLst>
                                            <p:cond delay="0"/>
                                          </p:stCondLst>
                                        </p:cTn>
                                        <p:tgtEl>
                                          <p:spTgt spid="7312"/>
                                        </p:tgtEl>
                                        <p:attrNameLst>
                                          <p:attrName>style.visibility</p:attrName>
                                        </p:attrNameLst>
                                      </p:cBhvr>
                                      <p:to>
                                        <p:strVal val="visible"/>
                                      </p:to>
                                    </p:set>
                                    <p:animEffect transition="in" filter="wipe(left)">
                                      <p:cBhvr>
                                        <p:cTn id="115" dur="500"/>
                                        <p:tgtEl>
                                          <p:spTgt spid="73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84" grpId="0" animBg="1"/>
      <p:bldP spid="6" grpId="0" animBg="1"/>
      <p:bldP spid="7" grpId="0"/>
      <p:bldP spid="7171" grpId="0" animBg="1"/>
      <p:bldP spid="7172" grpId="0"/>
      <p:bldP spid="7196" grpId="0" animBg="1"/>
      <p:bldP spid="7197" grpId="0"/>
      <p:bldP spid="7241" grpId="0" animBg="1"/>
      <p:bldP spid="7305" grpId="0" animBg="1"/>
      <p:bldP spid="208" grpId="0" animBg="1"/>
      <p:bldP spid="209" grpId="0" animBg="1"/>
      <p:bldP spid="7288" grpId="0" animBg="1"/>
      <p:bldP spid="261" grpId="0" animBg="1"/>
      <p:bldP spid="281" grpId="0" animBg="1"/>
      <p:bldP spid="286" grpId="0" animBg="1"/>
      <p:bldP spid="7308" grpId="0" animBg="1"/>
      <p:bldP spid="7240" grpId="0" animBg="1"/>
      <p:bldP spid="7173" grpId="0" animBg="1"/>
      <p:bldP spid="3" grpId="0" animBg="1"/>
      <p:bldP spid="282" grpId="0" animBg="1"/>
      <p:bldP spid="283"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915989" y="2527855"/>
            <a:ext cx="9696593" cy="1846018"/>
          </a:xfrm>
        </p:spPr>
        <p:txBody>
          <a:bodyPr/>
          <a:lstStyle/>
          <a:p>
            <a:pPr algn="l"/>
            <a:r>
              <a:rPr lang="en-US" u="sng" dirty="0"/>
              <a:t>LAB WORK</a:t>
            </a:r>
            <a:r>
              <a:rPr lang="en-US" dirty="0"/>
              <a:t>: Create a WVD Tenant</a:t>
            </a:r>
          </a:p>
        </p:txBody>
      </p:sp>
    </p:spTree>
    <p:extLst>
      <p:ext uri="{BB962C8B-B14F-4D97-AF65-F5344CB8AC3E}">
        <p14:creationId xmlns:p14="http://schemas.microsoft.com/office/powerpoint/2010/main" val="27415671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_v03.potx" id="{5E894424-2207-423C-A364-F5291691CAB1}" vid="{DF080804-2077-43CC-975F-A513A0AE6AD8}"/>
    </a:ext>
  </a:extLst>
</a:theme>
</file>

<file path=ppt/theme/theme10.xml><?xml version="1.0" encoding="utf-8"?>
<a:theme xmlns:a="http://schemas.openxmlformats.org/drawingml/2006/main" name="1_Microsoft 365 PPT Template - 2018">
  <a:themeElements>
    <a:clrScheme name="Microsoft 365">
      <a:dk1>
        <a:srgbClr val="282828"/>
      </a:dk1>
      <a:lt1>
        <a:srgbClr val="FFFFFF"/>
      </a:lt1>
      <a:dk2>
        <a:srgbClr val="282828"/>
      </a:dk2>
      <a:lt2>
        <a:srgbClr val="FFFFFF"/>
      </a:lt2>
      <a:accent1>
        <a:srgbClr val="0078D7"/>
      </a:accent1>
      <a:accent2>
        <a:srgbClr val="002050"/>
      </a:accent2>
      <a:accent3>
        <a:srgbClr val="939393"/>
      </a:accent3>
      <a:accent4>
        <a:srgbClr val="00BCF2"/>
      </a:accent4>
      <a:accent5>
        <a:srgbClr val="6C6E6C"/>
      </a:accent5>
      <a:accent6>
        <a:srgbClr val="2E2F2E"/>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73EB1BD4-8DD0-42C8-81CF-E8FE58869E13}" vid="{7127501C-7AE5-48D0-B874-F536F38BF7C1}"/>
    </a:ext>
  </a:extLst>
</a:theme>
</file>

<file path=ppt/theme/theme11.xml><?xml version="1.0" encoding="utf-8"?>
<a:theme xmlns:a="http://schemas.openxmlformats.org/drawingml/2006/main" name="1_5-51011_Government_Leaders_Cloud_Forum">
  <a:themeElements>
    <a:clrScheme name="TT Blue on LtGray">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D2D2D2"/>
      </a:accent6>
      <a:hlink>
        <a:srgbClr val="00188F"/>
      </a:hlink>
      <a:folHlink>
        <a:srgbClr val="00188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GovCloudForum_Template_16x9.potx" id="{F20053EC-3F92-4DE8-8888-68F9854B32F4}" vid="{F473CEE3-1451-4243-9B18-6970ACA07E9A}"/>
    </a:ext>
  </a:extLst>
</a:theme>
</file>

<file path=ppt/theme/theme12.xml><?xml version="1.0" encoding="utf-8"?>
<a:theme xmlns:a="http://schemas.openxmlformats.org/drawingml/2006/main" name="2_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RDP Interoperability Template" id="{A764AEFB-53C6-46C6-BAD3-B54CADAE8876}" vid="{906031F9-1FD5-4435-8768-38C8D14EF749}"/>
    </a:ext>
  </a:extLst>
</a:theme>
</file>

<file path=ppt/theme/theme13.xml><?xml version="1.0" encoding="utf-8"?>
<a:theme xmlns:a="http://schemas.openxmlformats.org/drawingml/2006/main" name="MGXFY15 GS Template - white layout">
  <a:themeElements>
    <a:clrScheme name="Custom 7">
      <a:dk1>
        <a:srgbClr val="505050"/>
      </a:dk1>
      <a:lt1>
        <a:srgbClr val="FFFFFF"/>
      </a:lt1>
      <a:dk2>
        <a:srgbClr val="002050"/>
      </a:dk2>
      <a:lt2>
        <a:srgbClr val="D2D2D2"/>
      </a:lt2>
      <a:accent1>
        <a:srgbClr val="0072C6"/>
      </a:accent1>
      <a:accent2>
        <a:srgbClr val="4668C5"/>
      </a:accent2>
      <a:accent3>
        <a:srgbClr val="00188F"/>
      </a:accent3>
      <a:accent4>
        <a:srgbClr val="008272"/>
      </a:accent4>
      <a:accent5>
        <a:srgbClr val="68217A"/>
      </a:accent5>
      <a:accent6>
        <a:srgbClr val="007233"/>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8DFC0E8C-F612-43D4-B8FC-667019544AE0}" vid="{994DF28D-DE75-4646-8A9A-D8C01370DE62}"/>
    </a:ext>
  </a:extLst>
</a:theme>
</file>

<file path=ppt/theme/theme14.xml><?xml version="1.0" encoding="utf-8"?>
<a:theme xmlns:a="http://schemas.openxmlformats.org/drawingml/2006/main" name="1_5-30660_TR21_BO_CT_Template">
  <a:themeElements>
    <a:clrScheme name="Custom 12">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4DB0FF"/>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15.xml><?xml version="1.0" encoding="utf-8"?>
<a:theme xmlns:a="http://schemas.openxmlformats.org/drawingml/2006/main" name="2_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3.xml><?xml version="1.0" encoding="utf-8"?>
<a:theme xmlns:a="http://schemas.openxmlformats.org/drawingml/2006/main" name="WHITE TEMPLATE">
  <a:themeElements>
    <a:clrScheme name="ST_Illustration_White_Blue">
      <a:dk1>
        <a:srgbClr val="1A1A1A"/>
      </a:dk1>
      <a:lt1>
        <a:srgbClr val="FFFFFF"/>
      </a:lt1>
      <a:dk2>
        <a:srgbClr val="0D0D0D"/>
      </a:dk2>
      <a:lt2>
        <a:srgbClr val="D2D2D2"/>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Illustration_2018_Productivity_005.potx" id="{AA606812-F977-4A00-980C-EC807AB967DA}" vid="{D86BCC24-D797-4BAA-8B11-B4CE606927A1}"/>
    </a:ext>
  </a:extLst>
</a:theme>
</file>

<file path=ppt/theme/theme4.xml><?xml version="1.0" encoding="utf-8"?>
<a:theme xmlns:a="http://schemas.openxmlformats.org/drawingml/2006/main" name="Microsoft 365 PPT Template - 2018">
  <a:themeElements>
    <a:clrScheme name="Microsoft 365">
      <a:dk1>
        <a:srgbClr val="282828"/>
      </a:dk1>
      <a:lt1>
        <a:srgbClr val="FFFFFF"/>
      </a:lt1>
      <a:dk2>
        <a:srgbClr val="282828"/>
      </a:dk2>
      <a:lt2>
        <a:srgbClr val="FFFFFF"/>
      </a:lt2>
      <a:accent1>
        <a:srgbClr val="0078D7"/>
      </a:accent1>
      <a:accent2>
        <a:srgbClr val="002050"/>
      </a:accent2>
      <a:accent3>
        <a:srgbClr val="939393"/>
      </a:accent3>
      <a:accent4>
        <a:srgbClr val="00BCF2"/>
      </a:accent4>
      <a:accent5>
        <a:srgbClr val="6C6E6C"/>
      </a:accent5>
      <a:accent6>
        <a:srgbClr val="2E2F2E"/>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73EB1BD4-8DD0-42C8-81CF-E8FE58869E13}" vid="{7127501C-7AE5-48D0-B874-F536F38BF7C1}"/>
    </a:ext>
  </a:extLst>
</a:theme>
</file>

<file path=ppt/theme/theme5.xml><?xml version="1.0" encoding="utf-8"?>
<a:theme xmlns:a="http://schemas.openxmlformats.org/drawingml/2006/main" name="2_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6.xml><?xml version="1.0" encoding="utf-8"?>
<a:theme xmlns:a="http://schemas.openxmlformats.org/drawingml/2006/main" name="3_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_v03" id="{F4E7AC97-C3BC-4DAC-B23A-C0D4DABB7CB5}" vid="{F1FB81AB-2433-4475-9273-C3E09225E34D}"/>
    </a:ext>
  </a:extLst>
</a:theme>
</file>

<file path=ppt/theme/theme7.xml><?xml version="1.0" encoding="utf-8"?>
<a:theme xmlns:a="http://schemas.openxmlformats.org/drawingml/2006/main" name="4_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8.xml><?xml version="1.0" encoding="utf-8"?>
<a:theme xmlns:a="http://schemas.openxmlformats.org/drawingml/2006/main" name="1_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01.potx" id="{85FDBBA0-EF23-4239-B210-6D16F248693D}" vid="{CD38365E-7401-4665-AF36-7000951ED6D4}"/>
    </a:ext>
  </a:extLst>
</a:theme>
</file>

<file path=ppt/theme/theme9.xml><?xml version="1.0" encoding="utf-8"?>
<a:theme xmlns:a="http://schemas.openxmlformats.org/drawingml/2006/main" name="5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E8CAF3553339444B77BFF265E1C0432" ma:contentTypeVersion="8" ma:contentTypeDescription="Create a new document." ma:contentTypeScope="" ma:versionID="626ada6fdc2a85547189a7d24eebbf8f">
  <xsd:schema xmlns:xsd="http://www.w3.org/2001/XMLSchema" xmlns:xs="http://www.w3.org/2001/XMLSchema" xmlns:p="http://schemas.microsoft.com/office/2006/metadata/properties" xmlns:ns2="2c809d3d-ac93-40e9-945e-ff524420fbcc" targetNamespace="http://schemas.microsoft.com/office/2006/metadata/properties" ma:root="true" ma:fieldsID="2bc87d15a34a609199946b283e7ff2e5" ns2:_="">
    <xsd:import namespace="2c809d3d-ac93-40e9-945e-ff524420fbcc"/>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c809d3d-ac93-40e9-945e-ff524420fbc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60C6E9EA-4652-4982-8F68-1A2159C7A6B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c809d3d-ac93-40e9-945e-ff524420fbc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A110148-91F4-447D-80FD-CCA244BFFFFC}">
  <ds:schemaRefs>
    <ds:schemaRef ds:uri="http://schemas.microsoft.com/sharepoint/v3/contenttype/forms"/>
  </ds:schemaRefs>
</ds:datastoreItem>
</file>

<file path=customXml/itemProps3.xml><?xml version="1.0" encoding="utf-8"?>
<ds:datastoreItem xmlns:ds="http://schemas.openxmlformats.org/officeDocument/2006/customXml" ds:itemID="{C6E35D12-A30C-4272-9830-54126CF43551}">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Microsoft_Ignite_2018_16x9_Breakout_Template_v03</Template>
  <TotalTime>0</TotalTime>
  <Words>4098</Words>
  <Application>Microsoft Office PowerPoint</Application>
  <PresentationFormat>Widescreen</PresentationFormat>
  <Paragraphs>508</Paragraphs>
  <Slides>53</Slides>
  <Notes>4</Notes>
  <HiddenSlides>1</HiddenSlides>
  <MMClips>0</MMClips>
  <ScaleCrop>false</ScaleCrop>
  <HeadingPairs>
    <vt:vector size="8" baseType="variant">
      <vt:variant>
        <vt:lpstr>Fonts Used</vt:lpstr>
      </vt:variant>
      <vt:variant>
        <vt:i4>16</vt:i4>
      </vt:variant>
      <vt:variant>
        <vt:lpstr>Theme</vt:lpstr>
      </vt:variant>
      <vt:variant>
        <vt:i4>15</vt:i4>
      </vt:variant>
      <vt:variant>
        <vt:lpstr>Embedded OLE Servers</vt:lpstr>
      </vt:variant>
      <vt:variant>
        <vt:i4>1</vt:i4>
      </vt:variant>
      <vt:variant>
        <vt:lpstr>Slide Titles</vt:lpstr>
      </vt:variant>
      <vt:variant>
        <vt:i4>53</vt:i4>
      </vt:variant>
    </vt:vector>
  </HeadingPairs>
  <TitlesOfParts>
    <vt:vector size="85" baseType="lpstr">
      <vt:lpstr>Arial</vt:lpstr>
      <vt:lpstr>Calibri</vt:lpstr>
      <vt:lpstr>Calibri Light</vt:lpstr>
      <vt:lpstr>Consolas</vt:lpstr>
      <vt:lpstr>Courier New</vt:lpstr>
      <vt:lpstr>Lucida Console</vt:lpstr>
      <vt:lpstr>Lucida Sans Typewriter</vt:lpstr>
      <vt:lpstr>Segoe Light</vt:lpstr>
      <vt:lpstr>Segoe Pro Light</vt:lpstr>
      <vt:lpstr>Segoe Pro Semibold</vt:lpstr>
      <vt:lpstr>Segoe UI</vt:lpstr>
      <vt:lpstr>Segoe UI Light</vt:lpstr>
      <vt:lpstr>Segoe UI Semibold</vt:lpstr>
      <vt:lpstr>Segoe UI Semilight</vt:lpstr>
      <vt:lpstr>SegoeUI</vt:lpstr>
      <vt:lpstr>Wingdings</vt:lpstr>
      <vt:lpstr>5-50203_Microsoft_Ignite_Template</vt:lpstr>
      <vt:lpstr>1_5-50203_Microsoft_Ignite_Template</vt:lpstr>
      <vt:lpstr>WHITE TEMPLATE</vt:lpstr>
      <vt:lpstr>Microsoft 365 PPT Template - 2018</vt:lpstr>
      <vt:lpstr>2_5-50203_Microsoft_Ignite_Template</vt:lpstr>
      <vt:lpstr>3_5-50203_Microsoft_Ignite_Template</vt:lpstr>
      <vt:lpstr>4_5-50203_Microsoft_Ignite_Template</vt:lpstr>
      <vt:lpstr>1_WHITE TEMPLATE</vt:lpstr>
      <vt:lpstr>5_Microsoft 365 PPT Template - 2018</vt:lpstr>
      <vt:lpstr>1_Microsoft 365 PPT Template - 2018</vt:lpstr>
      <vt:lpstr>1_5-51011_Government_Leaders_Cloud_Forum</vt:lpstr>
      <vt:lpstr>2_WHITE TEMPLATE</vt:lpstr>
      <vt:lpstr>MGXFY15 GS Template - white layout</vt:lpstr>
      <vt:lpstr>1_5-30660_TR21_BO_CT_Template</vt:lpstr>
      <vt:lpstr>2_5-50033_TR23_BO_CT_Template</vt:lpstr>
      <vt:lpstr>think-cell Slide</vt:lpstr>
      <vt:lpstr>PowerPoint Presentation</vt:lpstr>
      <vt:lpstr>The Case Study</vt:lpstr>
      <vt:lpstr>Online University with Remote Access Needs</vt:lpstr>
      <vt:lpstr>Scenario – More Details</vt:lpstr>
      <vt:lpstr>Scenario - More Details</vt:lpstr>
      <vt:lpstr>WVD Tenant Planning</vt:lpstr>
      <vt:lpstr>Build slide – Tenant Explanation</vt:lpstr>
      <vt:lpstr>WVD Tenant Relationships to Azure AD and Subscriptions</vt:lpstr>
      <vt:lpstr>LAB WORK: Create a WVD Tenant</vt:lpstr>
      <vt:lpstr>Steps to Prep the Student PS1 file</vt:lpstr>
      <vt:lpstr>Steps to Create a WVD Tenant (follow me)</vt:lpstr>
      <vt:lpstr>For Reference Only - Create WVD Tenant </vt:lpstr>
      <vt:lpstr>Wait, what about Service Principals?</vt:lpstr>
      <vt:lpstr>Host Pool Planning</vt:lpstr>
      <vt:lpstr>Host Pools</vt:lpstr>
      <vt:lpstr>Windows Virtual Desktop – Broker Interactions w/Host Pools</vt:lpstr>
      <vt:lpstr>All VMs in WVD must access Management Plane</vt:lpstr>
      <vt:lpstr>Planning FSLogix, OU’s, and GPO’s for Each Host Pool</vt:lpstr>
      <vt:lpstr>Why Roaming Profiles Are Cool</vt:lpstr>
      <vt:lpstr>Why Roaming Profiles Have Issues</vt:lpstr>
      <vt:lpstr>Why FSLogix is better</vt:lpstr>
      <vt:lpstr>PowerPoint Presentation</vt:lpstr>
      <vt:lpstr>FSLogix Profiles are not Defined The Way You May Think </vt:lpstr>
      <vt:lpstr>Consider….</vt:lpstr>
      <vt:lpstr>FSLogix Profile per HostPool</vt:lpstr>
      <vt:lpstr>Naming Conventions – A Starting Idea</vt:lpstr>
      <vt:lpstr>Deploy Common Names across OU’s, GPO’s, Resource Groups, HostPools &amp; VM Names in AD</vt:lpstr>
      <vt:lpstr>Deploy FSLogix File Server</vt:lpstr>
      <vt:lpstr>Profile IOPS Planning Guidance</vt:lpstr>
      <vt:lpstr>Follow MS.com Documentation – Create File Shares</vt:lpstr>
      <vt:lpstr>Configure FSLogix GPOs</vt:lpstr>
      <vt:lpstr>Allow Office Activation to Roam w/User</vt:lpstr>
      <vt:lpstr>Customize A Gold Image for WVD</vt:lpstr>
      <vt:lpstr>Build a VM from Scratch – Choose the Correct OS</vt:lpstr>
      <vt:lpstr>Customize the VM</vt:lpstr>
      <vt:lpstr>Turn the VM Into an Azure Image</vt:lpstr>
      <vt:lpstr>Image Completed</vt:lpstr>
      <vt:lpstr>We will Use The Image for WVD Systems</vt:lpstr>
      <vt:lpstr>Deploy Desktop and App Host Pools using Gold Image</vt:lpstr>
      <vt:lpstr>Create Host Pool - Basics</vt:lpstr>
      <vt:lpstr>Create Host Pool - Configure virtual machines</vt:lpstr>
      <vt:lpstr>Create Host Pool - Virtual machine settings</vt:lpstr>
      <vt:lpstr>Create Host Pool - Virtual machine settings</vt:lpstr>
      <vt:lpstr>Create Host Pool - Windows Virtual Desktop information</vt:lpstr>
      <vt:lpstr>Create Host Pool  - Validation &amp; Create Step</vt:lpstr>
      <vt:lpstr>PowerPoint Presentation</vt:lpstr>
      <vt:lpstr>Add FSLogix Regedits to Host Pool Systems</vt:lpstr>
      <vt:lpstr>FSLogix Profile per HostPool</vt:lpstr>
      <vt:lpstr>Next Steps</vt:lpstr>
      <vt:lpstr>Follow-on Topics</vt:lpstr>
      <vt:lpstr>Resources – Getting Started</vt:lpstr>
      <vt:lpstr>WVD V2 Is In Preview… (May 2020)</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9-02-09T18:46:07Z</dcterms:created>
  <dcterms:modified xsi:type="dcterms:W3CDTF">2020-05-11T11:42:50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rmcbrine@microsoft.com</vt:lpwstr>
  </property>
  <property fmtid="{D5CDD505-2E9C-101B-9397-08002B2CF9AE}" pid="5" name="MSIP_Label_f42aa342-8706-4288-bd11-ebb85995028c_SetDate">
    <vt:lpwstr>2019-05-15T12:52:46.2180739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7cd33ad4-f459-47d5-a630-a3514bae960a</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ContentTypeId">
    <vt:lpwstr>0x0101006E8CAF3553339444B77BFF265E1C0432</vt:lpwstr>
  </property>
</Properties>
</file>